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20_6013D12A.xml" ContentType="application/vnd.ms-powerpoint.comments+xml"/>
  <Override PartName="/ppt/notesSlides/notesSlide3.xml" ContentType="application/vnd.openxmlformats-officedocument.presentationml.notesSlide+xml"/>
  <Override PartName="/ppt/comments/modernComment_121_178DA7FA.xml" ContentType="application/vnd.ms-powerpoint.comment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7" r:id="rId3"/>
  </p:sldMasterIdLst>
  <p:notesMasterIdLst>
    <p:notesMasterId r:id="rId12"/>
  </p:notesMasterIdLst>
  <p:sldIdLst>
    <p:sldId id="256" r:id="rId4"/>
    <p:sldId id="262" r:id="rId5"/>
    <p:sldId id="287" r:id="rId6"/>
    <p:sldId id="288" r:id="rId7"/>
    <p:sldId id="289" r:id="rId8"/>
    <p:sldId id="283" r:id="rId9"/>
    <p:sldId id="265" r:id="rId10"/>
    <p:sldId id="26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8571DD-529D-D6C1-CEE1-3B651040AF86}" name="Karigoudar, Mahesh" initials="KM" userId="S::mkarigoudar@deloitte.com::aee392fe-d52f-479c-9f96-f04d75de298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FFFF"/>
    <a:srgbClr val="86BC25"/>
    <a:srgbClr val="2689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7E5393-B9F9-47EF-8462-7D9B051BF4DB}" v="1" dt="2025-06-14T05:58:58.5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19"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goudar, Mahesh" userId="aee392fe-d52f-479c-9f96-f04d75de2987" providerId="ADAL" clId="{AB7E5393-B9F9-47EF-8462-7D9B051BF4DB}"/>
    <pc:docChg chg="modSld">
      <pc:chgData name="Karigoudar, Mahesh" userId="aee392fe-d52f-479c-9f96-f04d75de2987" providerId="ADAL" clId="{AB7E5393-B9F9-47EF-8462-7D9B051BF4DB}" dt="2025-06-14T05:59:01.075" v="1" actId="1076"/>
      <pc:docMkLst>
        <pc:docMk/>
      </pc:docMkLst>
      <pc:sldChg chg="addSp modSp mod">
        <pc:chgData name="Karigoudar, Mahesh" userId="aee392fe-d52f-479c-9f96-f04d75de2987" providerId="ADAL" clId="{AB7E5393-B9F9-47EF-8462-7D9B051BF4DB}" dt="2025-06-14T05:59:01.075" v="1" actId="1076"/>
        <pc:sldMkLst>
          <pc:docMk/>
          <pc:sldMk cId="1882398645" sldId="262"/>
        </pc:sldMkLst>
        <pc:picChg chg="add mod">
          <ac:chgData name="Karigoudar, Mahesh" userId="aee392fe-d52f-479c-9f96-f04d75de2987" providerId="ADAL" clId="{AB7E5393-B9F9-47EF-8462-7D9B051BF4DB}" dt="2025-06-14T05:59:01.075" v="1" actId="1076"/>
          <ac:picMkLst>
            <pc:docMk/>
            <pc:sldMk cId="1882398645" sldId="262"/>
            <ac:picMk id="2" creationId="{C9E017C8-F6A1-4D96-D1A9-7AF1000DDFFD}"/>
          </ac:picMkLst>
        </pc:picChg>
      </pc:sldChg>
    </pc:docChg>
  </pc:docChgLst>
  <pc:docChgLst>
    <pc:chgData name="Jain, Rishabh" userId="2abb9701-55d0-4cb8-96b7-0905942637ed" providerId="ADAL" clId="{5EC23AA8-AE4E-4DDA-9C54-9AEE8B886803}"/>
    <pc:docChg chg="undo custSel modSld">
      <pc:chgData name="Jain, Rishabh" userId="2abb9701-55d0-4cb8-96b7-0905942637ed" providerId="ADAL" clId="{5EC23AA8-AE4E-4DDA-9C54-9AEE8B886803}" dt="2024-08-02T09:00:30.439" v="289" actId="1076"/>
      <pc:docMkLst>
        <pc:docMk/>
      </pc:docMkLst>
      <pc:sldChg chg="addSp delSp modSp mod">
        <pc:chgData name="Jain, Rishabh" userId="2abb9701-55d0-4cb8-96b7-0905942637ed" providerId="ADAL" clId="{5EC23AA8-AE4E-4DDA-9C54-9AEE8B886803}" dt="2024-08-02T09:00:30.439" v="289" actId="1076"/>
        <pc:sldMkLst>
          <pc:docMk/>
          <pc:sldMk cId="214365455" sldId="265"/>
        </pc:sldMkLst>
        <pc:spChg chg="add del">
          <ac:chgData name="Jain, Rishabh" userId="2abb9701-55d0-4cb8-96b7-0905942637ed" providerId="ADAL" clId="{5EC23AA8-AE4E-4DDA-9C54-9AEE8B886803}" dt="2024-08-02T07:36:09.965" v="1" actId="22"/>
          <ac:spMkLst>
            <pc:docMk/>
            <pc:sldMk cId="214365455" sldId="265"/>
            <ac:spMk id="3" creationId="{18517D60-42F1-9F33-EF2C-C276F27C3F60}"/>
          </ac:spMkLst>
        </pc:spChg>
        <pc:spChg chg="mod">
          <ac:chgData name="Jain, Rishabh" userId="2abb9701-55d0-4cb8-96b7-0905942637ed" providerId="ADAL" clId="{5EC23AA8-AE4E-4DDA-9C54-9AEE8B886803}" dt="2024-08-02T08:33:05.073" v="229" actId="1076"/>
          <ac:spMkLst>
            <pc:docMk/>
            <pc:sldMk cId="214365455" sldId="265"/>
            <ac:spMk id="6" creationId="{69ABBAB6-323D-6EA4-6CC4-8C0F6FD2AA69}"/>
          </ac:spMkLst>
        </pc:spChg>
        <pc:spChg chg="mod">
          <ac:chgData name="Jain, Rishabh" userId="2abb9701-55d0-4cb8-96b7-0905942637ed" providerId="ADAL" clId="{5EC23AA8-AE4E-4DDA-9C54-9AEE8B886803}" dt="2024-08-02T08:44:39.907" v="241" actId="20577"/>
          <ac:spMkLst>
            <pc:docMk/>
            <pc:sldMk cId="214365455" sldId="265"/>
            <ac:spMk id="11" creationId="{A7B77D46-1A5B-1514-6878-BC2AA2895102}"/>
          </ac:spMkLst>
        </pc:spChg>
        <pc:spChg chg="add mod">
          <ac:chgData name="Jain, Rishabh" userId="2abb9701-55d0-4cb8-96b7-0905942637ed" providerId="ADAL" clId="{5EC23AA8-AE4E-4DDA-9C54-9AEE8B886803}" dt="2024-08-02T07:39:29.121" v="17" actId="1076"/>
          <ac:spMkLst>
            <pc:docMk/>
            <pc:sldMk cId="214365455" sldId="265"/>
            <ac:spMk id="18" creationId="{7FB8C969-23E0-7556-C83D-E1683755AF04}"/>
          </ac:spMkLst>
        </pc:spChg>
        <pc:spChg chg="mod">
          <ac:chgData name="Jain, Rishabh" userId="2abb9701-55d0-4cb8-96b7-0905942637ed" providerId="ADAL" clId="{5EC23AA8-AE4E-4DDA-9C54-9AEE8B886803}" dt="2024-08-02T08:45:13.459" v="246" actId="1076"/>
          <ac:spMkLst>
            <pc:docMk/>
            <pc:sldMk cId="214365455" sldId="265"/>
            <ac:spMk id="19" creationId="{E0AF822F-E7A2-3ADF-BAA8-ABD2FAD03EA0}"/>
          </ac:spMkLst>
        </pc:spChg>
        <pc:spChg chg="mod">
          <ac:chgData name="Jain, Rishabh" userId="2abb9701-55d0-4cb8-96b7-0905942637ed" providerId="ADAL" clId="{5EC23AA8-AE4E-4DDA-9C54-9AEE8B886803}" dt="2024-08-02T07:46:04.643" v="49" actId="1076"/>
          <ac:spMkLst>
            <pc:docMk/>
            <pc:sldMk cId="214365455" sldId="265"/>
            <ac:spMk id="26" creationId="{501102A4-7DF6-24A1-C65E-D165CDBE3B33}"/>
          </ac:spMkLst>
        </pc:spChg>
        <pc:spChg chg="mod">
          <ac:chgData name="Jain, Rishabh" userId="2abb9701-55d0-4cb8-96b7-0905942637ed" providerId="ADAL" clId="{5EC23AA8-AE4E-4DDA-9C54-9AEE8B886803}" dt="2024-08-02T07:45:54.275" v="47" actId="1076"/>
          <ac:spMkLst>
            <pc:docMk/>
            <pc:sldMk cId="214365455" sldId="265"/>
            <ac:spMk id="27" creationId="{364C45A6-5660-C3FF-1123-F40BB6CD8F35}"/>
          </ac:spMkLst>
        </pc:spChg>
        <pc:spChg chg="mod">
          <ac:chgData name="Jain, Rishabh" userId="2abb9701-55d0-4cb8-96b7-0905942637ed" providerId="ADAL" clId="{5EC23AA8-AE4E-4DDA-9C54-9AEE8B886803}" dt="2024-08-02T08:53:34.834" v="275" actId="1076"/>
          <ac:spMkLst>
            <pc:docMk/>
            <pc:sldMk cId="214365455" sldId="265"/>
            <ac:spMk id="29" creationId="{C25A06EE-24DE-8786-ACD5-6A8C55EB6EC6}"/>
          </ac:spMkLst>
        </pc:spChg>
        <pc:spChg chg="mod">
          <ac:chgData name="Jain, Rishabh" userId="2abb9701-55d0-4cb8-96b7-0905942637ed" providerId="ADAL" clId="{5EC23AA8-AE4E-4DDA-9C54-9AEE8B886803}" dt="2024-08-02T07:45:59.020" v="48" actId="1076"/>
          <ac:spMkLst>
            <pc:docMk/>
            <pc:sldMk cId="214365455" sldId="265"/>
            <ac:spMk id="39" creationId="{FC67E10C-6E21-B9E9-C9A9-0E7BFCC984BA}"/>
          </ac:spMkLst>
        </pc:spChg>
        <pc:spChg chg="mod">
          <ac:chgData name="Jain, Rishabh" userId="2abb9701-55d0-4cb8-96b7-0905942637ed" providerId="ADAL" clId="{5EC23AA8-AE4E-4DDA-9C54-9AEE8B886803}" dt="2024-08-02T08:34:42.137" v="230" actId="1076"/>
          <ac:spMkLst>
            <pc:docMk/>
            <pc:sldMk cId="214365455" sldId="265"/>
            <ac:spMk id="53" creationId="{D62BC0CE-4746-91CB-773C-7E7F57CD8DC7}"/>
          </ac:spMkLst>
        </pc:spChg>
        <pc:spChg chg="del mod">
          <ac:chgData name="Jain, Rishabh" userId="2abb9701-55d0-4cb8-96b7-0905942637ed" providerId="ADAL" clId="{5EC23AA8-AE4E-4DDA-9C54-9AEE8B886803}" dt="2024-08-02T08:30:03.768" v="223" actId="478"/>
          <ac:spMkLst>
            <pc:docMk/>
            <pc:sldMk cId="214365455" sldId="265"/>
            <ac:spMk id="54" creationId="{DA5AB3FC-094F-4F6E-899C-46D67D375821}"/>
          </ac:spMkLst>
        </pc:spChg>
        <pc:spChg chg="mod">
          <ac:chgData name="Jain, Rishabh" userId="2abb9701-55d0-4cb8-96b7-0905942637ed" providerId="ADAL" clId="{5EC23AA8-AE4E-4DDA-9C54-9AEE8B886803}" dt="2024-08-02T08:53:37.688" v="276" actId="1076"/>
          <ac:spMkLst>
            <pc:docMk/>
            <pc:sldMk cId="214365455" sldId="265"/>
            <ac:spMk id="60" creationId="{DF3025E2-A2DE-0EBB-5FDC-0BF88E25FC26}"/>
          </ac:spMkLst>
        </pc:spChg>
        <pc:spChg chg="del mod">
          <ac:chgData name="Jain, Rishabh" userId="2abb9701-55d0-4cb8-96b7-0905942637ed" providerId="ADAL" clId="{5EC23AA8-AE4E-4DDA-9C54-9AEE8B886803}" dt="2024-08-02T08:29:50.774" v="214" actId="478"/>
          <ac:spMkLst>
            <pc:docMk/>
            <pc:sldMk cId="214365455" sldId="265"/>
            <ac:spMk id="62" creationId="{53E569D6-CF8F-39A7-64D7-AD2644494B97}"/>
          </ac:spMkLst>
        </pc:spChg>
        <pc:spChg chg="del mod">
          <ac:chgData name="Jain, Rishabh" userId="2abb9701-55d0-4cb8-96b7-0905942637ed" providerId="ADAL" clId="{5EC23AA8-AE4E-4DDA-9C54-9AEE8B886803}" dt="2024-08-02T08:29:54.539" v="217" actId="478"/>
          <ac:spMkLst>
            <pc:docMk/>
            <pc:sldMk cId="214365455" sldId="265"/>
            <ac:spMk id="64" creationId="{6B6E47E7-E3DF-0424-B739-86DFD0DD2595}"/>
          </ac:spMkLst>
        </pc:spChg>
        <pc:spChg chg="del mod">
          <ac:chgData name="Jain, Rishabh" userId="2abb9701-55d0-4cb8-96b7-0905942637ed" providerId="ADAL" clId="{5EC23AA8-AE4E-4DDA-9C54-9AEE8B886803}" dt="2024-08-02T08:53:40.059" v="277" actId="478"/>
          <ac:spMkLst>
            <pc:docMk/>
            <pc:sldMk cId="214365455" sldId="265"/>
            <ac:spMk id="68" creationId="{5E73C0D3-91DF-589B-BEDF-083AB6BD1A78}"/>
          </ac:spMkLst>
        </pc:spChg>
        <pc:spChg chg="mod">
          <ac:chgData name="Jain, Rishabh" userId="2abb9701-55d0-4cb8-96b7-0905942637ed" providerId="ADAL" clId="{5EC23AA8-AE4E-4DDA-9C54-9AEE8B886803}" dt="2024-08-02T08:34:46.433" v="231" actId="1076"/>
          <ac:spMkLst>
            <pc:docMk/>
            <pc:sldMk cId="214365455" sldId="265"/>
            <ac:spMk id="69" creationId="{75E002E8-BA84-C0BE-53AA-C26DB0BE73B3}"/>
          </ac:spMkLst>
        </pc:spChg>
        <pc:spChg chg="mod">
          <ac:chgData name="Jain, Rishabh" userId="2abb9701-55d0-4cb8-96b7-0905942637ed" providerId="ADAL" clId="{5EC23AA8-AE4E-4DDA-9C54-9AEE8B886803}" dt="2024-08-02T08:29:22.625" v="209" actId="1076"/>
          <ac:spMkLst>
            <pc:docMk/>
            <pc:sldMk cId="214365455" sldId="265"/>
            <ac:spMk id="72" creationId="{F173218F-E8F1-EC09-0DB0-D795C9503E78}"/>
          </ac:spMkLst>
        </pc:spChg>
        <pc:spChg chg="mod">
          <ac:chgData name="Jain, Rishabh" userId="2abb9701-55d0-4cb8-96b7-0905942637ed" providerId="ADAL" clId="{5EC23AA8-AE4E-4DDA-9C54-9AEE8B886803}" dt="2024-08-02T09:00:16.210" v="287" actId="1076"/>
          <ac:spMkLst>
            <pc:docMk/>
            <pc:sldMk cId="214365455" sldId="265"/>
            <ac:spMk id="73" creationId="{9CFA2C0F-10D0-CDB3-54A8-21D9FF95416D}"/>
          </ac:spMkLst>
        </pc:spChg>
        <pc:spChg chg="add mod">
          <ac:chgData name="Jain, Rishabh" userId="2abb9701-55d0-4cb8-96b7-0905942637ed" providerId="ADAL" clId="{5EC23AA8-AE4E-4DDA-9C54-9AEE8B886803}" dt="2024-08-02T07:43:57.376" v="39" actId="14100"/>
          <ac:spMkLst>
            <pc:docMk/>
            <pc:sldMk cId="214365455" sldId="265"/>
            <ac:spMk id="90" creationId="{E0A432EF-7A44-B8BA-5163-934605A2C4C8}"/>
          </ac:spMkLst>
        </pc:spChg>
        <pc:spChg chg="add mod">
          <ac:chgData name="Jain, Rishabh" userId="2abb9701-55d0-4cb8-96b7-0905942637ed" providerId="ADAL" clId="{5EC23AA8-AE4E-4DDA-9C54-9AEE8B886803}" dt="2024-08-02T07:51:37.065" v="94" actId="14100"/>
          <ac:spMkLst>
            <pc:docMk/>
            <pc:sldMk cId="214365455" sldId="265"/>
            <ac:spMk id="91" creationId="{2CDEBCCD-1FF7-1C89-45DA-E44860400285}"/>
          </ac:spMkLst>
        </pc:spChg>
        <pc:spChg chg="add mod">
          <ac:chgData name="Jain, Rishabh" userId="2abb9701-55d0-4cb8-96b7-0905942637ed" providerId="ADAL" clId="{5EC23AA8-AE4E-4DDA-9C54-9AEE8B886803}" dt="2024-08-02T07:51:11.018" v="92" actId="693"/>
          <ac:spMkLst>
            <pc:docMk/>
            <pc:sldMk cId="214365455" sldId="265"/>
            <ac:spMk id="110" creationId="{3AE5AFA2-7658-A88C-CB63-45EC33CA390B}"/>
          </ac:spMkLst>
        </pc:spChg>
        <pc:spChg chg="add del mod">
          <ac:chgData name="Jain, Rishabh" userId="2abb9701-55d0-4cb8-96b7-0905942637ed" providerId="ADAL" clId="{5EC23AA8-AE4E-4DDA-9C54-9AEE8B886803}" dt="2024-08-02T08:52:43.512" v="272" actId="1076"/>
          <ac:spMkLst>
            <pc:docMk/>
            <pc:sldMk cId="214365455" sldId="265"/>
            <ac:spMk id="124" creationId="{ADEACEA9-CF43-2509-E548-81C8DC48C615}"/>
          </ac:spMkLst>
        </pc:spChg>
        <pc:grpChg chg="add del mod">
          <ac:chgData name="Jain, Rishabh" userId="2abb9701-55d0-4cb8-96b7-0905942637ed" providerId="ADAL" clId="{5EC23AA8-AE4E-4DDA-9C54-9AEE8B886803}" dt="2024-08-02T09:00:30.439" v="289" actId="1076"/>
          <ac:grpSpMkLst>
            <pc:docMk/>
            <pc:sldMk cId="214365455" sldId="265"/>
            <ac:grpSpMk id="4" creationId="{98C0101B-6418-1D0B-2865-6DF501ED193E}"/>
          </ac:grpSpMkLst>
        </pc:grpChg>
        <pc:grpChg chg="del">
          <ac:chgData name="Jain, Rishabh" userId="2abb9701-55d0-4cb8-96b7-0905942637ed" providerId="ADAL" clId="{5EC23AA8-AE4E-4DDA-9C54-9AEE8B886803}" dt="2024-08-02T07:50:09.516" v="82" actId="478"/>
          <ac:grpSpMkLst>
            <pc:docMk/>
            <pc:sldMk cId="214365455" sldId="265"/>
            <ac:grpSpMk id="51" creationId="{B94F21BE-4694-D594-F635-1799A270FAE3}"/>
          </ac:grpSpMkLst>
        </pc:grpChg>
        <pc:picChg chg="add mod">
          <ac:chgData name="Jain, Rishabh" userId="2abb9701-55d0-4cb8-96b7-0905942637ed" providerId="ADAL" clId="{5EC23AA8-AE4E-4DDA-9C54-9AEE8B886803}" dt="2024-08-02T07:39:29.121" v="17" actId="1076"/>
          <ac:picMkLst>
            <pc:docMk/>
            <pc:sldMk cId="214365455" sldId="265"/>
            <ac:picMk id="88" creationId="{F7233778-F30C-4928-74C1-C786C12C9388}"/>
          </ac:picMkLst>
        </pc:picChg>
        <pc:picChg chg="add mod">
          <ac:chgData name="Jain, Rishabh" userId="2abb9701-55d0-4cb8-96b7-0905942637ed" providerId="ADAL" clId="{5EC23AA8-AE4E-4DDA-9C54-9AEE8B886803}" dt="2024-08-02T07:40:30.736" v="23" actId="1076"/>
          <ac:picMkLst>
            <pc:docMk/>
            <pc:sldMk cId="214365455" sldId="265"/>
            <ac:picMk id="89" creationId="{BC3C3806-E556-C7FB-79B2-C9603CAC32A9}"/>
          </ac:picMkLst>
        </pc:picChg>
        <pc:picChg chg="add mod">
          <ac:chgData name="Jain, Rishabh" userId="2abb9701-55d0-4cb8-96b7-0905942637ed" providerId="ADAL" clId="{5EC23AA8-AE4E-4DDA-9C54-9AEE8B886803}" dt="2024-08-02T07:50:25.904" v="86" actId="1076"/>
          <ac:picMkLst>
            <pc:docMk/>
            <pc:sldMk cId="214365455" sldId="265"/>
            <ac:picMk id="102" creationId="{7E57C400-8672-09CE-EC7A-3FD19F67EC38}"/>
          </ac:picMkLst>
        </pc:picChg>
        <pc:picChg chg="add mod">
          <ac:chgData name="Jain, Rishabh" userId="2abb9701-55d0-4cb8-96b7-0905942637ed" providerId="ADAL" clId="{5EC23AA8-AE4E-4DDA-9C54-9AEE8B886803}" dt="2024-08-02T07:42:19.080" v="36" actId="1076"/>
          <ac:picMkLst>
            <pc:docMk/>
            <pc:sldMk cId="214365455" sldId="265"/>
            <ac:picMk id="1026" creationId="{AB399A4A-E8C4-DFAF-D5C5-98C018AD1C7E}"/>
          </ac:picMkLst>
        </pc:picChg>
        <pc:picChg chg="add del mod">
          <ac:chgData name="Jain, Rishabh" userId="2abb9701-55d0-4cb8-96b7-0905942637ed" providerId="ADAL" clId="{5EC23AA8-AE4E-4DDA-9C54-9AEE8B886803}" dt="2024-08-02T07:48:19.493" v="64" actId="478"/>
          <ac:picMkLst>
            <pc:docMk/>
            <pc:sldMk cId="214365455" sldId="265"/>
            <ac:picMk id="1028" creationId="{A1207248-0683-64AF-EC97-CB9358CBC473}"/>
          </ac:picMkLst>
        </pc:picChg>
        <pc:picChg chg="add del mod">
          <ac:chgData name="Jain, Rishabh" userId="2abb9701-55d0-4cb8-96b7-0905942637ed" providerId="ADAL" clId="{5EC23AA8-AE4E-4DDA-9C54-9AEE8B886803}" dt="2024-08-02T07:47:53.135" v="60"/>
          <ac:picMkLst>
            <pc:docMk/>
            <pc:sldMk cId="214365455" sldId="265"/>
            <ac:picMk id="1030" creationId="{51C77091-6A11-2EAA-8A2C-CEFEA237B3C6}"/>
          </ac:picMkLst>
        </pc:picChg>
        <pc:picChg chg="add mod">
          <ac:chgData name="Jain, Rishabh" userId="2abb9701-55d0-4cb8-96b7-0905942637ed" providerId="ADAL" clId="{5EC23AA8-AE4E-4DDA-9C54-9AEE8B886803}" dt="2024-08-02T07:50:31.577" v="89" actId="1076"/>
          <ac:picMkLst>
            <pc:docMk/>
            <pc:sldMk cId="214365455" sldId="265"/>
            <ac:picMk id="1032" creationId="{FA17C367-AD8B-ACD9-4B77-1DF5FCEB8129}"/>
          </ac:picMkLst>
        </pc:picChg>
        <pc:picChg chg="add mod">
          <ac:chgData name="Jain, Rishabh" userId="2abb9701-55d0-4cb8-96b7-0905942637ed" providerId="ADAL" clId="{5EC23AA8-AE4E-4DDA-9C54-9AEE8B886803}" dt="2024-08-02T08:47:48.096" v="267" actId="1076"/>
          <ac:picMkLst>
            <pc:docMk/>
            <pc:sldMk cId="214365455" sldId="265"/>
            <ac:picMk id="1034" creationId="{88BCB726-5448-C33F-AA1F-9798D487DC7F}"/>
          </ac:picMkLst>
        </pc:picChg>
        <pc:picChg chg="add del">
          <ac:chgData name="Jain, Rishabh" userId="2abb9701-55d0-4cb8-96b7-0905942637ed" providerId="ADAL" clId="{5EC23AA8-AE4E-4DDA-9C54-9AEE8B886803}" dt="2024-08-02T08:49:27.186" v="269"/>
          <ac:picMkLst>
            <pc:docMk/>
            <pc:sldMk cId="214365455" sldId="265"/>
            <ac:picMk id="1036" creationId="{9386B5BF-BD40-483F-0A44-656B0EEEDA91}"/>
          </ac:picMkLst>
        </pc:picChg>
        <pc:picChg chg="add mod">
          <ac:chgData name="Jain, Rishabh" userId="2abb9701-55d0-4cb8-96b7-0905942637ed" providerId="ADAL" clId="{5EC23AA8-AE4E-4DDA-9C54-9AEE8B886803}" dt="2024-08-02T08:57:46.649" v="282" actId="1076"/>
          <ac:picMkLst>
            <pc:docMk/>
            <pc:sldMk cId="214365455" sldId="265"/>
            <ac:picMk id="1038" creationId="{BC966B3A-BFFB-A4DD-4649-D6AA1132DB54}"/>
          </ac:picMkLst>
        </pc:picChg>
        <pc:cxnChg chg="del">
          <ac:chgData name="Jain, Rishabh" userId="2abb9701-55d0-4cb8-96b7-0905942637ed" providerId="ADAL" clId="{5EC23AA8-AE4E-4DDA-9C54-9AEE8B886803}" dt="2024-08-02T07:44:25.918" v="41" actId="478"/>
          <ac:cxnSpMkLst>
            <pc:docMk/>
            <pc:sldMk cId="214365455" sldId="265"/>
            <ac:cxnSpMk id="7" creationId="{5A6899B4-2304-2790-652C-0E5B7237A4AC}"/>
          </ac:cxnSpMkLst>
        </pc:cxnChg>
        <pc:cxnChg chg="mod">
          <ac:chgData name="Jain, Rishabh" userId="2abb9701-55d0-4cb8-96b7-0905942637ed" providerId="ADAL" clId="{5EC23AA8-AE4E-4DDA-9C54-9AEE8B886803}" dt="2024-08-02T08:29:59.353" v="220" actId="478"/>
          <ac:cxnSpMkLst>
            <pc:docMk/>
            <pc:sldMk cId="214365455" sldId="265"/>
            <ac:cxnSpMk id="14" creationId="{38405855-0A63-F5D5-8D29-B139D27A6955}"/>
          </ac:cxnSpMkLst>
        </pc:cxnChg>
        <pc:cxnChg chg="mod">
          <ac:chgData name="Jain, Rishabh" userId="2abb9701-55d0-4cb8-96b7-0905942637ed" providerId="ADAL" clId="{5EC23AA8-AE4E-4DDA-9C54-9AEE8B886803}" dt="2024-08-02T08:29:59.353" v="220" actId="478"/>
          <ac:cxnSpMkLst>
            <pc:docMk/>
            <pc:sldMk cId="214365455" sldId="265"/>
            <ac:cxnSpMk id="15" creationId="{99E4B992-487C-1432-81EF-CDA8A1450DA6}"/>
          </ac:cxnSpMkLst>
        </pc:cxnChg>
        <pc:cxnChg chg="mod">
          <ac:chgData name="Jain, Rishabh" userId="2abb9701-55d0-4cb8-96b7-0905942637ed" providerId="ADAL" clId="{5EC23AA8-AE4E-4DDA-9C54-9AEE8B886803}" dt="2024-08-02T08:29:59.353" v="220" actId="478"/>
          <ac:cxnSpMkLst>
            <pc:docMk/>
            <pc:sldMk cId="214365455" sldId="265"/>
            <ac:cxnSpMk id="16" creationId="{F68B9DBC-C007-CFAC-D463-C07A4D47CF04}"/>
          </ac:cxnSpMkLst>
        </pc:cxnChg>
        <pc:cxnChg chg="mod">
          <ac:chgData name="Jain, Rishabh" userId="2abb9701-55d0-4cb8-96b7-0905942637ed" providerId="ADAL" clId="{5EC23AA8-AE4E-4DDA-9C54-9AEE8B886803}" dt="2024-08-02T08:29:59.353" v="220" actId="478"/>
          <ac:cxnSpMkLst>
            <pc:docMk/>
            <pc:sldMk cId="214365455" sldId="265"/>
            <ac:cxnSpMk id="17" creationId="{369C0EE7-8C83-61CF-3DD9-D4F6FB6436E4}"/>
          </ac:cxnSpMkLst>
        </pc:cxnChg>
        <pc:cxnChg chg="mod">
          <ac:chgData name="Jain, Rishabh" userId="2abb9701-55d0-4cb8-96b7-0905942637ed" providerId="ADAL" clId="{5EC23AA8-AE4E-4DDA-9C54-9AEE8B886803}" dt="2024-08-02T08:45:13.459" v="246" actId="1076"/>
          <ac:cxnSpMkLst>
            <pc:docMk/>
            <pc:sldMk cId="214365455" sldId="265"/>
            <ac:cxnSpMk id="20" creationId="{1B565727-E452-0592-08BB-9F4E17287985}"/>
          </ac:cxnSpMkLst>
        </pc:cxnChg>
        <pc:cxnChg chg="mod">
          <ac:chgData name="Jain, Rishabh" userId="2abb9701-55d0-4cb8-96b7-0905942637ed" providerId="ADAL" clId="{5EC23AA8-AE4E-4DDA-9C54-9AEE8B886803}" dt="2024-08-02T08:45:13.459" v="246" actId="1076"/>
          <ac:cxnSpMkLst>
            <pc:docMk/>
            <pc:sldMk cId="214365455" sldId="265"/>
            <ac:cxnSpMk id="21" creationId="{AA660210-4A4F-7479-54E0-9C8F3C1D2216}"/>
          </ac:cxnSpMkLst>
        </pc:cxnChg>
        <pc:cxnChg chg="mod">
          <ac:chgData name="Jain, Rishabh" userId="2abb9701-55d0-4cb8-96b7-0905942637ed" providerId="ADAL" clId="{5EC23AA8-AE4E-4DDA-9C54-9AEE8B886803}" dt="2024-08-02T08:29:59.353" v="220" actId="478"/>
          <ac:cxnSpMkLst>
            <pc:docMk/>
            <pc:sldMk cId="214365455" sldId="265"/>
            <ac:cxnSpMk id="23" creationId="{F4BF9B35-01D1-F401-05DF-34FB0E8AB3D8}"/>
          </ac:cxnSpMkLst>
        </pc:cxnChg>
        <pc:cxnChg chg="mod">
          <ac:chgData name="Jain, Rishabh" userId="2abb9701-55d0-4cb8-96b7-0905942637ed" providerId="ADAL" clId="{5EC23AA8-AE4E-4DDA-9C54-9AEE8B886803}" dt="2024-08-02T09:00:16.210" v="287" actId="1076"/>
          <ac:cxnSpMkLst>
            <pc:docMk/>
            <pc:sldMk cId="214365455" sldId="265"/>
            <ac:cxnSpMk id="32" creationId="{8FCBC9A7-F963-8F5D-2B3A-CBC473DD9DCB}"/>
          </ac:cxnSpMkLst>
        </pc:cxnChg>
        <pc:cxnChg chg="mod">
          <ac:chgData name="Jain, Rishabh" userId="2abb9701-55d0-4cb8-96b7-0905942637ed" providerId="ADAL" clId="{5EC23AA8-AE4E-4DDA-9C54-9AEE8B886803}" dt="2024-08-02T08:29:59.353" v="220" actId="478"/>
          <ac:cxnSpMkLst>
            <pc:docMk/>
            <pc:sldMk cId="214365455" sldId="265"/>
            <ac:cxnSpMk id="33" creationId="{4DF75CFA-FA3C-39E6-2C10-DAD29E67F943}"/>
          </ac:cxnSpMkLst>
        </pc:cxnChg>
        <pc:cxnChg chg="mod">
          <ac:chgData name="Jain, Rishabh" userId="2abb9701-55d0-4cb8-96b7-0905942637ed" providerId="ADAL" clId="{5EC23AA8-AE4E-4DDA-9C54-9AEE8B886803}" dt="2024-08-02T08:29:59.353" v="220" actId="478"/>
          <ac:cxnSpMkLst>
            <pc:docMk/>
            <pc:sldMk cId="214365455" sldId="265"/>
            <ac:cxnSpMk id="34" creationId="{D04346EF-3D5A-612C-B6CF-12D0B705CA61}"/>
          </ac:cxnSpMkLst>
        </pc:cxnChg>
        <pc:cxnChg chg="mod">
          <ac:chgData name="Jain, Rishabh" userId="2abb9701-55d0-4cb8-96b7-0905942637ed" providerId="ADAL" clId="{5EC23AA8-AE4E-4DDA-9C54-9AEE8B886803}" dt="2024-08-02T08:29:59.353" v="220" actId="478"/>
          <ac:cxnSpMkLst>
            <pc:docMk/>
            <pc:sldMk cId="214365455" sldId="265"/>
            <ac:cxnSpMk id="35" creationId="{9460BC1D-2768-0824-7F2E-96C04F0DE900}"/>
          </ac:cxnSpMkLst>
        </pc:cxnChg>
        <pc:cxnChg chg="mod">
          <ac:chgData name="Jain, Rishabh" userId="2abb9701-55d0-4cb8-96b7-0905942637ed" providerId="ADAL" clId="{5EC23AA8-AE4E-4DDA-9C54-9AEE8B886803}" dt="2024-08-02T08:29:59.353" v="220" actId="478"/>
          <ac:cxnSpMkLst>
            <pc:docMk/>
            <pc:sldMk cId="214365455" sldId="265"/>
            <ac:cxnSpMk id="37" creationId="{E3AD4F11-0131-25C3-A5F4-6ACE3308652F}"/>
          </ac:cxnSpMkLst>
        </pc:cxnChg>
        <pc:cxnChg chg="mod">
          <ac:chgData name="Jain, Rishabh" userId="2abb9701-55d0-4cb8-96b7-0905942637ed" providerId="ADAL" clId="{5EC23AA8-AE4E-4DDA-9C54-9AEE8B886803}" dt="2024-08-02T08:53:34.834" v="275" actId="1076"/>
          <ac:cxnSpMkLst>
            <pc:docMk/>
            <pc:sldMk cId="214365455" sldId="265"/>
            <ac:cxnSpMk id="40" creationId="{10C6127F-40BC-297D-9DE9-B9E610339035}"/>
          </ac:cxnSpMkLst>
        </pc:cxnChg>
        <pc:cxnChg chg="mod">
          <ac:chgData name="Jain, Rishabh" userId="2abb9701-55d0-4cb8-96b7-0905942637ed" providerId="ADAL" clId="{5EC23AA8-AE4E-4DDA-9C54-9AEE8B886803}" dt="2024-08-02T08:53:34.834" v="275" actId="1076"/>
          <ac:cxnSpMkLst>
            <pc:docMk/>
            <pc:sldMk cId="214365455" sldId="265"/>
            <ac:cxnSpMk id="41" creationId="{FAF48959-10DB-34CC-F1E2-EE693754BC36}"/>
          </ac:cxnSpMkLst>
        </pc:cxnChg>
        <pc:cxnChg chg="mod">
          <ac:chgData name="Jain, Rishabh" userId="2abb9701-55d0-4cb8-96b7-0905942637ed" providerId="ADAL" clId="{5EC23AA8-AE4E-4DDA-9C54-9AEE8B886803}" dt="2024-08-02T08:29:59.353" v="220" actId="478"/>
          <ac:cxnSpMkLst>
            <pc:docMk/>
            <pc:sldMk cId="214365455" sldId="265"/>
            <ac:cxnSpMk id="43" creationId="{516B696F-9F9A-6E6B-78CC-0FC27660B526}"/>
          </ac:cxnSpMkLst>
        </pc:cxnChg>
        <pc:cxnChg chg="mod">
          <ac:chgData name="Jain, Rishabh" userId="2abb9701-55d0-4cb8-96b7-0905942637ed" providerId="ADAL" clId="{5EC23AA8-AE4E-4DDA-9C54-9AEE8B886803}" dt="2024-08-02T09:00:16.210" v="287" actId="1076"/>
          <ac:cxnSpMkLst>
            <pc:docMk/>
            <pc:sldMk cId="214365455" sldId="265"/>
            <ac:cxnSpMk id="44" creationId="{17479270-3B2A-5293-C22C-7028F1F1A824}"/>
          </ac:cxnSpMkLst>
        </pc:cxnChg>
        <pc:cxnChg chg="mod">
          <ac:chgData name="Jain, Rishabh" userId="2abb9701-55d0-4cb8-96b7-0905942637ed" providerId="ADAL" clId="{5EC23AA8-AE4E-4DDA-9C54-9AEE8B886803}" dt="2024-08-02T08:29:59.353" v="220" actId="478"/>
          <ac:cxnSpMkLst>
            <pc:docMk/>
            <pc:sldMk cId="214365455" sldId="265"/>
            <ac:cxnSpMk id="45" creationId="{0C92F72C-9272-E68F-FD12-FCF5B26E7022}"/>
          </ac:cxnSpMkLst>
        </pc:cxnChg>
        <pc:cxnChg chg="mod">
          <ac:chgData name="Jain, Rishabh" userId="2abb9701-55d0-4cb8-96b7-0905942637ed" providerId="ADAL" clId="{5EC23AA8-AE4E-4DDA-9C54-9AEE8B886803}" dt="2024-08-02T08:29:59.353" v="220" actId="478"/>
          <ac:cxnSpMkLst>
            <pc:docMk/>
            <pc:sldMk cId="214365455" sldId="265"/>
            <ac:cxnSpMk id="46" creationId="{970FFDEC-5A18-44BC-C718-590742E47775}"/>
          </ac:cxnSpMkLst>
        </pc:cxnChg>
        <pc:cxnChg chg="mod">
          <ac:chgData name="Jain, Rishabh" userId="2abb9701-55d0-4cb8-96b7-0905942637ed" providerId="ADAL" clId="{5EC23AA8-AE4E-4DDA-9C54-9AEE8B886803}" dt="2024-08-02T08:29:59.353" v="220" actId="478"/>
          <ac:cxnSpMkLst>
            <pc:docMk/>
            <pc:sldMk cId="214365455" sldId="265"/>
            <ac:cxnSpMk id="48" creationId="{5C7C9445-2359-3EFC-2E3A-13AB3A28881E}"/>
          </ac:cxnSpMkLst>
        </pc:cxnChg>
        <pc:cxnChg chg="mod">
          <ac:chgData name="Jain, Rishabh" userId="2abb9701-55d0-4cb8-96b7-0905942637ed" providerId="ADAL" clId="{5EC23AA8-AE4E-4DDA-9C54-9AEE8B886803}" dt="2024-08-02T08:29:30.961" v="210" actId="1076"/>
          <ac:cxnSpMkLst>
            <pc:docMk/>
            <pc:sldMk cId="214365455" sldId="265"/>
            <ac:cxnSpMk id="50" creationId="{41B4113E-8144-D7E5-FED5-860D9BD9A49E}"/>
          </ac:cxnSpMkLst>
        </pc:cxnChg>
        <pc:cxnChg chg="del mod">
          <ac:chgData name="Jain, Rishabh" userId="2abb9701-55d0-4cb8-96b7-0905942637ed" providerId="ADAL" clId="{5EC23AA8-AE4E-4DDA-9C54-9AEE8B886803}" dt="2024-08-02T08:30:06.348" v="224" actId="478"/>
          <ac:cxnSpMkLst>
            <pc:docMk/>
            <pc:sldMk cId="214365455" sldId="265"/>
            <ac:cxnSpMk id="55" creationId="{B2B0A8F7-EB70-0EA8-690F-F5A5C5BDE060}"/>
          </ac:cxnSpMkLst>
        </pc:cxnChg>
        <pc:cxnChg chg="mod">
          <ac:chgData name="Jain, Rishabh" userId="2abb9701-55d0-4cb8-96b7-0905942637ed" providerId="ADAL" clId="{5EC23AA8-AE4E-4DDA-9C54-9AEE8B886803}" dt="2024-08-02T08:29:59.353" v="220" actId="478"/>
          <ac:cxnSpMkLst>
            <pc:docMk/>
            <pc:sldMk cId="214365455" sldId="265"/>
            <ac:cxnSpMk id="63" creationId="{B5909828-9F06-3C7A-676F-FD8CB3ED9474}"/>
          </ac:cxnSpMkLst>
        </pc:cxnChg>
        <pc:cxnChg chg="mod">
          <ac:chgData name="Jain, Rishabh" userId="2abb9701-55d0-4cb8-96b7-0905942637ed" providerId="ADAL" clId="{5EC23AA8-AE4E-4DDA-9C54-9AEE8B886803}" dt="2024-08-02T08:29:59.353" v="220" actId="478"/>
          <ac:cxnSpMkLst>
            <pc:docMk/>
            <pc:sldMk cId="214365455" sldId="265"/>
            <ac:cxnSpMk id="65" creationId="{9124F1C2-735D-720F-464F-CF2D9F43C981}"/>
          </ac:cxnSpMkLst>
        </pc:cxnChg>
        <pc:cxnChg chg="del mod">
          <ac:chgData name="Jain, Rishabh" userId="2abb9701-55d0-4cb8-96b7-0905942637ed" providerId="ADAL" clId="{5EC23AA8-AE4E-4DDA-9C54-9AEE8B886803}" dt="2024-08-02T08:29:43.327" v="211" actId="478"/>
          <ac:cxnSpMkLst>
            <pc:docMk/>
            <pc:sldMk cId="214365455" sldId="265"/>
            <ac:cxnSpMk id="66" creationId="{C0EBDC31-77DF-4DAA-873F-A9380004B0C3}"/>
          </ac:cxnSpMkLst>
        </pc:cxnChg>
        <pc:cxnChg chg="del">
          <ac:chgData name="Jain, Rishabh" userId="2abb9701-55d0-4cb8-96b7-0905942637ed" providerId="ADAL" clId="{5EC23AA8-AE4E-4DDA-9C54-9AEE8B886803}" dt="2024-08-02T07:50:09.516" v="82" actId="478"/>
          <ac:cxnSpMkLst>
            <pc:docMk/>
            <pc:sldMk cId="214365455" sldId="265"/>
            <ac:cxnSpMk id="70" creationId="{1C65A339-EDB6-BF4D-D4AD-A94C6C80048A}"/>
          </ac:cxnSpMkLst>
        </pc:cxnChg>
        <pc:cxnChg chg="del mod">
          <ac:chgData name="Jain, Rishabh" userId="2abb9701-55d0-4cb8-96b7-0905942637ed" providerId="ADAL" clId="{5EC23AA8-AE4E-4DDA-9C54-9AEE8B886803}" dt="2024-08-02T07:50:07.781" v="81" actId="478"/>
          <ac:cxnSpMkLst>
            <pc:docMk/>
            <pc:sldMk cId="214365455" sldId="265"/>
            <ac:cxnSpMk id="71" creationId="{3546748E-6179-7A9C-BA32-A16DAD501878}"/>
          </ac:cxnSpMkLst>
        </pc:cxnChg>
        <pc:cxnChg chg="mod">
          <ac:chgData name="Jain, Rishabh" userId="2abb9701-55d0-4cb8-96b7-0905942637ed" providerId="ADAL" clId="{5EC23AA8-AE4E-4DDA-9C54-9AEE8B886803}" dt="2024-08-02T08:29:59.353" v="220" actId="478"/>
          <ac:cxnSpMkLst>
            <pc:docMk/>
            <pc:sldMk cId="214365455" sldId="265"/>
            <ac:cxnSpMk id="79" creationId="{7A7EF13D-ACCD-43AA-C068-2F14E2FCA321}"/>
          </ac:cxnSpMkLst>
        </pc:cxnChg>
        <pc:cxnChg chg="mod">
          <ac:chgData name="Jain, Rishabh" userId="2abb9701-55d0-4cb8-96b7-0905942637ed" providerId="ADAL" clId="{5EC23AA8-AE4E-4DDA-9C54-9AEE8B886803}" dt="2024-08-02T08:29:59.353" v="220" actId="478"/>
          <ac:cxnSpMkLst>
            <pc:docMk/>
            <pc:sldMk cId="214365455" sldId="265"/>
            <ac:cxnSpMk id="80" creationId="{66990C9D-D2CB-1542-802E-6B0137B267F5}"/>
          </ac:cxnSpMkLst>
        </pc:cxnChg>
        <pc:cxnChg chg="mod">
          <ac:chgData name="Jain, Rishabh" userId="2abb9701-55d0-4cb8-96b7-0905942637ed" providerId="ADAL" clId="{5EC23AA8-AE4E-4DDA-9C54-9AEE8B886803}" dt="2024-08-02T08:29:59.353" v="220" actId="478"/>
          <ac:cxnSpMkLst>
            <pc:docMk/>
            <pc:sldMk cId="214365455" sldId="265"/>
            <ac:cxnSpMk id="81" creationId="{48DAEAEF-1702-55BF-6D2E-6D0CD998B674}"/>
          </ac:cxnSpMkLst>
        </pc:cxnChg>
        <pc:cxnChg chg="mod">
          <ac:chgData name="Jain, Rishabh" userId="2abb9701-55d0-4cb8-96b7-0905942637ed" providerId="ADAL" clId="{5EC23AA8-AE4E-4DDA-9C54-9AEE8B886803}" dt="2024-08-02T08:29:59.353" v="220" actId="478"/>
          <ac:cxnSpMkLst>
            <pc:docMk/>
            <pc:sldMk cId="214365455" sldId="265"/>
            <ac:cxnSpMk id="82" creationId="{825832B7-8767-F6AA-7436-F36195A8D095}"/>
          </ac:cxnSpMkLst>
        </pc:cxnChg>
        <pc:cxnChg chg="mod">
          <ac:chgData name="Jain, Rishabh" userId="2abb9701-55d0-4cb8-96b7-0905942637ed" providerId="ADAL" clId="{5EC23AA8-AE4E-4DDA-9C54-9AEE8B886803}" dt="2024-08-02T08:29:59.353" v="220" actId="478"/>
          <ac:cxnSpMkLst>
            <pc:docMk/>
            <pc:sldMk cId="214365455" sldId="265"/>
            <ac:cxnSpMk id="84" creationId="{9D30F872-B664-451C-00E7-C64E25737361}"/>
          </ac:cxnSpMkLst>
        </pc:cxnChg>
      </pc:sldChg>
      <pc:sldChg chg="addSp delSp modSp">
        <pc:chgData name="Jain, Rishabh" userId="2abb9701-55d0-4cb8-96b7-0905942637ed" providerId="ADAL" clId="{5EC23AA8-AE4E-4DDA-9C54-9AEE8B886803}" dt="2024-08-02T07:46:40.524" v="54" actId="478"/>
        <pc:sldMkLst>
          <pc:docMk/>
          <pc:sldMk cId="1336087857" sldId="283"/>
        </pc:sldMkLst>
        <pc:picChg chg="add del mod">
          <ac:chgData name="Jain, Rishabh" userId="2abb9701-55d0-4cb8-96b7-0905942637ed" providerId="ADAL" clId="{5EC23AA8-AE4E-4DDA-9C54-9AEE8B886803}" dt="2024-08-02T07:46:40.524" v="54" actId="478"/>
          <ac:picMkLst>
            <pc:docMk/>
            <pc:sldMk cId="1336087857" sldId="283"/>
            <ac:picMk id="2050" creationId="{57695BD6-438B-8211-1C73-D34523B8417B}"/>
          </ac:picMkLst>
        </pc:picChg>
      </pc:sldChg>
    </pc:docChg>
  </pc:docChgLst>
  <pc:docChgLst>
    <pc:chgData name="Jain, Rishabh" userId="S::rjain23@deloitte.com::2abb9701-55d0-4cb8-96b7-0905942637ed" providerId="AD" clId="Web-{F0CCC6AB-886D-58AE-BAA8-E0AF1EFE185D}"/>
    <pc:docChg chg="addSld delSld modSld">
      <pc:chgData name="Jain, Rishabh" userId="S::rjain23@deloitte.com::2abb9701-55d0-4cb8-96b7-0905942637ed" providerId="AD" clId="Web-{F0CCC6AB-886D-58AE-BAA8-E0AF1EFE185D}" dt="2024-08-01T13:20:29.193" v="63"/>
      <pc:docMkLst>
        <pc:docMk/>
      </pc:docMkLst>
      <pc:sldChg chg="modSp">
        <pc:chgData name="Jain, Rishabh" userId="S::rjain23@deloitte.com::2abb9701-55d0-4cb8-96b7-0905942637ed" providerId="AD" clId="Web-{F0CCC6AB-886D-58AE-BAA8-E0AF1EFE185D}" dt="2024-08-01T13:17:04.129" v="6" actId="1076"/>
        <pc:sldMkLst>
          <pc:docMk/>
          <pc:sldMk cId="3342250309" sldId="263"/>
        </pc:sldMkLst>
        <pc:picChg chg="mod">
          <ac:chgData name="Jain, Rishabh" userId="S::rjain23@deloitte.com::2abb9701-55d0-4cb8-96b7-0905942637ed" providerId="AD" clId="Web-{F0CCC6AB-886D-58AE-BAA8-E0AF1EFE185D}" dt="2024-08-01T13:17:04.129" v="6" actId="1076"/>
          <ac:picMkLst>
            <pc:docMk/>
            <pc:sldMk cId="3342250309" sldId="263"/>
            <ac:picMk id="40" creationId="{39372CCE-B671-1D81-42D5-802051E0ECC2}"/>
          </ac:picMkLst>
        </pc:picChg>
        <pc:picChg chg="mod">
          <ac:chgData name="Jain, Rishabh" userId="S::rjain23@deloitte.com::2abb9701-55d0-4cb8-96b7-0905942637ed" providerId="AD" clId="Web-{F0CCC6AB-886D-58AE-BAA8-E0AF1EFE185D}" dt="2024-08-01T13:16:53.175" v="3" actId="1076"/>
          <ac:picMkLst>
            <pc:docMk/>
            <pc:sldMk cId="3342250309" sldId="263"/>
            <ac:picMk id="51" creationId="{C1812E15-7178-9E10-D9D0-CFD9745F92D6}"/>
          </ac:picMkLst>
        </pc:picChg>
        <pc:cxnChg chg="mod">
          <ac:chgData name="Jain, Rishabh" userId="S::rjain23@deloitte.com::2abb9701-55d0-4cb8-96b7-0905942637ed" providerId="AD" clId="Web-{F0CCC6AB-886D-58AE-BAA8-E0AF1EFE185D}" dt="2024-08-01T13:16:53.175" v="3" actId="1076"/>
          <ac:cxnSpMkLst>
            <pc:docMk/>
            <pc:sldMk cId="3342250309" sldId="263"/>
            <ac:cxnSpMk id="56" creationId="{7AC01202-F330-32DA-6D12-60CD49DBB37D}"/>
          </ac:cxnSpMkLst>
        </pc:cxnChg>
        <pc:cxnChg chg="mod">
          <ac:chgData name="Jain, Rishabh" userId="S::rjain23@deloitte.com::2abb9701-55d0-4cb8-96b7-0905942637ed" providerId="AD" clId="Web-{F0CCC6AB-886D-58AE-BAA8-E0AF1EFE185D}" dt="2024-08-01T13:16:53.175" v="3" actId="1076"/>
          <ac:cxnSpMkLst>
            <pc:docMk/>
            <pc:sldMk cId="3342250309" sldId="263"/>
            <ac:cxnSpMk id="71" creationId="{EE170FDE-7F6D-C15A-C0DA-2BF63A8FAFD4}"/>
          </ac:cxnSpMkLst>
        </pc:cxnChg>
      </pc:sldChg>
      <pc:sldChg chg="addSp delSp modSp new del">
        <pc:chgData name="Jain, Rishabh" userId="S::rjain23@deloitte.com::2abb9701-55d0-4cb8-96b7-0905942637ed" providerId="AD" clId="Web-{F0CCC6AB-886D-58AE-BAA8-E0AF1EFE185D}" dt="2024-08-01T13:20:29.193" v="63"/>
        <pc:sldMkLst>
          <pc:docMk/>
          <pc:sldMk cId="3729781749" sldId="264"/>
        </pc:sldMkLst>
        <pc:spChg chg="del">
          <ac:chgData name="Jain, Rishabh" userId="S::rjain23@deloitte.com::2abb9701-55d0-4cb8-96b7-0905942637ed" providerId="AD" clId="Web-{F0CCC6AB-886D-58AE-BAA8-E0AF1EFE185D}" dt="2024-08-01T13:17:30.082" v="10"/>
          <ac:spMkLst>
            <pc:docMk/>
            <pc:sldMk cId="3729781749" sldId="264"/>
            <ac:spMk id="2" creationId="{54AEEE79-24FE-843F-42FF-91A12DC67CBF}"/>
          </ac:spMkLst>
        </pc:spChg>
        <pc:spChg chg="add del">
          <ac:chgData name="Jain, Rishabh" userId="S::rjain23@deloitte.com::2abb9701-55d0-4cb8-96b7-0905942637ed" providerId="AD" clId="Web-{F0CCC6AB-886D-58AE-BAA8-E0AF1EFE185D}" dt="2024-08-01T13:17:28.176" v="9"/>
          <ac:spMkLst>
            <pc:docMk/>
            <pc:sldMk cId="3729781749" sldId="264"/>
            <ac:spMk id="3" creationId="{6CFA25C5-73BB-CD59-51D0-83243FCD130D}"/>
          </ac:spMkLst>
        </pc:spChg>
        <pc:spChg chg="add del">
          <ac:chgData name="Jain, Rishabh" userId="S::rjain23@deloitte.com::2abb9701-55d0-4cb8-96b7-0905942637ed" providerId="AD" clId="Web-{F0CCC6AB-886D-58AE-BAA8-E0AF1EFE185D}" dt="2024-08-01T13:17:43.363" v="15"/>
          <ac:spMkLst>
            <pc:docMk/>
            <pc:sldMk cId="3729781749" sldId="264"/>
            <ac:spMk id="13" creationId="{4141A491-98D7-040F-38E8-DF23F1611093}"/>
          </ac:spMkLst>
        </pc:spChg>
        <pc:spChg chg="add mod">
          <ac:chgData name="Jain, Rishabh" userId="S::rjain23@deloitte.com::2abb9701-55d0-4cb8-96b7-0905942637ed" providerId="AD" clId="Web-{F0CCC6AB-886D-58AE-BAA8-E0AF1EFE185D}" dt="2024-08-01T13:17:58.004" v="18"/>
          <ac:spMkLst>
            <pc:docMk/>
            <pc:sldMk cId="3729781749" sldId="264"/>
            <ac:spMk id="14" creationId="{99B4C966-C77A-5C82-28B3-A3B65E8C4814}"/>
          </ac:spMkLst>
        </pc:spChg>
        <pc:spChg chg="add mod">
          <ac:chgData name="Jain, Rishabh" userId="S::rjain23@deloitte.com::2abb9701-55d0-4cb8-96b7-0905942637ed" providerId="AD" clId="Web-{F0CCC6AB-886D-58AE-BAA8-E0AF1EFE185D}" dt="2024-08-01T13:18:10.942" v="23" actId="20577"/>
          <ac:spMkLst>
            <pc:docMk/>
            <pc:sldMk cId="3729781749" sldId="264"/>
            <ac:spMk id="15" creationId="{55DB259C-F5A9-A8C4-9E59-19189E541143}"/>
          </ac:spMkLst>
        </pc:spChg>
        <pc:spChg chg="add del">
          <ac:chgData name="Jain, Rishabh" userId="S::rjain23@deloitte.com::2abb9701-55d0-4cb8-96b7-0905942637ed" providerId="AD" clId="Web-{F0CCC6AB-886D-58AE-BAA8-E0AF1EFE185D}" dt="2024-08-01T13:18:29.207" v="27"/>
          <ac:spMkLst>
            <pc:docMk/>
            <pc:sldMk cId="3729781749" sldId="264"/>
            <ac:spMk id="16" creationId="{B10151F6-F1C6-8F31-11EA-1A24F407215A}"/>
          </ac:spMkLst>
        </pc:spChg>
        <pc:spChg chg="add del mod">
          <ac:chgData name="Jain, Rishabh" userId="S::rjain23@deloitte.com::2abb9701-55d0-4cb8-96b7-0905942637ed" providerId="AD" clId="Web-{F0CCC6AB-886D-58AE-BAA8-E0AF1EFE185D}" dt="2024-08-01T13:20:07.677" v="62" actId="14100"/>
          <ac:spMkLst>
            <pc:docMk/>
            <pc:sldMk cId="3729781749" sldId="264"/>
            <ac:spMk id="17" creationId="{CF52CD19-EEAF-C069-3B84-49F6E8146F2F}"/>
          </ac:spMkLst>
        </pc:spChg>
        <pc:spChg chg="add del">
          <ac:chgData name="Jain, Rishabh" userId="S::rjain23@deloitte.com::2abb9701-55d0-4cb8-96b7-0905942637ed" providerId="AD" clId="Web-{F0CCC6AB-886D-58AE-BAA8-E0AF1EFE185D}" dt="2024-08-01T13:19:56.958" v="53"/>
          <ac:spMkLst>
            <pc:docMk/>
            <pc:sldMk cId="3729781749" sldId="264"/>
            <ac:spMk id="22" creationId="{27E8149F-6BF1-FA34-2AF7-3406441991B1}"/>
          </ac:spMkLst>
        </pc:spChg>
        <pc:graphicFrameChg chg="add del mod ord modGraphic">
          <ac:chgData name="Jain, Rishabh" userId="S::rjain23@deloitte.com::2abb9701-55d0-4cb8-96b7-0905942637ed" providerId="AD" clId="Web-{F0CCC6AB-886D-58AE-BAA8-E0AF1EFE185D}" dt="2024-08-01T13:17:25.097" v="8"/>
          <ac:graphicFrameMkLst>
            <pc:docMk/>
            <pc:sldMk cId="3729781749" sldId="264"/>
            <ac:graphicFrameMk id="4" creationId="{CA33B166-5897-9B9A-97CE-F639E9E281F9}"/>
          </ac:graphicFrameMkLst>
        </pc:graphicFrameChg>
        <pc:picChg chg="add del mod">
          <ac:chgData name="Jain, Rishabh" userId="S::rjain23@deloitte.com::2abb9701-55d0-4cb8-96b7-0905942637ed" providerId="AD" clId="Web-{F0CCC6AB-886D-58AE-BAA8-E0AF1EFE185D}" dt="2024-08-01T13:17:35.941" v="13"/>
          <ac:picMkLst>
            <pc:docMk/>
            <pc:sldMk cId="3729781749" sldId="264"/>
            <ac:picMk id="12" creationId="{ADF003B2-0CFF-3F42-EDA6-6C5EB9B0CD65}"/>
          </ac:picMkLst>
        </pc:picChg>
        <pc:inkChg chg="add del">
          <ac:chgData name="Jain, Rishabh" userId="S::rjain23@deloitte.com::2abb9701-55d0-4cb8-96b7-0905942637ed" providerId="AD" clId="Web-{F0CCC6AB-886D-58AE-BAA8-E0AF1EFE185D}" dt="2024-08-01T13:19:42.349" v="41"/>
          <ac:inkMkLst>
            <pc:docMk/>
            <pc:sldMk cId="3729781749" sldId="264"/>
            <ac:inkMk id="18" creationId="{866F0790-D673-99CE-09D7-AD81B2B70075}"/>
          </ac:inkMkLst>
        </pc:inkChg>
        <pc:inkChg chg="add del">
          <ac:chgData name="Jain, Rishabh" userId="S::rjain23@deloitte.com::2abb9701-55d0-4cb8-96b7-0905942637ed" providerId="AD" clId="Web-{F0CCC6AB-886D-58AE-BAA8-E0AF1EFE185D}" dt="2024-08-01T13:19:41.646" v="40"/>
          <ac:inkMkLst>
            <pc:docMk/>
            <pc:sldMk cId="3729781749" sldId="264"/>
            <ac:inkMk id="19" creationId="{43872F93-69E1-83DE-2539-0AA6F41C0B92}"/>
          </ac:inkMkLst>
        </pc:inkChg>
        <pc:inkChg chg="add del">
          <ac:chgData name="Jain, Rishabh" userId="S::rjain23@deloitte.com::2abb9701-55d0-4cb8-96b7-0905942637ed" providerId="AD" clId="Web-{F0CCC6AB-886D-58AE-BAA8-E0AF1EFE185D}" dt="2024-08-01T13:19:48.177" v="46"/>
          <ac:inkMkLst>
            <pc:docMk/>
            <pc:sldMk cId="3729781749" sldId="264"/>
            <ac:inkMk id="20" creationId="{A88C9DBF-9791-6BF3-314B-6D0C7F44C718}"/>
          </ac:inkMkLst>
        </pc:inkChg>
        <pc:inkChg chg="add del">
          <ac:chgData name="Jain, Rishabh" userId="S::rjain23@deloitte.com::2abb9701-55d0-4cb8-96b7-0905942637ed" providerId="AD" clId="Web-{F0CCC6AB-886D-58AE-BAA8-E0AF1EFE185D}" dt="2024-08-01T13:19:47.614" v="45"/>
          <ac:inkMkLst>
            <pc:docMk/>
            <pc:sldMk cId="3729781749" sldId="264"/>
            <ac:inkMk id="21" creationId="{27F2E834-9382-B506-947E-9EAE85529E9B}"/>
          </ac:inkMkLst>
        </pc:inkChg>
        <pc:inkChg chg="add del">
          <ac:chgData name="Jain, Rishabh" userId="S::rjain23@deloitte.com::2abb9701-55d0-4cb8-96b7-0905942637ed" providerId="AD" clId="Web-{F0CCC6AB-886D-58AE-BAA8-E0AF1EFE185D}" dt="2024-08-01T13:19:56.552" v="52"/>
          <ac:inkMkLst>
            <pc:docMk/>
            <pc:sldMk cId="3729781749" sldId="264"/>
            <ac:inkMk id="23" creationId="{DA714B55-F525-7B54-BD69-19DB8683B156}"/>
          </ac:inkMkLst>
        </pc:inkChg>
        <pc:inkChg chg="add del">
          <ac:chgData name="Jain, Rishabh" userId="S::rjain23@deloitte.com::2abb9701-55d0-4cb8-96b7-0905942637ed" providerId="AD" clId="Web-{F0CCC6AB-886D-58AE-BAA8-E0AF1EFE185D}" dt="2024-08-01T13:19:56.130" v="51"/>
          <ac:inkMkLst>
            <pc:docMk/>
            <pc:sldMk cId="3729781749" sldId="264"/>
            <ac:inkMk id="24" creationId="{57008584-D98A-4D9C-4AF4-9C9B4406FF13}"/>
          </ac:inkMkLst>
        </pc:inkChg>
      </pc:sldChg>
      <pc:sldChg chg="new del">
        <pc:chgData name="Jain, Rishabh" userId="S::rjain23@deloitte.com::2abb9701-55d0-4cb8-96b7-0905942637ed" providerId="AD" clId="Web-{F0CCC6AB-886D-58AE-BAA8-E0AF1EFE185D}" dt="2024-08-01T13:18:21.082" v="25"/>
        <pc:sldMkLst>
          <pc:docMk/>
          <pc:sldMk cId="1003618338" sldId="265"/>
        </pc:sldMkLst>
      </pc:sldChg>
    </pc:docChg>
  </pc:docChgLst>
  <pc:docChgLst>
    <pc:chgData name="Mahesh Karigoudar" userId="aee392fe-d52f-479c-9f96-f04d75de2987" providerId="ADAL" clId="{B7BB60FE-A10A-46F6-9623-5355C9C8D8D6}"/>
    <pc:docChg chg="undo custSel addSld delSld modSld">
      <pc:chgData name="Mahesh Karigoudar" userId="aee392fe-d52f-479c-9f96-f04d75de2987" providerId="ADAL" clId="{B7BB60FE-A10A-46F6-9623-5355C9C8D8D6}" dt="2024-08-06T07:21:55.126" v="1183" actId="1076"/>
      <pc:docMkLst>
        <pc:docMk/>
      </pc:docMkLst>
      <pc:sldChg chg="new">
        <pc:chgData name="Mahesh Karigoudar" userId="aee392fe-d52f-479c-9f96-f04d75de2987" providerId="ADAL" clId="{B7BB60FE-A10A-46F6-9623-5355C9C8D8D6}" dt="2024-08-01T11:38:03.188" v="0" actId="680"/>
        <pc:sldMkLst>
          <pc:docMk/>
          <pc:sldMk cId="3982359359" sldId="256"/>
        </pc:sldMkLst>
      </pc:sldChg>
      <pc:sldChg chg="addSp delSp modSp new del mod">
        <pc:chgData name="Mahesh Karigoudar" userId="aee392fe-d52f-479c-9f96-f04d75de2987" providerId="ADAL" clId="{B7BB60FE-A10A-46F6-9623-5355C9C8D8D6}" dt="2024-08-01T12:01:38.898" v="10" actId="47"/>
        <pc:sldMkLst>
          <pc:docMk/>
          <pc:sldMk cId="1550940615" sldId="257"/>
        </pc:sldMkLst>
        <pc:spChg chg="del">
          <ac:chgData name="Mahesh Karigoudar" userId="aee392fe-d52f-479c-9f96-f04d75de2987" providerId="ADAL" clId="{B7BB60FE-A10A-46F6-9623-5355C9C8D8D6}" dt="2024-08-01T11:38:16.415" v="3" actId="478"/>
          <ac:spMkLst>
            <pc:docMk/>
            <pc:sldMk cId="1550940615" sldId="257"/>
            <ac:spMk id="2" creationId="{C08E79E5-DCF4-A227-4595-F28CFBABA511}"/>
          </ac:spMkLst>
        </pc:spChg>
        <pc:spChg chg="del">
          <ac:chgData name="Mahesh Karigoudar" userId="aee392fe-d52f-479c-9f96-f04d75de2987" providerId="ADAL" clId="{B7BB60FE-A10A-46F6-9623-5355C9C8D8D6}" dt="2024-08-01T11:38:12.091" v="2" actId="478"/>
          <ac:spMkLst>
            <pc:docMk/>
            <pc:sldMk cId="1550940615" sldId="257"/>
            <ac:spMk id="3" creationId="{5EE730A2-D718-5705-7DCC-A932D379B67F}"/>
          </ac:spMkLst>
        </pc:spChg>
        <pc:spChg chg="add del mod">
          <ac:chgData name="Mahesh Karigoudar" userId="aee392fe-d52f-479c-9f96-f04d75de2987" providerId="ADAL" clId="{B7BB60FE-A10A-46F6-9623-5355C9C8D8D6}" dt="2024-08-01T11:38:24.213" v="5"/>
          <ac:spMkLst>
            <pc:docMk/>
            <pc:sldMk cId="1550940615" sldId="257"/>
            <ac:spMk id="4" creationId="{B33153A6-B675-70A7-E519-ED8F59E91839}"/>
          </ac:spMkLst>
        </pc:spChg>
        <pc:spChg chg="add del mod">
          <ac:chgData name="Mahesh Karigoudar" userId="aee392fe-d52f-479c-9f96-f04d75de2987" providerId="ADAL" clId="{B7BB60FE-A10A-46F6-9623-5355C9C8D8D6}" dt="2024-08-01T11:38:24.213" v="5"/>
          <ac:spMkLst>
            <pc:docMk/>
            <pc:sldMk cId="1550940615" sldId="257"/>
            <ac:spMk id="5" creationId="{D36ABE77-625A-F642-318D-145D046E11BA}"/>
          </ac:spMkLst>
        </pc:spChg>
        <pc:spChg chg="add del mod">
          <ac:chgData name="Mahesh Karigoudar" userId="aee392fe-d52f-479c-9f96-f04d75de2987" providerId="ADAL" clId="{B7BB60FE-A10A-46F6-9623-5355C9C8D8D6}" dt="2024-08-01T11:38:24.213" v="5"/>
          <ac:spMkLst>
            <pc:docMk/>
            <pc:sldMk cId="1550940615" sldId="257"/>
            <ac:spMk id="7" creationId="{17890765-E6E2-9FF9-1F9B-C0E423AC8CD2}"/>
          </ac:spMkLst>
        </pc:spChg>
        <pc:spChg chg="add del mod">
          <ac:chgData name="Mahesh Karigoudar" userId="aee392fe-d52f-479c-9f96-f04d75de2987" providerId="ADAL" clId="{B7BB60FE-A10A-46F6-9623-5355C9C8D8D6}" dt="2024-08-01T11:38:24.213" v="5"/>
          <ac:spMkLst>
            <pc:docMk/>
            <pc:sldMk cId="1550940615" sldId="257"/>
            <ac:spMk id="8" creationId="{91F7B965-ABBF-B255-B3C0-C2CFD8C1D19E}"/>
          </ac:spMkLst>
        </pc:spChg>
        <pc:spChg chg="add del mod">
          <ac:chgData name="Mahesh Karigoudar" userId="aee392fe-d52f-479c-9f96-f04d75de2987" providerId="ADAL" clId="{B7BB60FE-A10A-46F6-9623-5355C9C8D8D6}" dt="2024-08-01T11:38:24.213" v="5"/>
          <ac:spMkLst>
            <pc:docMk/>
            <pc:sldMk cId="1550940615" sldId="257"/>
            <ac:spMk id="9" creationId="{67DA91E4-12EB-48D7-2EF9-142149C3AF51}"/>
          </ac:spMkLst>
        </pc:spChg>
        <pc:spChg chg="add del mod">
          <ac:chgData name="Mahesh Karigoudar" userId="aee392fe-d52f-479c-9f96-f04d75de2987" providerId="ADAL" clId="{B7BB60FE-A10A-46F6-9623-5355C9C8D8D6}" dt="2024-08-01T11:38:24.213" v="5"/>
          <ac:spMkLst>
            <pc:docMk/>
            <pc:sldMk cId="1550940615" sldId="257"/>
            <ac:spMk id="11" creationId="{F282AFE1-EE22-28F1-930D-077377EC031E}"/>
          </ac:spMkLst>
        </pc:spChg>
        <pc:spChg chg="add del mod">
          <ac:chgData name="Mahesh Karigoudar" userId="aee392fe-d52f-479c-9f96-f04d75de2987" providerId="ADAL" clId="{B7BB60FE-A10A-46F6-9623-5355C9C8D8D6}" dt="2024-08-01T11:38:24.213" v="5"/>
          <ac:spMkLst>
            <pc:docMk/>
            <pc:sldMk cId="1550940615" sldId="257"/>
            <ac:spMk id="12" creationId="{D13B8D1C-566E-59C2-5321-42A07546D7C1}"/>
          </ac:spMkLst>
        </pc:spChg>
        <pc:spChg chg="add del mod">
          <ac:chgData name="Mahesh Karigoudar" userId="aee392fe-d52f-479c-9f96-f04d75de2987" providerId="ADAL" clId="{B7BB60FE-A10A-46F6-9623-5355C9C8D8D6}" dt="2024-08-01T11:38:24.213" v="5"/>
          <ac:spMkLst>
            <pc:docMk/>
            <pc:sldMk cId="1550940615" sldId="257"/>
            <ac:spMk id="14" creationId="{4D281BFD-7408-D959-C798-10B9D6ADD00A}"/>
          </ac:spMkLst>
        </pc:spChg>
        <pc:spChg chg="add del mod">
          <ac:chgData name="Mahesh Karigoudar" userId="aee392fe-d52f-479c-9f96-f04d75de2987" providerId="ADAL" clId="{B7BB60FE-A10A-46F6-9623-5355C9C8D8D6}" dt="2024-08-01T11:38:24.213" v="5"/>
          <ac:spMkLst>
            <pc:docMk/>
            <pc:sldMk cId="1550940615" sldId="257"/>
            <ac:spMk id="18" creationId="{61C373B6-93E5-C53B-035A-392CA1AD26A6}"/>
          </ac:spMkLst>
        </pc:spChg>
        <pc:spChg chg="add del mod">
          <ac:chgData name="Mahesh Karigoudar" userId="aee392fe-d52f-479c-9f96-f04d75de2987" providerId="ADAL" clId="{B7BB60FE-A10A-46F6-9623-5355C9C8D8D6}" dt="2024-08-01T11:38:24.213" v="5"/>
          <ac:spMkLst>
            <pc:docMk/>
            <pc:sldMk cId="1550940615" sldId="257"/>
            <ac:spMk id="22" creationId="{7D31DAEF-5403-07E3-1DC9-E29C08EC773F}"/>
          </ac:spMkLst>
        </pc:spChg>
        <pc:spChg chg="add del mod">
          <ac:chgData name="Mahesh Karigoudar" userId="aee392fe-d52f-479c-9f96-f04d75de2987" providerId="ADAL" clId="{B7BB60FE-A10A-46F6-9623-5355C9C8D8D6}" dt="2024-08-01T11:38:24.213" v="5"/>
          <ac:spMkLst>
            <pc:docMk/>
            <pc:sldMk cId="1550940615" sldId="257"/>
            <ac:spMk id="24" creationId="{E790211E-02F8-997D-0BF4-926CCD940790}"/>
          </ac:spMkLst>
        </pc:spChg>
        <pc:spChg chg="add del mod">
          <ac:chgData name="Mahesh Karigoudar" userId="aee392fe-d52f-479c-9f96-f04d75de2987" providerId="ADAL" clId="{B7BB60FE-A10A-46F6-9623-5355C9C8D8D6}" dt="2024-08-01T11:38:24.213" v="5"/>
          <ac:spMkLst>
            <pc:docMk/>
            <pc:sldMk cId="1550940615" sldId="257"/>
            <ac:spMk id="25" creationId="{2C920952-0A33-820D-FB63-397A60497EFE}"/>
          </ac:spMkLst>
        </pc:spChg>
        <pc:spChg chg="add del mod">
          <ac:chgData name="Mahesh Karigoudar" userId="aee392fe-d52f-479c-9f96-f04d75de2987" providerId="ADAL" clId="{B7BB60FE-A10A-46F6-9623-5355C9C8D8D6}" dt="2024-08-01T11:38:24.213" v="5"/>
          <ac:spMkLst>
            <pc:docMk/>
            <pc:sldMk cId="1550940615" sldId="257"/>
            <ac:spMk id="30" creationId="{E29A704D-928E-5DBD-C509-460AC84C7E2C}"/>
          </ac:spMkLst>
        </pc:spChg>
        <pc:spChg chg="add del mod">
          <ac:chgData name="Mahesh Karigoudar" userId="aee392fe-d52f-479c-9f96-f04d75de2987" providerId="ADAL" clId="{B7BB60FE-A10A-46F6-9623-5355C9C8D8D6}" dt="2024-08-01T11:38:24.213" v="5"/>
          <ac:spMkLst>
            <pc:docMk/>
            <pc:sldMk cId="1550940615" sldId="257"/>
            <ac:spMk id="32" creationId="{4C9C7AD1-2577-D678-5978-FA570688CEAD}"/>
          </ac:spMkLst>
        </pc:spChg>
        <pc:spChg chg="add del mod">
          <ac:chgData name="Mahesh Karigoudar" userId="aee392fe-d52f-479c-9f96-f04d75de2987" providerId="ADAL" clId="{B7BB60FE-A10A-46F6-9623-5355C9C8D8D6}" dt="2024-08-01T11:38:24.213" v="5"/>
          <ac:spMkLst>
            <pc:docMk/>
            <pc:sldMk cId="1550940615" sldId="257"/>
            <ac:spMk id="33" creationId="{FA30457C-4275-3821-463C-56714C317127}"/>
          </ac:spMkLst>
        </pc:spChg>
        <pc:spChg chg="add del mod">
          <ac:chgData name="Mahesh Karigoudar" userId="aee392fe-d52f-479c-9f96-f04d75de2987" providerId="ADAL" clId="{B7BB60FE-A10A-46F6-9623-5355C9C8D8D6}" dt="2024-08-01T11:38:24.213" v="5"/>
          <ac:spMkLst>
            <pc:docMk/>
            <pc:sldMk cId="1550940615" sldId="257"/>
            <ac:spMk id="36" creationId="{B385B101-92D6-E576-65BE-34FDBF9ED800}"/>
          </ac:spMkLst>
        </pc:spChg>
        <pc:spChg chg="add del mod">
          <ac:chgData name="Mahesh Karigoudar" userId="aee392fe-d52f-479c-9f96-f04d75de2987" providerId="ADAL" clId="{B7BB60FE-A10A-46F6-9623-5355C9C8D8D6}" dt="2024-08-01T11:38:24.213" v="5"/>
          <ac:spMkLst>
            <pc:docMk/>
            <pc:sldMk cId="1550940615" sldId="257"/>
            <ac:spMk id="37" creationId="{18D45CDD-4E8F-D321-3974-654BA60BA0B8}"/>
          </ac:spMkLst>
        </pc:spChg>
        <pc:spChg chg="add del mod">
          <ac:chgData name="Mahesh Karigoudar" userId="aee392fe-d52f-479c-9f96-f04d75de2987" providerId="ADAL" clId="{B7BB60FE-A10A-46F6-9623-5355C9C8D8D6}" dt="2024-08-01T11:38:24.213" v="5"/>
          <ac:spMkLst>
            <pc:docMk/>
            <pc:sldMk cId="1550940615" sldId="257"/>
            <ac:spMk id="38" creationId="{15FF425D-EA91-B9FD-2B2A-4CCECD594701}"/>
          </ac:spMkLst>
        </pc:spChg>
        <pc:spChg chg="add del mod">
          <ac:chgData name="Mahesh Karigoudar" userId="aee392fe-d52f-479c-9f96-f04d75de2987" providerId="ADAL" clId="{B7BB60FE-A10A-46F6-9623-5355C9C8D8D6}" dt="2024-08-01T11:38:24.213" v="5"/>
          <ac:spMkLst>
            <pc:docMk/>
            <pc:sldMk cId="1550940615" sldId="257"/>
            <ac:spMk id="39" creationId="{2EB9AC4F-2F23-5D81-6E32-2F86DC8CBFD1}"/>
          </ac:spMkLst>
        </pc:spChg>
        <pc:spChg chg="add del mod">
          <ac:chgData name="Mahesh Karigoudar" userId="aee392fe-d52f-479c-9f96-f04d75de2987" providerId="ADAL" clId="{B7BB60FE-A10A-46F6-9623-5355C9C8D8D6}" dt="2024-08-01T11:38:24.213" v="5"/>
          <ac:spMkLst>
            <pc:docMk/>
            <pc:sldMk cId="1550940615" sldId="257"/>
            <ac:spMk id="40" creationId="{D7E8DA8E-B968-84D1-18C1-7EFA961940A7}"/>
          </ac:spMkLst>
        </pc:spChg>
        <pc:spChg chg="add del mod">
          <ac:chgData name="Mahesh Karigoudar" userId="aee392fe-d52f-479c-9f96-f04d75de2987" providerId="ADAL" clId="{B7BB60FE-A10A-46F6-9623-5355C9C8D8D6}" dt="2024-08-01T11:38:24.213" v="5"/>
          <ac:spMkLst>
            <pc:docMk/>
            <pc:sldMk cId="1550940615" sldId="257"/>
            <ac:spMk id="41" creationId="{055EAACB-299B-9299-84A7-AED57C1928B7}"/>
          </ac:spMkLst>
        </pc:spChg>
        <pc:spChg chg="add del mod">
          <ac:chgData name="Mahesh Karigoudar" userId="aee392fe-d52f-479c-9f96-f04d75de2987" providerId="ADAL" clId="{B7BB60FE-A10A-46F6-9623-5355C9C8D8D6}" dt="2024-08-01T11:38:24.213" v="5"/>
          <ac:spMkLst>
            <pc:docMk/>
            <pc:sldMk cId="1550940615" sldId="257"/>
            <ac:spMk id="42" creationId="{4FC9FA9B-2FBB-0071-2A9D-2B7450ABAE43}"/>
          </ac:spMkLst>
        </pc:spChg>
        <pc:spChg chg="add del mod">
          <ac:chgData name="Mahesh Karigoudar" userId="aee392fe-d52f-479c-9f96-f04d75de2987" providerId="ADAL" clId="{B7BB60FE-A10A-46F6-9623-5355C9C8D8D6}" dt="2024-08-01T11:38:24.213" v="5"/>
          <ac:spMkLst>
            <pc:docMk/>
            <pc:sldMk cId="1550940615" sldId="257"/>
            <ac:spMk id="43" creationId="{6EBCA7C9-E28A-1CB1-1965-ADA1263A98E3}"/>
          </ac:spMkLst>
        </pc:spChg>
        <pc:spChg chg="add del mod">
          <ac:chgData name="Mahesh Karigoudar" userId="aee392fe-d52f-479c-9f96-f04d75de2987" providerId="ADAL" clId="{B7BB60FE-A10A-46F6-9623-5355C9C8D8D6}" dt="2024-08-01T11:38:24.213" v="5"/>
          <ac:spMkLst>
            <pc:docMk/>
            <pc:sldMk cId="1550940615" sldId="257"/>
            <ac:spMk id="44" creationId="{B92FE9CA-F461-A60E-7697-13E625C2EACB}"/>
          </ac:spMkLst>
        </pc:spChg>
        <pc:spChg chg="add del mod">
          <ac:chgData name="Mahesh Karigoudar" userId="aee392fe-d52f-479c-9f96-f04d75de2987" providerId="ADAL" clId="{B7BB60FE-A10A-46F6-9623-5355C9C8D8D6}" dt="2024-08-01T11:38:24.213" v="5"/>
          <ac:spMkLst>
            <pc:docMk/>
            <pc:sldMk cId="1550940615" sldId="257"/>
            <ac:spMk id="45" creationId="{F2880857-5FAD-633E-49E6-69145BBA0726}"/>
          </ac:spMkLst>
        </pc:spChg>
        <pc:spChg chg="add del mod">
          <ac:chgData name="Mahesh Karigoudar" userId="aee392fe-d52f-479c-9f96-f04d75de2987" providerId="ADAL" clId="{B7BB60FE-A10A-46F6-9623-5355C9C8D8D6}" dt="2024-08-01T11:38:24.213" v="5"/>
          <ac:spMkLst>
            <pc:docMk/>
            <pc:sldMk cId="1550940615" sldId="257"/>
            <ac:spMk id="47" creationId="{3FD4FE58-AC29-FCEF-1AF3-33FB53FB776A}"/>
          </ac:spMkLst>
        </pc:spChg>
        <pc:spChg chg="add del mod">
          <ac:chgData name="Mahesh Karigoudar" userId="aee392fe-d52f-479c-9f96-f04d75de2987" providerId="ADAL" clId="{B7BB60FE-A10A-46F6-9623-5355C9C8D8D6}" dt="2024-08-01T11:38:24.213" v="5"/>
          <ac:spMkLst>
            <pc:docMk/>
            <pc:sldMk cId="1550940615" sldId="257"/>
            <ac:spMk id="48" creationId="{C6248303-2D54-61B1-D46E-F113414E1EE7}"/>
          </ac:spMkLst>
        </pc:spChg>
        <pc:spChg chg="add del mod">
          <ac:chgData name="Mahesh Karigoudar" userId="aee392fe-d52f-479c-9f96-f04d75de2987" providerId="ADAL" clId="{B7BB60FE-A10A-46F6-9623-5355C9C8D8D6}" dt="2024-08-01T11:38:24.213" v="5"/>
          <ac:spMkLst>
            <pc:docMk/>
            <pc:sldMk cId="1550940615" sldId="257"/>
            <ac:spMk id="49" creationId="{D3806CC4-721F-E379-87D5-A46CCEE7A258}"/>
          </ac:spMkLst>
        </pc:spChg>
        <pc:spChg chg="add del mod">
          <ac:chgData name="Mahesh Karigoudar" userId="aee392fe-d52f-479c-9f96-f04d75de2987" providerId="ADAL" clId="{B7BB60FE-A10A-46F6-9623-5355C9C8D8D6}" dt="2024-08-01T11:38:24.213" v="5"/>
          <ac:spMkLst>
            <pc:docMk/>
            <pc:sldMk cId="1550940615" sldId="257"/>
            <ac:spMk id="50" creationId="{70E5A53D-099E-E495-14BD-97389E7AF1E0}"/>
          </ac:spMkLst>
        </pc:spChg>
        <pc:spChg chg="add del mod">
          <ac:chgData name="Mahesh Karigoudar" userId="aee392fe-d52f-479c-9f96-f04d75de2987" providerId="ADAL" clId="{B7BB60FE-A10A-46F6-9623-5355C9C8D8D6}" dt="2024-08-01T11:38:24.213" v="5"/>
          <ac:spMkLst>
            <pc:docMk/>
            <pc:sldMk cId="1550940615" sldId="257"/>
            <ac:spMk id="51" creationId="{CA947CAA-0E18-32EF-9FAF-B3C85424C453}"/>
          </ac:spMkLst>
        </pc:spChg>
        <pc:spChg chg="add del mod">
          <ac:chgData name="Mahesh Karigoudar" userId="aee392fe-d52f-479c-9f96-f04d75de2987" providerId="ADAL" clId="{B7BB60FE-A10A-46F6-9623-5355C9C8D8D6}" dt="2024-08-01T11:38:24.213" v="5"/>
          <ac:spMkLst>
            <pc:docMk/>
            <pc:sldMk cId="1550940615" sldId="257"/>
            <ac:spMk id="52" creationId="{61D44EAA-A360-A5F2-16C8-9745EC81890E}"/>
          </ac:spMkLst>
        </pc:spChg>
        <pc:spChg chg="add del mod">
          <ac:chgData name="Mahesh Karigoudar" userId="aee392fe-d52f-479c-9f96-f04d75de2987" providerId="ADAL" clId="{B7BB60FE-A10A-46F6-9623-5355C9C8D8D6}" dt="2024-08-01T11:38:24.213" v="5"/>
          <ac:spMkLst>
            <pc:docMk/>
            <pc:sldMk cId="1550940615" sldId="257"/>
            <ac:spMk id="55" creationId="{9724B82B-0634-46F9-3B52-A3DE77F690CB}"/>
          </ac:spMkLst>
        </pc:spChg>
        <pc:spChg chg="add del mod">
          <ac:chgData name="Mahesh Karigoudar" userId="aee392fe-d52f-479c-9f96-f04d75de2987" providerId="ADAL" clId="{B7BB60FE-A10A-46F6-9623-5355C9C8D8D6}" dt="2024-08-01T11:38:24.213" v="5"/>
          <ac:spMkLst>
            <pc:docMk/>
            <pc:sldMk cId="1550940615" sldId="257"/>
            <ac:spMk id="56" creationId="{AFBDCDEB-2E5A-0DBC-B0AA-CEF2EE2A1493}"/>
          </ac:spMkLst>
        </pc:spChg>
        <pc:spChg chg="add del mod">
          <ac:chgData name="Mahesh Karigoudar" userId="aee392fe-d52f-479c-9f96-f04d75de2987" providerId="ADAL" clId="{B7BB60FE-A10A-46F6-9623-5355C9C8D8D6}" dt="2024-08-01T11:38:24.213" v="5"/>
          <ac:spMkLst>
            <pc:docMk/>
            <pc:sldMk cId="1550940615" sldId="257"/>
            <ac:spMk id="57" creationId="{F8BB7EB2-F031-396A-9FB1-71239088429D}"/>
          </ac:spMkLst>
        </pc:spChg>
        <pc:spChg chg="add del mod">
          <ac:chgData name="Mahesh Karigoudar" userId="aee392fe-d52f-479c-9f96-f04d75de2987" providerId="ADAL" clId="{B7BB60FE-A10A-46F6-9623-5355C9C8D8D6}" dt="2024-08-01T11:38:24.213" v="5"/>
          <ac:spMkLst>
            <pc:docMk/>
            <pc:sldMk cId="1550940615" sldId="257"/>
            <ac:spMk id="58" creationId="{33E5763F-BA80-19E3-D2AF-88F430DC6209}"/>
          </ac:spMkLst>
        </pc:spChg>
        <pc:spChg chg="add del mod">
          <ac:chgData name="Mahesh Karigoudar" userId="aee392fe-d52f-479c-9f96-f04d75de2987" providerId="ADAL" clId="{B7BB60FE-A10A-46F6-9623-5355C9C8D8D6}" dt="2024-08-01T11:38:24.213" v="5"/>
          <ac:spMkLst>
            <pc:docMk/>
            <pc:sldMk cId="1550940615" sldId="257"/>
            <ac:spMk id="59" creationId="{AD7934B1-0D19-8587-262D-D04B32E0E3D3}"/>
          </ac:spMkLst>
        </pc:spChg>
        <pc:spChg chg="add del mod">
          <ac:chgData name="Mahesh Karigoudar" userId="aee392fe-d52f-479c-9f96-f04d75de2987" providerId="ADAL" clId="{B7BB60FE-A10A-46F6-9623-5355C9C8D8D6}" dt="2024-08-01T11:38:24.213" v="5"/>
          <ac:spMkLst>
            <pc:docMk/>
            <pc:sldMk cId="1550940615" sldId="257"/>
            <ac:spMk id="60" creationId="{66EFADA9-E1ED-0013-33AC-89B713940CF2}"/>
          </ac:spMkLst>
        </pc:spChg>
        <pc:spChg chg="add del mod">
          <ac:chgData name="Mahesh Karigoudar" userId="aee392fe-d52f-479c-9f96-f04d75de2987" providerId="ADAL" clId="{B7BB60FE-A10A-46F6-9623-5355C9C8D8D6}" dt="2024-08-01T11:38:24.213" v="5"/>
          <ac:spMkLst>
            <pc:docMk/>
            <pc:sldMk cId="1550940615" sldId="257"/>
            <ac:spMk id="61" creationId="{C71F9C82-22BB-E6A8-085D-BA602958206C}"/>
          </ac:spMkLst>
        </pc:spChg>
        <pc:spChg chg="add del mod">
          <ac:chgData name="Mahesh Karigoudar" userId="aee392fe-d52f-479c-9f96-f04d75de2987" providerId="ADAL" clId="{B7BB60FE-A10A-46F6-9623-5355C9C8D8D6}" dt="2024-08-01T11:38:24.213" v="5"/>
          <ac:spMkLst>
            <pc:docMk/>
            <pc:sldMk cId="1550940615" sldId="257"/>
            <ac:spMk id="63" creationId="{C68AD536-B2E9-6145-7D4A-C7D71C390EAD}"/>
          </ac:spMkLst>
        </pc:spChg>
        <pc:spChg chg="add del mod">
          <ac:chgData name="Mahesh Karigoudar" userId="aee392fe-d52f-479c-9f96-f04d75de2987" providerId="ADAL" clId="{B7BB60FE-A10A-46F6-9623-5355C9C8D8D6}" dt="2024-08-01T11:38:24.213" v="5"/>
          <ac:spMkLst>
            <pc:docMk/>
            <pc:sldMk cId="1550940615" sldId="257"/>
            <ac:spMk id="66" creationId="{D8D03E5E-3068-C476-D273-779E1E4ED616}"/>
          </ac:spMkLst>
        </pc:spChg>
        <pc:spChg chg="add del mod">
          <ac:chgData name="Mahesh Karigoudar" userId="aee392fe-d52f-479c-9f96-f04d75de2987" providerId="ADAL" clId="{B7BB60FE-A10A-46F6-9623-5355C9C8D8D6}" dt="2024-08-01T11:38:24.213" v="5"/>
          <ac:spMkLst>
            <pc:docMk/>
            <pc:sldMk cId="1550940615" sldId="257"/>
            <ac:spMk id="68" creationId="{BB2412B1-E2C3-08E7-AB1E-7128C8EE67C5}"/>
          </ac:spMkLst>
        </pc:spChg>
        <pc:picChg chg="add del mod">
          <ac:chgData name="Mahesh Karigoudar" userId="aee392fe-d52f-479c-9f96-f04d75de2987" providerId="ADAL" clId="{B7BB60FE-A10A-46F6-9623-5355C9C8D8D6}" dt="2024-08-01T11:38:24.213" v="5"/>
          <ac:picMkLst>
            <pc:docMk/>
            <pc:sldMk cId="1550940615" sldId="257"/>
            <ac:picMk id="6" creationId="{61ED8342-D857-B977-90AF-AD953D5759DA}"/>
          </ac:picMkLst>
        </pc:picChg>
        <pc:picChg chg="add del mod">
          <ac:chgData name="Mahesh Karigoudar" userId="aee392fe-d52f-479c-9f96-f04d75de2987" providerId="ADAL" clId="{B7BB60FE-A10A-46F6-9623-5355C9C8D8D6}" dt="2024-08-01T11:38:24.213" v="5"/>
          <ac:picMkLst>
            <pc:docMk/>
            <pc:sldMk cId="1550940615" sldId="257"/>
            <ac:picMk id="10" creationId="{48B9FD6C-CDFB-6D71-1927-45DE0E2A43C3}"/>
          </ac:picMkLst>
        </pc:picChg>
        <pc:picChg chg="add del mod">
          <ac:chgData name="Mahesh Karigoudar" userId="aee392fe-d52f-479c-9f96-f04d75de2987" providerId="ADAL" clId="{B7BB60FE-A10A-46F6-9623-5355C9C8D8D6}" dt="2024-08-01T11:38:24.213" v="5"/>
          <ac:picMkLst>
            <pc:docMk/>
            <pc:sldMk cId="1550940615" sldId="257"/>
            <ac:picMk id="13" creationId="{9FC2E2AB-6756-9BF6-08DC-DA9EA69B035B}"/>
          </ac:picMkLst>
        </pc:picChg>
        <pc:picChg chg="add del mod">
          <ac:chgData name="Mahesh Karigoudar" userId="aee392fe-d52f-479c-9f96-f04d75de2987" providerId="ADAL" clId="{B7BB60FE-A10A-46F6-9623-5355C9C8D8D6}" dt="2024-08-01T11:38:24.213" v="5"/>
          <ac:picMkLst>
            <pc:docMk/>
            <pc:sldMk cId="1550940615" sldId="257"/>
            <ac:picMk id="15" creationId="{C5F02D43-A337-8879-2C39-ADFA793CC3F7}"/>
          </ac:picMkLst>
        </pc:picChg>
        <pc:picChg chg="add del mod">
          <ac:chgData name="Mahesh Karigoudar" userId="aee392fe-d52f-479c-9f96-f04d75de2987" providerId="ADAL" clId="{B7BB60FE-A10A-46F6-9623-5355C9C8D8D6}" dt="2024-08-01T11:38:24.213" v="5"/>
          <ac:picMkLst>
            <pc:docMk/>
            <pc:sldMk cId="1550940615" sldId="257"/>
            <ac:picMk id="19" creationId="{0EA13BE1-B096-9D3D-6728-BC48EA1FCFFA}"/>
          </ac:picMkLst>
        </pc:picChg>
        <pc:picChg chg="add del mod">
          <ac:chgData name="Mahesh Karigoudar" userId="aee392fe-d52f-479c-9f96-f04d75de2987" providerId="ADAL" clId="{B7BB60FE-A10A-46F6-9623-5355C9C8D8D6}" dt="2024-08-01T11:38:24.213" v="5"/>
          <ac:picMkLst>
            <pc:docMk/>
            <pc:sldMk cId="1550940615" sldId="257"/>
            <ac:picMk id="26" creationId="{A79A33D3-AD0E-4444-FC26-33BC170E6556}"/>
          </ac:picMkLst>
        </pc:picChg>
        <pc:picChg chg="add del mod">
          <ac:chgData name="Mahesh Karigoudar" userId="aee392fe-d52f-479c-9f96-f04d75de2987" providerId="ADAL" clId="{B7BB60FE-A10A-46F6-9623-5355C9C8D8D6}" dt="2024-08-01T11:38:24.213" v="5"/>
          <ac:picMkLst>
            <pc:docMk/>
            <pc:sldMk cId="1550940615" sldId="257"/>
            <ac:picMk id="54" creationId="{E7C44EFA-8163-6C16-6E16-C193622D6D36}"/>
          </ac:picMkLst>
        </pc:picChg>
        <pc:cxnChg chg="add del mod">
          <ac:chgData name="Mahesh Karigoudar" userId="aee392fe-d52f-479c-9f96-f04d75de2987" providerId="ADAL" clId="{B7BB60FE-A10A-46F6-9623-5355C9C8D8D6}" dt="2024-08-01T11:38:24.213" v="5"/>
          <ac:cxnSpMkLst>
            <pc:docMk/>
            <pc:sldMk cId="1550940615" sldId="257"/>
            <ac:cxnSpMk id="16" creationId="{8403CB86-1A3F-1E12-6A19-59660C575600}"/>
          </ac:cxnSpMkLst>
        </pc:cxnChg>
        <pc:cxnChg chg="add del mod">
          <ac:chgData name="Mahesh Karigoudar" userId="aee392fe-d52f-479c-9f96-f04d75de2987" providerId="ADAL" clId="{B7BB60FE-A10A-46F6-9623-5355C9C8D8D6}" dt="2024-08-01T11:38:24.213" v="5"/>
          <ac:cxnSpMkLst>
            <pc:docMk/>
            <pc:sldMk cId="1550940615" sldId="257"/>
            <ac:cxnSpMk id="17" creationId="{106CF412-5EA8-80A1-9815-4E665B9DB44A}"/>
          </ac:cxnSpMkLst>
        </pc:cxnChg>
        <pc:cxnChg chg="add del mod">
          <ac:chgData name="Mahesh Karigoudar" userId="aee392fe-d52f-479c-9f96-f04d75de2987" providerId="ADAL" clId="{B7BB60FE-A10A-46F6-9623-5355C9C8D8D6}" dt="2024-08-01T11:38:24.213" v="5"/>
          <ac:cxnSpMkLst>
            <pc:docMk/>
            <pc:sldMk cId="1550940615" sldId="257"/>
            <ac:cxnSpMk id="20" creationId="{FFB775CF-7FB9-6596-C1DD-A4777C024A7B}"/>
          </ac:cxnSpMkLst>
        </pc:cxnChg>
        <pc:cxnChg chg="add del mod">
          <ac:chgData name="Mahesh Karigoudar" userId="aee392fe-d52f-479c-9f96-f04d75de2987" providerId="ADAL" clId="{B7BB60FE-A10A-46F6-9623-5355C9C8D8D6}" dt="2024-08-01T11:38:24.213" v="5"/>
          <ac:cxnSpMkLst>
            <pc:docMk/>
            <pc:sldMk cId="1550940615" sldId="257"/>
            <ac:cxnSpMk id="21" creationId="{1AA57D48-8036-1781-3F6C-B0160E51CD31}"/>
          </ac:cxnSpMkLst>
        </pc:cxnChg>
        <pc:cxnChg chg="add del mod">
          <ac:chgData name="Mahesh Karigoudar" userId="aee392fe-d52f-479c-9f96-f04d75de2987" providerId="ADAL" clId="{B7BB60FE-A10A-46F6-9623-5355C9C8D8D6}" dt="2024-08-01T11:38:24.213" v="5"/>
          <ac:cxnSpMkLst>
            <pc:docMk/>
            <pc:sldMk cId="1550940615" sldId="257"/>
            <ac:cxnSpMk id="23" creationId="{444BE599-7BF2-8DCA-8B05-144C06E92F66}"/>
          </ac:cxnSpMkLst>
        </pc:cxnChg>
        <pc:cxnChg chg="add del mod">
          <ac:chgData name="Mahesh Karigoudar" userId="aee392fe-d52f-479c-9f96-f04d75de2987" providerId="ADAL" clId="{B7BB60FE-A10A-46F6-9623-5355C9C8D8D6}" dt="2024-08-01T11:38:24.213" v="5"/>
          <ac:cxnSpMkLst>
            <pc:docMk/>
            <pc:sldMk cId="1550940615" sldId="257"/>
            <ac:cxnSpMk id="27" creationId="{B246C6BA-F884-45FE-408C-84E00E6F2DA6}"/>
          </ac:cxnSpMkLst>
        </pc:cxnChg>
        <pc:cxnChg chg="add del mod">
          <ac:chgData name="Mahesh Karigoudar" userId="aee392fe-d52f-479c-9f96-f04d75de2987" providerId="ADAL" clId="{B7BB60FE-A10A-46F6-9623-5355C9C8D8D6}" dt="2024-08-01T11:38:24.213" v="5"/>
          <ac:cxnSpMkLst>
            <pc:docMk/>
            <pc:sldMk cId="1550940615" sldId="257"/>
            <ac:cxnSpMk id="28" creationId="{E6923FBF-96F0-97ED-EF8B-5E1BF1345CEF}"/>
          </ac:cxnSpMkLst>
        </pc:cxnChg>
        <pc:cxnChg chg="add del mod">
          <ac:chgData name="Mahesh Karigoudar" userId="aee392fe-d52f-479c-9f96-f04d75de2987" providerId="ADAL" clId="{B7BB60FE-A10A-46F6-9623-5355C9C8D8D6}" dt="2024-08-01T11:38:24.213" v="5"/>
          <ac:cxnSpMkLst>
            <pc:docMk/>
            <pc:sldMk cId="1550940615" sldId="257"/>
            <ac:cxnSpMk id="29" creationId="{11D7B370-0A08-947E-550D-0C8841E4AE29}"/>
          </ac:cxnSpMkLst>
        </pc:cxnChg>
        <pc:cxnChg chg="add del mod">
          <ac:chgData name="Mahesh Karigoudar" userId="aee392fe-d52f-479c-9f96-f04d75de2987" providerId="ADAL" clId="{B7BB60FE-A10A-46F6-9623-5355C9C8D8D6}" dt="2024-08-01T11:38:24.213" v="5"/>
          <ac:cxnSpMkLst>
            <pc:docMk/>
            <pc:sldMk cId="1550940615" sldId="257"/>
            <ac:cxnSpMk id="31" creationId="{A7FDE147-0647-F6EB-0D80-C0DB724C84BD}"/>
          </ac:cxnSpMkLst>
        </pc:cxnChg>
        <pc:cxnChg chg="add del mod">
          <ac:chgData name="Mahesh Karigoudar" userId="aee392fe-d52f-479c-9f96-f04d75de2987" providerId="ADAL" clId="{B7BB60FE-A10A-46F6-9623-5355C9C8D8D6}" dt="2024-08-01T11:38:24.213" v="5"/>
          <ac:cxnSpMkLst>
            <pc:docMk/>
            <pc:sldMk cId="1550940615" sldId="257"/>
            <ac:cxnSpMk id="34" creationId="{D0027EE2-B55B-AD56-E08C-09F54AE131D5}"/>
          </ac:cxnSpMkLst>
        </pc:cxnChg>
        <pc:cxnChg chg="add del mod">
          <ac:chgData name="Mahesh Karigoudar" userId="aee392fe-d52f-479c-9f96-f04d75de2987" providerId="ADAL" clId="{B7BB60FE-A10A-46F6-9623-5355C9C8D8D6}" dt="2024-08-01T11:38:24.213" v="5"/>
          <ac:cxnSpMkLst>
            <pc:docMk/>
            <pc:sldMk cId="1550940615" sldId="257"/>
            <ac:cxnSpMk id="35" creationId="{469EE940-37B6-4D4E-B949-7E56DBFC38AB}"/>
          </ac:cxnSpMkLst>
        </pc:cxnChg>
        <pc:cxnChg chg="add del mod">
          <ac:chgData name="Mahesh Karigoudar" userId="aee392fe-d52f-479c-9f96-f04d75de2987" providerId="ADAL" clId="{B7BB60FE-A10A-46F6-9623-5355C9C8D8D6}" dt="2024-08-01T11:38:24.213" v="5"/>
          <ac:cxnSpMkLst>
            <pc:docMk/>
            <pc:sldMk cId="1550940615" sldId="257"/>
            <ac:cxnSpMk id="46" creationId="{4C8DF5CD-7C91-EA1A-1A9E-AE86225832DD}"/>
          </ac:cxnSpMkLst>
        </pc:cxnChg>
        <pc:cxnChg chg="add del mod">
          <ac:chgData name="Mahesh Karigoudar" userId="aee392fe-d52f-479c-9f96-f04d75de2987" providerId="ADAL" clId="{B7BB60FE-A10A-46F6-9623-5355C9C8D8D6}" dt="2024-08-01T11:38:24.213" v="5"/>
          <ac:cxnSpMkLst>
            <pc:docMk/>
            <pc:sldMk cId="1550940615" sldId="257"/>
            <ac:cxnSpMk id="53" creationId="{A7C3830D-4C27-953E-31BF-68C24C50C3E6}"/>
          </ac:cxnSpMkLst>
        </pc:cxnChg>
        <pc:cxnChg chg="add del mod">
          <ac:chgData name="Mahesh Karigoudar" userId="aee392fe-d52f-479c-9f96-f04d75de2987" providerId="ADAL" clId="{B7BB60FE-A10A-46F6-9623-5355C9C8D8D6}" dt="2024-08-01T11:38:24.213" v="5"/>
          <ac:cxnSpMkLst>
            <pc:docMk/>
            <pc:sldMk cId="1550940615" sldId="257"/>
            <ac:cxnSpMk id="62" creationId="{56F963D8-A0A5-626E-5A4D-902ABEB48310}"/>
          </ac:cxnSpMkLst>
        </pc:cxnChg>
        <pc:cxnChg chg="add del mod">
          <ac:chgData name="Mahesh Karigoudar" userId="aee392fe-d52f-479c-9f96-f04d75de2987" providerId="ADAL" clId="{B7BB60FE-A10A-46F6-9623-5355C9C8D8D6}" dt="2024-08-01T11:38:24.213" v="5"/>
          <ac:cxnSpMkLst>
            <pc:docMk/>
            <pc:sldMk cId="1550940615" sldId="257"/>
            <ac:cxnSpMk id="64" creationId="{236986B3-F5B7-CCFE-13ED-CA85CC648915}"/>
          </ac:cxnSpMkLst>
        </pc:cxnChg>
        <pc:cxnChg chg="add del mod">
          <ac:chgData name="Mahesh Karigoudar" userId="aee392fe-d52f-479c-9f96-f04d75de2987" providerId="ADAL" clId="{B7BB60FE-A10A-46F6-9623-5355C9C8D8D6}" dt="2024-08-01T11:38:24.213" v="5"/>
          <ac:cxnSpMkLst>
            <pc:docMk/>
            <pc:sldMk cId="1550940615" sldId="257"/>
            <ac:cxnSpMk id="65" creationId="{F6FB636F-65EC-F657-D54B-D7A732789C0B}"/>
          </ac:cxnSpMkLst>
        </pc:cxnChg>
        <pc:cxnChg chg="add del mod">
          <ac:chgData name="Mahesh Karigoudar" userId="aee392fe-d52f-479c-9f96-f04d75de2987" providerId="ADAL" clId="{B7BB60FE-A10A-46F6-9623-5355C9C8D8D6}" dt="2024-08-01T11:38:24.213" v="5"/>
          <ac:cxnSpMkLst>
            <pc:docMk/>
            <pc:sldMk cId="1550940615" sldId="257"/>
            <ac:cxnSpMk id="67" creationId="{DB0947F8-83F0-CAD4-11F1-0ADE24194AB1}"/>
          </ac:cxnSpMkLst>
        </pc:cxnChg>
      </pc:sldChg>
      <pc:sldChg chg="addSp delSp modSp add del mod">
        <pc:chgData name="Mahesh Karigoudar" userId="aee392fe-d52f-479c-9f96-f04d75de2987" providerId="ADAL" clId="{B7BB60FE-A10A-46F6-9623-5355C9C8D8D6}" dt="2024-08-02T06:41:55.592" v="154"/>
        <pc:sldMkLst>
          <pc:docMk/>
          <pc:sldMk cId="1882398645" sldId="262"/>
        </pc:sldMkLst>
        <pc:spChg chg="mod">
          <ac:chgData name="Mahesh Karigoudar" userId="aee392fe-d52f-479c-9f96-f04d75de2987" providerId="ADAL" clId="{B7BB60FE-A10A-46F6-9623-5355C9C8D8D6}" dt="2024-08-01T12:45:29.748" v="144" actId="1076"/>
          <ac:spMkLst>
            <pc:docMk/>
            <pc:sldMk cId="1882398645" sldId="262"/>
            <ac:spMk id="16" creationId="{89CEE07A-7E85-4D2C-BC9F-C55A83E1D005}"/>
          </ac:spMkLst>
        </pc:spChg>
        <pc:spChg chg="mod">
          <ac:chgData name="Mahesh Karigoudar" userId="aee392fe-d52f-479c-9f96-f04d75de2987" providerId="ADAL" clId="{B7BB60FE-A10A-46F6-9623-5355C9C8D8D6}" dt="2024-08-01T12:19:49.822" v="13" actId="1076"/>
          <ac:spMkLst>
            <pc:docMk/>
            <pc:sldMk cId="1882398645" sldId="262"/>
            <ac:spMk id="81" creationId="{30F8B636-6B95-473F-A7C9-4297D4F94FC4}"/>
          </ac:spMkLst>
        </pc:spChg>
        <pc:spChg chg="mod">
          <ac:chgData name="Mahesh Karigoudar" userId="aee392fe-d52f-479c-9f96-f04d75de2987" providerId="ADAL" clId="{B7BB60FE-A10A-46F6-9623-5355C9C8D8D6}" dt="2024-08-01T12:26:45.367" v="64" actId="14100"/>
          <ac:spMkLst>
            <pc:docMk/>
            <pc:sldMk cId="1882398645" sldId="262"/>
            <ac:spMk id="88" creationId="{70AB8F09-0246-45D7-A196-B6A632852015}"/>
          </ac:spMkLst>
        </pc:spChg>
        <pc:spChg chg="mod">
          <ac:chgData name="Mahesh Karigoudar" userId="aee392fe-d52f-479c-9f96-f04d75de2987" providerId="ADAL" clId="{B7BB60FE-A10A-46F6-9623-5355C9C8D8D6}" dt="2024-08-02T06:41:54.121" v="153"/>
          <ac:spMkLst>
            <pc:docMk/>
            <pc:sldMk cId="1882398645" sldId="262"/>
            <ac:spMk id="93" creationId="{C79E453A-577D-A76A-6B73-7E7C0E6EAC89}"/>
          </ac:spMkLst>
        </pc:spChg>
        <pc:spChg chg="mod">
          <ac:chgData name="Mahesh Karigoudar" userId="aee392fe-d52f-479c-9f96-f04d75de2987" providerId="ADAL" clId="{B7BB60FE-A10A-46F6-9623-5355C9C8D8D6}" dt="2024-08-01T12:40:02.376" v="112" actId="1076"/>
          <ac:spMkLst>
            <pc:docMk/>
            <pc:sldMk cId="1882398645" sldId="262"/>
            <ac:spMk id="95" creationId="{F89927B4-2E42-44F9-BBE9-DB65A6BCA02D}"/>
          </ac:spMkLst>
        </pc:spChg>
        <pc:spChg chg="mod">
          <ac:chgData name="Mahesh Karigoudar" userId="aee392fe-d52f-479c-9f96-f04d75de2987" providerId="ADAL" clId="{B7BB60FE-A10A-46F6-9623-5355C9C8D8D6}" dt="2024-08-02T06:41:54.121" v="153"/>
          <ac:spMkLst>
            <pc:docMk/>
            <pc:sldMk cId="1882398645" sldId="262"/>
            <ac:spMk id="100" creationId="{F3E7B3DE-6FCC-440F-64A9-F0D2D27CCA60}"/>
          </ac:spMkLst>
        </pc:spChg>
        <pc:spChg chg="del">
          <ac:chgData name="Mahesh Karigoudar" userId="aee392fe-d52f-479c-9f96-f04d75de2987" providerId="ADAL" clId="{B7BB60FE-A10A-46F6-9623-5355C9C8D8D6}" dt="2024-08-01T12:30:28.816" v="78" actId="478"/>
          <ac:spMkLst>
            <pc:docMk/>
            <pc:sldMk cId="1882398645" sldId="262"/>
            <ac:spMk id="101" creationId="{798EA134-38D2-47B1-A885-48926B4023DD}"/>
          </ac:spMkLst>
        </pc:spChg>
        <pc:spChg chg="mod">
          <ac:chgData name="Mahesh Karigoudar" userId="aee392fe-d52f-479c-9f96-f04d75de2987" providerId="ADAL" clId="{B7BB60FE-A10A-46F6-9623-5355C9C8D8D6}" dt="2024-08-02T06:41:54.121" v="153"/>
          <ac:spMkLst>
            <pc:docMk/>
            <pc:sldMk cId="1882398645" sldId="262"/>
            <ac:spMk id="103" creationId="{DD80E5DB-C6E6-068A-EBF7-C099FE249790}"/>
          </ac:spMkLst>
        </pc:spChg>
        <pc:spChg chg="mod">
          <ac:chgData name="Mahesh Karigoudar" userId="aee392fe-d52f-479c-9f96-f04d75de2987" providerId="ADAL" clId="{B7BB60FE-A10A-46F6-9623-5355C9C8D8D6}" dt="2024-08-02T06:41:54.121" v="153"/>
          <ac:spMkLst>
            <pc:docMk/>
            <pc:sldMk cId="1882398645" sldId="262"/>
            <ac:spMk id="104" creationId="{9E1F6AB8-42BA-41E8-38E0-5DAF5C0A5994}"/>
          </ac:spMkLst>
        </pc:spChg>
        <pc:spChg chg="mod">
          <ac:chgData name="Mahesh Karigoudar" userId="aee392fe-d52f-479c-9f96-f04d75de2987" providerId="ADAL" clId="{B7BB60FE-A10A-46F6-9623-5355C9C8D8D6}" dt="2024-08-02T06:41:54.121" v="153"/>
          <ac:spMkLst>
            <pc:docMk/>
            <pc:sldMk cId="1882398645" sldId="262"/>
            <ac:spMk id="105" creationId="{9011E325-E467-A355-CEB6-CCF976443F84}"/>
          </ac:spMkLst>
        </pc:spChg>
        <pc:spChg chg="mod">
          <ac:chgData name="Mahesh Karigoudar" userId="aee392fe-d52f-479c-9f96-f04d75de2987" providerId="ADAL" clId="{B7BB60FE-A10A-46F6-9623-5355C9C8D8D6}" dt="2024-08-02T06:41:54.121" v="153"/>
          <ac:spMkLst>
            <pc:docMk/>
            <pc:sldMk cId="1882398645" sldId="262"/>
            <ac:spMk id="106" creationId="{A79B6DDF-4199-F674-CC44-743CA68DE7FD}"/>
          </ac:spMkLst>
        </pc:spChg>
        <pc:spChg chg="mod">
          <ac:chgData name="Mahesh Karigoudar" userId="aee392fe-d52f-479c-9f96-f04d75de2987" providerId="ADAL" clId="{B7BB60FE-A10A-46F6-9623-5355C9C8D8D6}" dt="2024-08-02T06:41:54.121" v="153"/>
          <ac:spMkLst>
            <pc:docMk/>
            <pc:sldMk cId="1882398645" sldId="262"/>
            <ac:spMk id="107" creationId="{231C1A2F-5791-FFFC-ED56-A56D4E55BF58}"/>
          </ac:spMkLst>
        </pc:spChg>
        <pc:spChg chg="del">
          <ac:chgData name="Mahesh Karigoudar" userId="aee392fe-d52f-479c-9f96-f04d75de2987" providerId="ADAL" clId="{B7BB60FE-A10A-46F6-9623-5355C9C8D8D6}" dt="2024-08-01T12:23:38.646" v="18" actId="478"/>
          <ac:spMkLst>
            <pc:docMk/>
            <pc:sldMk cId="1882398645" sldId="262"/>
            <ac:spMk id="109" creationId="{1EF17F8C-4D7F-42AC-90F2-912E97BDE3A2}"/>
          </ac:spMkLst>
        </pc:spChg>
        <pc:spChg chg="del">
          <ac:chgData name="Mahesh Karigoudar" userId="aee392fe-d52f-479c-9f96-f04d75de2987" providerId="ADAL" clId="{B7BB60FE-A10A-46F6-9623-5355C9C8D8D6}" dt="2024-08-01T12:24:11.910" v="24" actId="478"/>
          <ac:spMkLst>
            <pc:docMk/>
            <pc:sldMk cId="1882398645" sldId="262"/>
            <ac:spMk id="110" creationId="{CC2FBE43-DBE7-4D15-B4AA-CD1002C067B5}"/>
          </ac:spMkLst>
        </pc:spChg>
        <pc:spChg chg="mod">
          <ac:chgData name="Mahesh Karigoudar" userId="aee392fe-d52f-479c-9f96-f04d75de2987" providerId="ADAL" clId="{B7BB60FE-A10A-46F6-9623-5355C9C8D8D6}" dt="2024-08-01T12:26:40.836" v="63" actId="14100"/>
          <ac:spMkLst>
            <pc:docMk/>
            <pc:sldMk cId="1882398645" sldId="262"/>
            <ac:spMk id="114" creationId="{56C482EC-8EB3-4A97-8922-5999E3D15F6B}"/>
          </ac:spMkLst>
        </pc:spChg>
        <pc:spChg chg="del">
          <ac:chgData name="Mahesh Karigoudar" userId="aee392fe-d52f-479c-9f96-f04d75de2987" providerId="ADAL" clId="{B7BB60FE-A10A-46F6-9623-5355C9C8D8D6}" dt="2024-08-01T12:28:12.407" v="65" actId="478"/>
          <ac:spMkLst>
            <pc:docMk/>
            <pc:sldMk cId="1882398645" sldId="262"/>
            <ac:spMk id="115" creationId="{2716303A-95E0-449E-843E-9C5289370F25}"/>
          </ac:spMkLst>
        </pc:spChg>
        <pc:spChg chg="del mod">
          <ac:chgData name="Mahesh Karigoudar" userId="aee392fe-d52f-479c-9f96-f04d75de2987" providerId="ADAL" clId="{B7BB60FE-A10A-46F6-9623-5355C9C8D8D6}" dt="2024-08-01T12:30:19.864" v="75" actId="478"/>
          <ac:spMkLst>
            <pc:docMk/>
            <pc:sldMk cId="1882398645" sldId="262"/>
            <ac:spMk id="119" creationId="{36372912-3D3C-4E07-B0D1-5A6E23522BBB}"/>
          </ac:spMkLst>
        </pc:spChg>
        <pc:spChg chg="mod">
          <ac:chgData name="Mahesh Karigoudar" userId="aee392fe-d52f-479c-9f96-f04d75de2987" providerId="ADAL" clId="{B7BB60FE-A10A-46F6-9623-5355C9C8D8D6}" dt="2024-08-02T06:41:54.121" v="153"/>
          <ac:spMkLst>
            <pc:docMk/>
            <pc:sldMk cId="1882398645" sldId="262"/>
            <ac:spMk id="121" creationId="{78AEC45A-055A-169C-5480-365D93CD73F9}"/>
          </ac:spMkLst>
        </pc:spChg>
        <pc:spChg chg="mod">
          <ac:chgData name="Mahesh Karigoudar" userId="aee392fe-d52f-479c-9f96-f04d75de2987" providerId="ADAL" clId="{B7BB60FE-A10A-46F6-9623-5355C9C8D8D6}" dt="2024-08-02T06:41:54.121" v="153"/>
          <ac:spMkLst>
            <pc:docMk/>
            <pc:sldMk cId="1882398645" sldId="262"/>
            <ac:spMk id="124" creationId="{2A0A2199-E728-BFF8-68B4-19741660104A}"/>
          </ac:spMkLst>
        </pc:spChg>
        <pc:spChg chg="mod">
          <ac:chgData name="Mahesh Karigoudar" userId="aee392fe-d52f-479c-9f96-f04d75de2987" providerId="ADAL" clId="{B7BB60FE-A10A-46F6-9623-5355C9C8D8D6}" dt="2024-08-02T06:41:54.121" v="153"/>
          <ac:spMkLst>
            <pc:docMk/>
            <pc:sldMk cId="1882398645" sldId="262"/>
            <ac:spMk id="127" creationId="{22595CED-7A28-9BD6-2468-57FD8AF9F6B9}"/>
          </ac:spMkLst>
        </pc:spChg>
        <pc:spChg chg="mod">
          <ac:chgData name="Mahesh Karigoudar" userId="aee392fe-d52f-479c-9f96-f04d75de2987" providerId="ADAL" clId="{B7BB60FE-A10A-46F6-9623-5355C9C8D8D6}" dt="2024-08-02T06:41:54.121" v="153"/>
          <ac:spMkLst>
            <pc:docMk/>
            <pc:sldMk cId="1882398645" sldId="262"/>
            <ac:spMk id="133" creationId="{C25E9842-1A43-252B-F62B-7AAE5BB02940}"/>
          </ac:spMkLst>
        </pc:spChg>
        <pc:spChg chg="mod">
          <ac:chgData name="Mahesh Karigoudar" userId="aee392fe-d52f-479c-9f96-f04d75de2987" providerId="ADAL" clId="{B7BB60FE-A10A-46F6-9623-5355C9C8D8D6}" dt="2024-08-02T06:41:54.121" v="153"/>
          <ac:spMkLst>
            <pc:docMk/>
            <pc:sldMk cId="1882398645" sldId="262"/>
            <ac:spMk id="134" creationId="{CFB07217-0269-3204-E176-862CFCB92DA2}"/>
          </ac:spMkLst>
        </pc:spChg>
        <pc:spChg chg="mod">
          <ac:chgData name="Mahesh Karigoudar" userId="aee392fe-d52f-479c-9f96-f04d75de2987" providerId="ADAL" clId="{B7BB60FE-A10A-46F6-9623-5355C9C8D8D6}" dt="2024-08-02T06:41:54.121" v="153"/>
          <ac:spMkLst>
            <pc:docMk/>
            <pc:sldMk cId="1882398645" sldId="262"/>
            <ac:spMk id="135" creationId="{514FA00F-5B72-568D-2874-685E1BEE3541}"/>
          </ac:spMkLst>
        </pc:spChg>
        <pc:spChg chg="mod">
          <ac:chgData name="Mahesh Karigoudar" userId="aee392fe-d52f-479c-9f96-f04d75de2987" providerId="ADAL" clId="{B7BB60FE-A10A-46F6-9623-5355C9C8D8D6}" dt="2024-08-02T06:41:54.121" v="153"/>
          <ac:spMkLst>
            <pc:docMk/>
            <pc:sldMk cId="1882398645" sldId="262"/>
            <ac:spMk id="136" creationId="{7EEB53A0-4E1C-ADF6-3315-EE46DEE5823E}"/>
          </ac:spMkLst>
        </pc:spChg>
        <pc:spChg chg="mod">
          <ac:chgData name="Mahesh Karigoudar" userId="aee392fe-d52f-479c-9f96-f04d75de2987" providerId="ADAL" clId="{B7BB60FE-A10A-46F6-9623-5355C9C8D8D6}" dt="2024-08-02T06:41:54.121" v="153"/>
          <ac:spMkLst>
            <pc:docMk/>
            <pc:sldMk cId="1882398645" sldId="262"/>
            <ac:spMk id="137" creationId="{D58F1BA4-4BA7-51EF-C9F8-79443F7D090D}"/>
          </ac:spMkLst>
        </pc:spChg>
        <pc:spChg chg="mod">
          <ac:chgData name="Mahesh Karigoudar" userId="aee392fe-d52f-479c-9f96-f04d75de2987" providerId="ADAL" clId="{B7BB60FE-A10A-46F6-9623-5355C9C8D8D6}" dt="2024-08-02T06:41:54.121" v="153"/>
          <ac:spMkLst>
            <pc:docMk/>
            <pc:sldMk cId="1882398645" sldId="262"/>
            <ac:spMk id="138" creationId="{C40CF86D-C53C-B044-D54D-F3FCB7711F2E}"/>
          </ac:spMkLst>
        </pc:spChg>
        <pc:spChg chg="mod">
          <ac:chgData name="Mahesh Karigoudar" userId="aee392fe-d52f-479c-9f96-f04d75de2987" providerId="ADAL" clId="{B7BB60FE-A10A-46F6-9623-5355C9C8D8D6}" dt="2024-08-02T06:41:54.121" v="153"/>
          <ac:spMkLst>
            <pc:docMk/>
            <pc:sldMk cId="1882398645" sldId="262"/>
            <ac:spMk id="139" creationId="{63DF62A4-301E-07B7-0864-AC2D226CBE08}"/>
          </ac:spMkLst>
        </pc:spChg>
        <pc:spChg chg="mod">
          <ac:chgData name="Mahesh Karigoudar" userId="aee392fe-d52f-479c-9f96-f04d75de2987" providerId="ADAL" clId="{B7BB60FE-A10A-46F6-9623-5355C9C8D8D6}" dt="2024-08-02T06:41:54.121" v="153"/>
          <ac:spMkLst>
            <pc:docMk/>
            <pc:sldMk cId="1882398645" sldId="262"/>
            <ac:spMk id="144" creationId="{44641C19-C806-E35D-C2FB-2EC12D2C520C}"/>
          </ac:spMkLst>
        </pc:spChg>
        <pc:spChg chg="mod">
          <ac:chgData name="Mahesh Karigoudar" userId="aee392fe-d52f-479c-9f96-f04d75de2987" providerId="ADAL" clId="{B7BB60FE-A10A-46F6-9623-5355C9C8D8D6}" dt="2024-08-02T06:41:54.121" v="153"/>
          <ac:spMkLst>
            <pc:docMk/>
            <pc:sldMk cId="1882398645" sldId="262"/>
            <ac:spMk id="147" creationId="{8D768504-F3B1-E8E5-839E-60281C72CBAA}"/>
          </ac:spMkLst>
        </pc:spChg>
        <pc:spChg chg="mod">
          <ac:chgData name="Mahesh Karigoudar" userId="aee392fe-d52f-479c-9f96-f04d75de2987" providerId="ADAL" clId="{B7BB60FE-A10A-46F6-9623-5355C9C8D8D6}" dt="2024-08-02T06:41:54.121" v="153"/>
          <ac:spMkLst>
            <pc:docMk/>
            <pc:sldMk cId="1882398645" sldId="262"/>
            <ac:spMk id="150" creationId="{30219CA9-4863-B60A-67B0-EE86A3F43E29}"/>
          </ac:spMkLst>
        </pc:spChg>
        <pc:spChg chg="mod">
          <ac:chgData name="Mahesh Karigoudar" userId="aee392fe-d52f-479c-9f96-f04d75de2987" providerId="ADAL" clId="{B7BB60FE-A10A-46F6-9623-5355C9C8D8D6}" dt="2024-08-02T06:41:54.121" v="153"/>
          <ac:spMkLst>
            <pc:docMk/>
            <pc:sldMk cId="1882398645" sldId="262"/>
            <ac:spMk id="155" creationId="{9CFB5AD6-D4C1-A12A-7151-60F328DCCB99}"/>
          </ac:spMkLst>
        </pc:spChg>
        <pc:spChg chg="mod">
          <ac:chgData name="Mahesh Karigoudar" userId="aee392fe-d52f-479c-9f96-f04d75de2987" providerId="ADAL" clId="{B7BB60FE-A10A-46F6-9623-5355C9C8D8D6}" dt="2024-08-02T06:41:54.121" v="153"/>
          <ac:spMkLst>
            <pc:docMk/>
            <pc:sldMk cId="1882398645" sldId="262"/>
            <ac:spMk id="157" creationId="{EDD498AF-22DD-B894-ABF4-01D7B3D941CF}"/>
          </ac:spMkLst>
        </pc:spChg>
        <pc:spChg chg="mod">
          <ac:chgData name="Mahesh Karigoudar" userId="aee392fe-d52f-479c-9f96-f04d75de2987" providerId="ADAL" clId="{B7BB60FE-A10A-46F6-9623-5355C9C8D8D6}" dt="2024-08-02T06:41:54.121" v="153"/>
          <ac:spMkLst>
            <pc:docMk/>
            <pc:sldMk cId="1882398645" sldId="262"/>
            <ac:spMk id="160" creationId="{A49EBEDA-4FAA-F14A-D124-ABE153573F76}"/>
          </ac:spMkLst>
        </pc:spChg>
        <pc:spChg chg="mod">
          <ac:chgData name="Mahesh Karigoudar" userId="aee392fe-d52f-479c-9f96-f04d75de2987" providerId="ADAL" clId="{B7BB60FE-A10A-46F6-9623-5355C9C8D8D6}" dt="2024-08-02T06:41:54.121" v="153"/>
          <ac:spMkLst>
            <pc:docMk/>
            <pc:sldMk cId="1882398645" sldId="262"/>
            <ac:spMk id="161" creationId="{7469BF92-FCAB-6727-5F6D-E04CA68A3D57}"/>
          </ac:spMkLst>
        </pc:spChg>
        <pc:spChg chg="mod">
          <ac:chgData name="Mahesh Karigoudar" userId="aee392fe-d52f-479c-9f96-f04d75de2987" providerId="ADAL" clId="{B7BB60FE-A10A-46F6-9623-5355C9C8D8D6}" dt="2024-08-02T06:41:54.121" v="153"/>
          <ac:spMkLst>
            <pc:docMk/>
            <pc:sldMk cId="1882398645" sldId="262"/>
            <ac:spMk id="162" creationId="{181A16CF-60C7-A11F-0922-12279E172A14}"/>
          </ac:spMkLst>
        </pc:spChg>
        <pc:spChg chg="mod">
          <ac:chgData name="Mahesh Karigoudar" userId="aee392fe-d52f-479c-9f96-f04d75de2987" providerId="ADAL" clId="{B7BB60FE-A10A-46F6-9623-5355C9C8D8D6}" dt="2024-08-02T06:41:54.121" v="153"/>
          <ac:spMkLst>
            <pc:docMk/>
            <pc:sldMk cId="1882398645" sldId="262"/>
            <ac:spMk id="164" creationId="{2A277861-A558-3028-0E59-FB475D34E93F}"/>
          </ac:spMkLst>
        </pc:spChg>
        <pc:spChg chg="mod">
          <ac:chgData name="Mahesh Karigoudar" userId="aee392fe-d52f-479c-9f96-f04d75de2987" providerId="ADAL" clId="{B7BB60FE-A10A-46F6-9623-5355C9C8D8D6}" dt="2024-08-02T06:41:54.121" v="153"/>
          <ac:spMkLst>
            <pc:docMk/>
            <pc:sldMk cId="1882398645" sldId="262"/>
            <ac:spMk id="165" creationId="{2EBC8377-760B-AF34-5CC9-AB5185060E1B}"/>
          </ac:spMkLst>
        </pc:spChg>
        <pc:spChg chg="mod">
          <ac:chgData name="Mahesh Karigoudar" userId="aee392fe-d52f-479c-9f96-f04d75de2987" providerId="ADAL" clId="{B7BB60FE-A10A-46F6-9623-5355C9C8D8D6}" dt="2024-08-02T06:41:54.121" v="153"/>
          <ac:spMkLst>
            <pc:docMk/>
            <pc:sldMk cId="1882398645" sldId="262"/>
            <ac:spMk id="166" creationId="{9370E2E3-613F-B712-B301-4CC337D60E22}"/>
          </ac:spMkLst>
        </pc:spChg>
        <pc:spChg chg="mod">
          <ac:chgData name="Mahesh Karigoudar" userId="aee392fe-d52f-479c-9f96-f04d75de2987" providerId="ADAL" clId="{B7BB60FE-A10A-46F6-9623-5355C9C8D8D6}" dt="2024-08-02T06:41:54.121" v="153"/>
          <ac:spMkLst>
            <pc:docMk/>
            <pc:sldMk cId="1882398645" sldId="262"/>
            <ac:spMk id="167" creationId="{E2102389-E497-DE7C-212D-CD24D657816E}"/>
          </ac:spMkLst>
        </pc:spChg>
        <pc:spChg chg="mod">
          <ac:chgData name="Mahesh Karigoudar" userId="aee392fe-d52f-479c-9f96-f04d75de2987" providerId="ADAL" clId="{B7BB60FE-A10A-46F6-9623-5355C9C8D8D6}" dt="2024-08-02T06:41:54.121" v="153"/>
          <ac:spMkLst>
            <pc:docMk/>
            <pc:sldMk cId="1882398645" sldId="262"/>
            <ac:spMk id="168" creationId="{57FDFAC8-EE08-9B04-19A5-FFB3CA82A747}"/>
          </ac:spMkLst>
        </pc:spChg>
        <pc:spChg chg="mod">
          <ac:chgData name="Mahesh Karigoudar" userId="aee392fe-d52f-479c-9f96-f04d75de2987" providerId="ADAL" clId="{B7BB60FE-A10A-46F6-9623-5355C9C8D8D6}" dt="2024-08-02T06:41:54.121" v="153"/>
          <ac:spMkLst>
            <pc:docMk/>
            <pc:sldMk cId="1882398645" sldId="262"/>
            <ac:spMk id="169" creationId="{E61D426F-7486-EC17-8A8A-984FE7825F05}"/>
          </ac:spMkLst>
        </pc:spChg>
        <pc:spChg chg="mod">
          <ac:chgData name="Mahesh Karigoudar" userId="aee392fe-d52f-479c-9f96-f04d75de2987" providerId="ADAL" clId="{B7BB60FE-A10A-46F6-9623-5355C9C8D8D6}" dt="2024-08-02T06:41:54.121" v="153"/>
          <ac:spMkLst>
            <pc:docMk/>
            <pc:sldMk cId="1882398645" sldId="262"/>
            <ac:spMk id="170" creationId="{ADDAC91A-E383-C980-7F89-327C84F4774F}"/>
          </ac:spMkLst>
        </pc:spChg>
        <pc:spChg chg="mod">
          <ac:chgData name="Mahesh Karigoudar" userId="aee392fe-d52f-479c-9f96-f04d75de2987" providerId="ADAL" clId="{B7BB60FE-A10A-46F6-9623-5355C9C8D8D6}" dt="2024-08-02T06:41:54.121" v="153"/>
          <ac:spMkLst>
            <pc:docMk/>
            <pc:sldMk cId="1882398645" sldId="262"/>
            <ac:spMk id="172" creationId="{851A6D2F-4507-E021-9102-CB457844A65C}"/>
          </ac:spMkLst>
        </pc:spChg>
        <pc:spChg chg="mod">
          <ac:chgData name="Mahesh Karigoudar" userId="aee392fe-d52f-479c-9f96-f04d75de2987" providerId="ADAL" clId="{B7BB60FE-A10A-46F6-9623-5355C9C8D8D6}" dt="2024-08-02T06:41:54.121" v="153"/>
          <ac:spMkLst>
            <pc:docMk/>
            <pc:sldMk cId="1882398645" sldId="262"/>
            <ac:spMk id="175" creationId="{2765C444-4386-89D2-25D3-89B0A15B7F14}"/>
          </ac:spMkLst>
        </pc:spChg>
        <pc:spChg chg="mod">
          <ac:chgData name="Mahesh Karigoudar" userId="aee392fe-d52f-479c-9f96-f04d75de2987" providerId="ADAL" clId="{B7BB60FE-A10A-46F6-9623-5355C9C8D8D6}" dt="2024-08-02T06:41:54.121" v="153"/>
          <ac:spMkLst>
            <pc:docMk/>
            <pc:sldMk cId="1882398645" sldId="262"/>
            <ac:spMk id="176" creationId="{786C5FF5-3680-DED1-CC9D-7BD2B9A67E25}"/>
          </ac:spMkLst>
        </pc:spChg>
        <pc:spChg chg="mod">
          <ac:chgData name="Mahesh Karigoudar" userId="aee392fe-d52f-479c-9f96-f04d75de2987" providerId="ADAL" clId="{B7BB60FE-A10A-46F6-9623-5355C9C8D8D6}" dt="2024-08-02T06:41:54.121" v="153"/>
          <ac:spMkLst>
            <pc:docMk/>
            <pc:sldMk cId="1882398645" sldId="262"/>
            <ac:spMk id="177" creationId="{D11029F3-BE15-FEE5-360A-92AF3C36CA8D}"/>
          </ac:spMkLst>
        </pc:spChg>
        <pc:spChg chg="mod">
          <ac:chgData name="Mahesh Karigoudar" userId="aee392fe-d52f-479c-9f96-f04d75de2987" providerId="ADAL" clId="{B7BB60FE-A10A-46F6-9623-5355C9C8D8D6}" dt="2024-08-02T06:41:54.121" v="153"/>
          <ac:spMkLst>
            <pc:docMk/>
            <pc:sldMk cId="1882398645" sldId="262"/>
            <ac:spMk id="180" creationId="{C12738FC-DB95-F977-DDF7-01E0822BF5D3}"/>
          </ac:spMkLst>
        </pc:spChg>
        <pc:spChg chg="mod">
          <ac:chgData name="Mahesh Karigoudar" userId="aee392fe-d52f-479c-9f96-f04d75de2987" providerId="ADAL" clId="{B7BB60FE-A10A-46F6-9623-5355C9C8D8D6}" dt="2024-08-02T06:41:54.121" v="153"/>
          <ac:spMkLst>
            <pc:docMk/>
            <pc:sldMk cId="1882398645" sldId="262"/>
            <ac:spMk id="181" creationId="{CA6EBE62-6884-045C-59CD-3061C5B65DEB}"/>
          </ac:spMkLst>
        </pc:spChg>
        <pc:spChg chg="mod">
          <ac:chgData name="Mahesh Karigoudar" userId="aee392fe-d52f-479c-9f96-f04d75de2987" providerId="ADAL" clId="{B7BB60FE-A10A-46F6-9623-5355C9C8D8D6}" dt="2024-08-02T06:41:54.121" v="153"/>
          <ac:spMkLst>
            <pc:docMk/>
            <pc:sldMk cId="1882398645" sldId="262"/>
            <ac:spMk id="182" creationId="{487D4ED9-6B11-A655-8D1E-E5D629315E9B}"/>
          </ac:spMkLst>
        </pc:spChg>
        <pc:spChg chg="mod">
          <ac:chgData name="Mahesh Karigoudar" userId="aee392fe-d52f-479c-9f96-f04d75de2987" providerId="ADAL" clId="{B7BB60FE-A10A-46F6-9623-5355C9C8D8D6}" dt="2024-08-02T06:41:54.121" v="153"/>
          <ac:spMkLst>
            <pc:docMk/>
            <pc:sldMk cId="1882398645" sldId="262"/>
            <ac:spMk id="183" creationId="{648484A5-0D7D-6084-0B6F-D77F766DFC0E}"/>
          </ac:spMkLst>
        </pc:spChg>
        <pc:spChg chg="mod">
          <ac:chgData name="Mahesh Karigoudar" userId="aee392fe-d52f-479c-9f96-f04d75de2987" providerId="ADAL" clId="{B7BB60FE-A10A-46F6-9623-5355C9C8D8D6}" dt="2024-08-02T06:41:54.121" v="153"/>
          <ac:spMkLst>
            <pc:docMk/>
            <pc:sldMk cId="1882398645" sldId="262"/>
            <ac:spMk id="184" creationId="{10C88150-53DD-AF59-4D40-DDB36ACB90DB}"/>
          </ac:spMkLst>
        </pc:spChg>
        <pc:spChg chg="mod">
          <ac:chgData name="Mahesh Karigoudar" userId="aee392fe-d52f-479c-9f96-f04d75de2987" providerId="ADAL" clId="{B7BB60FE-A10A-46F6-9623-5355C9C8D8D6}" dt="2024-08-02T06:41:54.121" v="153"/>
          <ac:spMkLst>
            <pc:docMk/>
            <pc:sldMk cId="1882398645" sldId="262"/>
            <ac:spMk id="185" creationId="{BCD4C066-9C7B-EA7A-DFF7-C5711EBBEF50}"/>
          </ac:spMkLst>
        </pc:spChg>
        <pc:spChg chg="mod">
          <ac:chgData name="Mahesh Karigoudar" userId="aee392fe-d52f-479c-9f96-f04d75de2987" providerId="ADAL" clId="{B7BB60FE-A10A-46F6-9623-5355C9C8D8D6}" dt="2024-08-02T06:41:54.121" v="153"/>
          <ac:spMkLst>
            <pc:docMk/>
            <pc:sldMk cId="1882398645" sldId="262"/>
            <ac:spMk id="186" creationId="{63F06F5E-25AB-08D1-360C-125B99021579}"/>
          </ac:spMkLst>
        </pc:spChg>
        <pc:spChg chg="mod">
          <ac:chgData name="Mahesh Karigoudar" userId="aee392fe-d52f-479c-9f96-f04d75de2987" providerId="ADAL" clId="{B7BB60FE-A10A-46F6-9623-5355C9C8D8D6}" dt="2024-08-02T06:41:54.121" v="153"/>
          <ac:spMkLst>
            <pc:docMk/>
            <pc:sldMk cId="1882398645" sldId="262"/>
            <ac:spMk id="191" creationId="{036B0F70-D6C0-7C71-24DD-6A426F2EAA0B}"/>
          </ac:spMkLst>
        </pc:spChg>
        <pc:spChg chg="mod">
          <ac:chgData name="Mahesh Karigoudar" userId="aee392fe-d52f-479c-9f96-f04d75de2987" providerId="ADAL" clId="{B7BB60FE-A10A-46F6-9623-5355C9C8D8D6}" dt="2024-08-02T06:41:54.121" v="153"/>
          <ac:spMkLst>
            <pc:docMk/>
            <pc:sldMk cId="1882398645" sldId="262"/>
            <ac:spMk id="2051" creationId="{DB4B50B1-8502-18D5-B97E-33C1740CD47E}"/>
          </ac:spMkLst>
        </pc:spChg>
        <pc:grpChg chg="add del mod">
          <ac:chgData name="Mahesh Karigoudar" userId="aee392fe-d52f-479c-9f96-f04d75de2987" providerId="ADAL" clId="{B7BB60FE-A10A-46F6-9623-5355C9C8D8D6}" dt="2024-08-02T06:41:55.592" v="154"/>
          <ac:grpSpMkLst>
            <pc:docMk/>
            <pc:sldMk cId="1882398645" sldId="262"/>
            <ac:grpSpMk id="91" creationId="{DEB67527-6F99-852D-B7F5-35464CDF87DD}"/>
          </ac:grpSpMkLst>
        </pc:grpChg>
        <pc:grpChg chg="mod">
          <ac:chgData name="Mahesh Karigoudar" userId="aee392fe-d52f-479c-9f96-f04d75de2987" providerId="ADAL" clId="{B7BB60FE-A10A-46F6-9623-5355C9C8D8D6}" dt="2024-08-02T06:41:54.121" v="153"/>
          <ac:grpSpMkLst>
            <pc:docMk/>
            <pc:sldMk cId="1882398645" sldId="262"/>
            <ac:grpSpMk id="92" creationId="{13F2E8FA-E51D-5D66-D6A0-F30482AC1208}"/>
          </ac:grpSpMkLst>
        </pc:grpChg>
        <pc:grpChg chg="mod">
          <ac:chgData name="Mahesh Karigoudar" userId="aee392fe-d52f-479c-9f96-f04d75de2987" providerId="ADAL" clId="{B7BB60FE-A10A-46F6-9623-5355C9C8D8D6}" dt="2024-08-02T06:41:54.121" v="153"/>
          <ac:grpSpMkLst>
            <pc:docMk/>
            <pc:sldMk cId="1882398645" sldId="262"/>
            <ac:grpSpMk id="131" creationId="{36C68FCD-3608-0B0C-3623-B90E9CC76C49}"/>
          </ac:grpSpMkLst>
        </pc:grpChg>
        <pc:grpChg chg="mod">
          <ac:chgData name="Mahesh Karigoudar" userId="aee392fe-d52f-479c-9f96-f04d75de2987" providerId="ADAL" clId="{B7BB60FE-A10A-46F6-9623-5355C9C8D8D6}" dt="2024-08-02T06:41:54.121" v="153"/>
          <ac:grpSpMkLst>
            <pc:docMk/>
            <pc:sldMk cId="1882398645" sldId="262"/>
            <ac:grpSpMk id="146" creationId="{BDE27816-0B19-A1DF-7EC9-0DDBB9F16644}"/>
          </ac:grpSpMkLst>
        </pc:grpChg>
        <pc:grpChg chg="mod">
          <ac:chgData name="Mahesh Karigoudar" userId="aee392fe-d52f-479c-9f96-f04d75de2987" providerId="ADAL" clId="{B7BB60FE-A10A-46F6-9623-5355C9C8D8D6}" dt="2024-08-02T06:41:54.121" v="153"/>
          <ac:grpSpMkLst>
            <pc:docMk/>
            <pc:sldMk cId="1882398645" sldId="262"/>
            <ac:grpSpMk id="159" creationId="{B9698C4C-152E-696C-AAEA-AA31096AF800}"/>
          </ac:grpSpMkLst>
        </pc:grpChg>
        <pc:picChg chg="add mod">
          <ac:chgData name="Mahesh Karigoudar" userId="aee392fe-d52f-479c-9f96-f04d75de2987" providerId="ADAL" clId="{B7BB60FE-A10A-46F6-9623-5355C9C8D8D6}" dt="2024-08-01T12:48:51.847" v="149" actId="1076"/>
          <ac:picMkLst>
            <pc:docMk/>
            <pc:sldMk cId="1882398645" sldId="262"/>
            <ac:picMk id="3" creationId="{F857DD0C-7C09-FA2E-ED2B-7FD2FEA69BEE}"/>
          </ac:picMkLst>
        </pc:picChg>
        <pc:picChg chg="del">
          <ac:chgData name="Mahesh Karigoudar" userId="aee392fe-d52f-479c-9f96-f04d75de2987" providerId="ADAL" clId="{B7BB60FE-A10A-46F6-9623-5355C9C8D8D6}" dt="2024-08-01T12:29:33.363" v="66" actId="478"/>
          <ac:picMkLst>
            <pc:docMk/>
            <pc:sldMk cId="1882398645" sldId="262"/>
            <ac:picMk id="14" creationId="{7E27463B-4920-4104-9A59-BEBEADDB4072}"/>
          </ac:picMkLst>
        </pc:picChg>
        <pc:picChg chg="add mod">
          <ac:chgData name="Mahesh Karigoudar" userId="aee392fe-d52f-479c-9f96-f04d75de2987" providerId="ADAL" clId="{B7BB60FE-A10A-46F6-9623-5355C9C8D8D6}" dt="2024-08-01T12:30:02.911" v="72" actId="1076"/>
          <ac:picMkLst>
            <pc:docMk/>
            <pc:sldMk cId="1882398645" sldId="262"/>
            <ac:picMk id="21" creationId="{EA242A0C-00B3-CC7E-D7BE-7C8936CCC484}"/>
          </ac:picMkLst>
        </pc:picChg>
        <pc:picChg chg="del">
          <ac:chgData name="Mahesh Karigoudar" userId="aee392fe-d52f-479c-9f96-f04d75de2987" providerId="ADAL" clId="{B7BB60FE-A10A-46F6-9623-5355C9C8D8D6}" dt="2024-08-01T12:31:37.771" v="86" actId="478"/>
          <ac:picMkLst>
            <pc:docMk/>
            <pc:sldMk cId="1882398645" sldId="262"/>
            <ac:picMk id="26" creationId="{A7F1A17B-ABBD-495C-8F82-ECB119EB0665}"/>
          </ac:picMkLst>
        </pc:picChg>
        <pc:picChg chg="add mod">
          <ac:chgData name="Mahesh Karigoudar" userId="aee392fe-d52f-479c-9f96-f04d75de2987" providerId="ADAL" clId="{B7BB60FE-A10A-46F6-9623-5355C9C8D8D6}" dt="2024-08-01T12:31:44.076" v="87" actId="1076"/>
          <ac:picMkLst>
            <pc:docMk/>
            <pc:sldMk cId="1882398645" sldId="262"/>
            <ac:picMk id="28" creationId="{BEE61893-5B99-337B-CE2B-95B3731B5F2B}"/>
          </ac:picMkLst>
        </pc:picChg>
        <pc:picChg chg="add mod">
          <ac:chgData name="Mahesh Karigoudar" userId="aee392fe-d52f-479c-9f96-f04d75de2987" providerId="ADAL" clId="{B7BB60FE-A10A-46F6-9623-5355C9C8D8D6}" dt="2024-08-01T12:33:12.303" v="93" actId="1076"/>
          <ac:picMkLst>
            <pc:docMk/>
            <pc:sldMk cId="1882398645" sldId="262"/>
            <ac:picMk id="30" creationId="{40826388-35E3-F0AF-34D6-14DA211DBEDA}"/>
          </ac:picMkLst>
        </pc:picChg>
        <pc:picChg chg="add mod">
          <ac:chgData name="Mahesh Karigoudar" userId="aee392fe-d52f-479c-9f96-f04d75de2987" providerId="ADAL" clId="{B7BB60FE-A10A-46F6-9623-5355C9C8D8D6}" dt="2024-08-01T12:48:55.077" v="150" actId="1076"/>
          <ac:picMkLst>
            <pc:docMk/>
            <pc:sldMk cId="1882398645" sldId="262"/>
            <ac:picMk id="40" creationId="{39372CCE-B671-1D81-42D5-802051E0ECC2}"/>
          </ac:picMkLst>
        </pc:picChg>
        <pc:picChg chg="add mod">
          <ac:chgData name="Mahesh Karigoudar" userId="aee392fe-d52f-479c-9f96-f04d75de2987" providerId="ADAL" clId="{B7BB60FE-A10A-46F6-9623-5355C9C8D8D6}" dt="2024-08-01T12:43:25.273" v="131" actId="1076"/>
          <ac:picMkLst>
            <pc:docMk/>
            <pc:sldMk cId="1882398645" sldId="262"/>
            <ac:picMk id="51" creationId="{C1812E15-7178-9E10-D9D0-CFD9745F92D6}"/>
          </ac:picMkLst>
        </pc:picChg>
        <pc:picChg chg="del">
          <ac:chgData name="Mahesh Karigoudar" userId="aee392fe-d52f-479c-9f96-f04d75de2987" providerId="ADAL" clId="{B7BB60FE-A10A-46F6-9623-5355C9C8D8D6}" dt="2024-08-01T12:29:39.199" v="67" actId="478"/>
          <ac:picMkLst>
            <pc:docMk/>
            <pc:sldMk cId="1882398645" sldId="262"/>
            <ac:picMk id="2054" creationId="{32297847-9449-4DEB-B8F4-9584CDBFB150}"/>
          </ac:picMkLst>
        </pc:picChg>
        <pc:cxnChg chg="del mod">
          <ac:chgData name="Mahesh Karigoudar" userId="aee392fe-d52f-479c-9f96-f04d75de2987" providerId="ADAL" clId="{B7BB60FE-A10A-46F6-9623-5355C9C8D8D6}" dt="2024-08-01T12:44:15.693" v="132" actId="21"/>
          <ac:cxnSpMkLst>
            <pc:docMk/>
            <pc:sldMk cId="1882398645" sldId="262"/>
            <ac:cxnSpMk id="23" creationId="{A3306C87-6E52-471E-B71A-2439E68F3893}"/>
          </ac:cxnSpMkLst>
        </pc:cxnChg>
        <pc:cxnChg chg="mod">
          <ac:chgData name="Mahesh Karigoudar" userId="aee392fe-d52f-479c-9f96-f04d75de2987" providerId="ADAL" clId="{B7BB60FE-A10A-46F6-9623-5355C9C8D8D6}" dt="2024-08-01T12:45:29.748" v="144" actId="1076"/>
          <ac:cxnSpMkLst>
            <pc:docMk/>
            <pc:sldMk cId="1882398645" sldId="262"/>
            <ac:cxnSpMk id="27" creationId="{87AE0643-2E54-41E5-ABDA-66AC95226E1C}"/>
          </ac:cxnSpMkLst>
        </pc:cxnChg>
        <pc:cxnChg chg="add mod">
          <ac:chgData name="Mahesh Karigoudar" userId="aee392fe-d52f-479c-9f96-f04d75de2987" providerId="ADAL" clId="{B7BB60FE-A10A-46F6-9623-5355C9C8D8D6}" dt="2024-08-01T12:33:26.471" v="97" actId="14100"/>
          <ac:cxnSpMkLst>
            <pc:docMk/>
            <pc:sldMk cId="1882398645" sldId="262"/>
            <ac:cxnSpMk id="31" creationId="{3C9AB058-9115-9F38-1178-14D12C4CA42F}"/>
          </ac:cxnSpMkLst>
        </pc:cxnChg>
        <pc:cxnChg chg="mod">
          <ac:chgData name="Mahesh Karigoudar" userId="aee392fe-d52f-479c-9f96-f04d75de2987" providerId="ADAL" clId="{B7BB60FE-A10A-46F6-9623-5355C9C8D8D6}" dt="2024-08-01T12:45:29.748" v="144" actId="1076"/>
          <ac:cxnSpMkLst>
            <pc:docMk/>
            <pc:sldMk cId="1882398645" sldId="262"/>
            <ac:cxnSpMk id="32" creationId="{C40CE40A-DFEC-4003-923F-2528E23158F2}"/>
          </ac:cxnSpMkLst>
        </pc:cxnChg>
        <pc:cxnChg chg="add mod">
          <ac:chgData name="Mahesh Karigoudar" userId="aee392fe-d52f-479c-9f96-f04d75de2987" providerId="ADAL" clId="{B7BB60FE-A10A-46F6-9623-5355C9C8D8D6}" dt="2024-08-01T12:43:25.273" v="131" actId="1076"/>
          <ac:cxnSpMkLst>
            <pc:docMk/>
            <pc:sldMk cId="1882398645" sldId="262"/>
            <ac:cxnSpMk id="56" creationId="{7AC01202-F330-32DA-6D12-60CD49DBB37D}"/>
          </ac:cxnSpMkLst>
        </pc:cxnChg>
        <pc:cxnChg chg="add del mod">
          <ac:chgData name="Mahesh Karigoudar" userId="aee392fe-d52f-479c-9f96-f04d75de2987" providerId="ADAL" clId="{B7BB60FE-A10A-46F6-9623-5355C9C8D8D6}" dt="2024-08-01T12:45:14.301" v="142" actId="478"/>
          <ac:cxnSpMkLst>
            <pc:docMk/>
            <pc:sldMk cId="1882398645" sldId="262"/>
            <ac:cxnSpMk id="60" creationId="{9D4D4212-BF19-44B6-0B29-C3C0F5D50054}"/>
          </ac:cxnSpMkLst>
        </pc:cxnChg>
        <pc:cxnChg chg="add mod">
          <ac:chgData name="Mahesh Karigoudar" userId="aee392fe-d52f-479c-9f96-f04d75de2987" providerId="ADAL" clId="{B7BB60FE-A10A-46F6-9623-5355C9C8D8D6}" dt="2024-08-01T12:48:51.847" v="149" actId="1076"/>
          <ac:cxnSpMkLst>
            <pc:docMk/>
            <pc:sldMk cId="1882398645" sldId="262"/>
            <ac:cxnSpMk id="71" creationId="{EE170FDE-7F6D-C15A-C0DA-2BF63A8FAFD4}"/>
          </ac:cxnSpMkLst>
        </pc:cxnChg>
        <pc:cxnChg chg="add mod">
          <ac:chgData name="Mahesh Karigoudar" userId="aee392fe-d52f-479c-9f96-f04d75de2987" providerId="ADAL" clId="{B7BB60FE-A10A-46F6-9623-5355C9C8D8D6}" dt="2024-08-01T12:45:53.319" v="148" actId="14100"/>
          <ac:cxnSpMkLst>
            <pc:docMk/>
            <pc:sldMk cId="1882398645" sldId="262"/>
            <ac:cxnSpMk id="75" creationId="{E61954F3-D8D2-3A32-7300-DC74921F9F24}"/>
          </ac:cxnSpMkLst>
        </pc:cxnChg>
        <pc:cxnChg chg="mod">
          <ac:chgData name="Mahesh Karigoudar" userId="aee392fe-d52f-479c-9f96-f04d75de2987" providerId="ADAL" clId="{B7BB60FE-A10A-46F6-9623-5355C9C8D8D6}" dt="2024-08-02T06:41:54.121" v="153"/>
          <ac:cxnSpMkLst>
            <pc:docMk/>
            <pc:sldMk cId="1882398645" sldId="262"/>
            <ac:cxnSpMk id="94" creationId="{56C7DB1B-8075-C614-AA11-95B9FDE517C4}"/>
          </ac:cxnSpMkLst>
        </pc:cxnChg>
        <pc:cxnChg chg="del">
          <ac:chgData name="Mahesh Karigoudar" userId="aee392fe-d52f-479c-9f96-f04d75de2987" providerId="ADAL" clId="{B7BB60FE-A10A-46F6-9623-5355C9C8D8D6}" dt="2024-08-01T12:30:24.610" v="77" actId="478"/>
          <ac:cxnSpMkLst>
            <pc:docMk/>
            <pc:sldMk cId="1882398645" sldId="262"/>
            <ac:cxnSpMk id="102" creationId="{8BBA01CF-313D-499D-A31D-906CFD6D52A9}"/>
          </ac:cxnSpMkLst>
        </pc:cxnChg>
        <pc:cxnChg chg="mod">
          <ac:chgData name="Mahesh Karigoudar" userId="aee392fe-d52f-479c-9f96-f04d75de2987" providerId="ADAL" clId="{B7BB60FE-A10A-46F6-9623-5355C9C8D8D6}" dt="2024-08-02T06:41:54.121" v="153"/>
          <ac:cxnSpMkLst>
            <pc:docMk/>
            <pc:sldMk cId="1882398645" sldId="262"/>
            <ac:cxnSpMk id="108" creationId="{5BE829CD-84DC-00D5-FCD1-9D119577C38B}"/>
          </ac:cxnSpMkLst>
        </pc:cxnChg>
        <pc:cxnChg chg="del">
          <ac:chgData name="Mahesh Karigoudar" userId="aee392fe-d52f-479c-9f96-f04d75de2987" providerId="ADAL" clId="{B7BB60FE-A10A-46F6-9623-5355C9C8D8D6}" dt="2024-08-01T12:30:22.556" v="76" actId="478"/>
          <ac:cxnSpMkLst>
            <pc:docMk/>
            <pc:sldMk cId="1882398645" sldId="262"/>
            <ac:cxnSpMk id="116" creationId="{775B2E35-641C-4FA9-8B45-DEF9A8970984}"/>
          </ac:cxnSpMkLst>
        </pc:cxnChg>
        <pc:cxnChg chg="mod">
          <ac:chgData name="Mahesh Karigoudar" userId="aee392fe-d52f-479c-9f96-f04d75de2987" providerId="ADAL" clId="{B7BB60FE-A10A-46F6-9623-5355C9C8D8D6}" dt="2024-08-02T06:41:54.121" v="153"/>
          <ac:cxnSpMkLst>
            <pc:docMk/>
            <pc:sldMk cId="1882398645" sldId="262"/>
            <ac:cxnSpMk id="117" creationId="{EE4AC53F-3A53-640E-4857-44EBD80563D3}"/>
          </ac:cxnSpMkLst>
        </pc:cxnChg>
        <pc:cxnChg chg="mod">
          <ac:chgData name="Mahesh Karigoudar" userId="aee392fe-d52f-479c-9f96-f04d75de2987" providerId="ADAL" clId="{B7BB60FE-A10A-46F6-9623-5355C9C8D8D6}" dt="2024-08-02T06:41:54.121" v="153"/>
          <ac:cxnSpMkLst>
            <pc:docMk/>
            <pc:sldMk cId="1882398645" sldId="262"/>
            <ac:cxnSpMk id="118" creationId="{4D2FE25C-521C-4932-B7FE-DE3EF40B226E}"/>
          </ac:cxnSpMkLst>
        </pc:cxnChg>
        <pc:cxnChg chg="mod">
          <ac:chgData name="Mahesh Karigoudar" userId="aee392fe-d52f-479c-9f96-f04d75de2987" providerId="ADAL" clId="{B7BB60FE-A10A-46F6-9623-5355C9C8D8D6}" dt="2024-08-02T06:41:54.121" v="153"/>
          <ac:cxnSpMkLst>
            <pc:docMk/>
            <pc:sldMk cId="1882398645" sldId="262"/>
            <ac:cxnSpMk id="120" creationId="{B7441EBC-7017-5CDD-576B-3238B132B760}"/>
          </ac:cxnSpMkLst>
        </pc:cxnChg>
        <pc:cxnChg chg="del mod">
          <ac:chgData name="Mahesh Karigoudar" userId="aee392fe-d52f-479c-9f96-f04d75de2987" providerId="ADAL" clId="{B7BB60FE-A10A-46F6-9623-5355C9C8D8D6}" dt="2024-08-01T12:30:14.659" v="73" actId="478"/>
          <ac:cxnSpMkLst>
            <pc:docMk/>
            <pc:sldMk cId="1882398645" sldId="262"/>
            <ac:cxnSpMk id="122" creationId="{947F9E9D-2E92-4781-BA77-8866B279C2C3}"/>
          </ac:cxnSpMkLst>
        </pc:cxnChg>
        <pc:cxnChg chg="del">
          <ac:chgData name="Mahesh Karigoudar" userId="aee392fe-d52f-479c-9f96-f04d75de2987" providerId="ADAL" clId="{B7BB60FE-A10A-46F6-9623-5355C9C8D8D6}" dt="2024-08-01T12:30:14.659" v="73" actId="478"/>
          <ac:cxnSpMkLst>
            <pc:docMk/>
            <pc:sldMk cId="1882398645" sldId="262"/>
            <ac:cxnSpMk id="123" creationId="{21B8696A-53F4-4844-855B-520C17E26957}"/>
          </ac:cxnSpMkLst>
        </pc:cxnChg>
        <pc:cxnChg chg="mod">
          <ac:chgData name="Mahesh Karigoudar" userId="aee392fe-d52f-479c-9f96-f04d75de2987" providerId="ADAL" clId="{B7BB60FE-A10A-46F6-9623-5355C9C8D8D6}" dt="2024-08-02T06:41:54.121" v="153"/>
          <ac:cxnSpMkLst>
            <pc:docMk/>
            <pc:sldMk cId="1882398645" sldId="262"/>
            <ac:cxnSpMk id="125" creationId="{4EF8252E-3169-3A04-1B23-8C08953FD17C}"/>
          </ac:cxnSpMkLst>
        </pc:cxnChg>
        <pc:cxnChg chg="mod">
          <ac:chgData name="Mahesh Karigoudar" userId="aee392fe-d52f-479c-9f96-f04d75de2987" providerId="ADAL" clId="{B7BB60FE-A10A-46F6-9623-5355C9C8D8D6}" dt="2024-08-02T06:41:54.121" v="153"/>
          <ac:cxnSpMkLst>
            <pc:docMk/>
            <pc:sldMk cId="1882398645" sldId="262"/>
            <ac:cxnSpMk id="126" creationId="{1B6A374F-67F8-AD76-03AB-9810DFA44420}"/>
          </ac:cxnSpMkLst>
        </pc:cxnChg>
        <pc:cxnChg chg="mod">
          <ac:chgData name="Mahesh Karigoudar" userId="aee392fe-d52f-479c-9f96-f04d75de2987" providerId="ADAL" clId="{B7BB60FE-A10A-46F6-9623-5355C9C8D8D6}" dt="2024-08-02T06:41:54.121" v="153"/>
          <ac:cxnSpMkLst>
            <pc:docMk/>
            <pc:sldMk cId="1882398645" sldId="262"/>
            <ac:cxnSpMk id="130" creationId="{F14CE943-AF72-554D-51A9-8F7C6EA759EE}"/>
          </ac:cxnSpMkLst>
        </pc:cxnChg>
        <pc:cxnChg chg="mod">
          <ac:chgData name="Mahesh Karigoudar" userId="aee392fe-d52f-479c-9f96-f04d75de2987" providerId="ADAL" clId="{B7BB60FE-A10A-46F6-9623-5355C9C8D8D6}" dt="2024-08-02T06:41:54.121" v="153"/>
          <ac:cxnSpMkLst>
            <pc:docMk/>
            <pc:sldMk cId="1882398645" sldId="262"/>
            <ac:cxnSpMk id="140" creationId="{FDD4A1B1-72E6-D6E1-9B75-72810380CA7B}"/>
          </ac:cxnSpMkLst>
        </pc:cxnChg>
        <pc:cxnChg chg="mod">
          <ac:chgData name="Mahesh Karigoudar" userId="aee392fe-d52f-479c-9f96-f04d75de2987" providerId="ADAL" clId="{B7BB60FE-A10A-46F6-9623-5355C9C8D8D6}" dt="2024-08-02T06:41:54.121" v="153"/>
          <ac:cxnSpMkLst>
            <pc:docMk/>
            <pc:sldMk cId="1882398645" sldId="262"/>
            <ac:cxnSpMk id="141" creationId="{F17F02F3-5706-482D-3C5F-E410F420E61D}"/>
          </ac:cxnSpMkLst>
        </pc:cxnChg>
        <pc:cxnChg chg="mod">
          <ac:chgData name="Mahesh Karigoudar" userId="aee392fe-d52f-479c-9f96-f04d75de2987" providerId="ADAL" clId="{B7BB60FE-A10A-46F6-9623-5355C9C8D8D6}" dt="2024-08-02T06:41:54.121" v="153"/>
          <ac:cxnSpMkLst>
            <pc:docMk/>
            <pc:sldMk cId="1882398645" sldId="262"/>
            <ac:cxnSpMk id="142" creationId="{277F7F70-C6FF-E371-1AE9-175EDAE4D946}"/>
          </ac:cxnSpMkLst>
        </pc:cxnChg>
        <pc:cxnChg chg="mod">
          <ac:chgData name="Mahesh Karigoudar" userId="aee392fe-d52f-479c-9f96-f04d75de2987" providerId="ADAL" clId="{B7BB60FE-A10A-46F6-9623-5355C9C8D8D6}" dt="2024-08-02T06:41:54.121" v="153"/>
          <ac:cxnSpMkLst>
            <pc:docMk/>
            <pc:sldMk cId="1882398645" sldId="262"/>
            <ac:cxnSpMk id="143" creationId="{BB668816-A4D9-1E25-41B0-1C30ED56886F}"/>
          </ac:cxnSpMkLst>
        </pc:cxnChg>
        <pc:cxnChg chg="mod">
          <ac:chgData name="Mahesh Karigoudar" userId="aee392fe-d52f-479c-9f96-f04d75de2987" providerId="ADAL" clId="{B7BB60FE-A10A-46F6-9623-5355C9C8D8D6}" dt="2024-08-02T06:41:54.121" v="153"/>
          <ac:cxnSpMkLst>
            <pc:docMk/>
            <pc:sldMk cId="1882398645" sldId="262"/>
            <ac:cxnSpMk id="145" creationId="{1F3763C3-DD03-4135-1D8F-4792880924DB}"/>
          </ac:cxnSpMkLst>
        </pc:cxnChg>
        <pc:cxnChg chg="mod">
          <ac:chgData name="Mahesh Karigoudar" userId="aee392fe-d52f-479c-9f96-f04d75de2987" providerId="ADAL" clId="{B7BB60FE-A10A-46F6-9623-5355C9C8D8D6}" dt="2024-08-02T06:41:54.121" v="153"/>
          <ac:cxnSpMkLst>
            <pc:docMk/>
            <pc:sldMk cId="1882398645" sldId="262"/>
            <ac:cxnSpMk id="148" creationId="{6AC4EC4E-23AF-ED6E-ED5F-527F5807DCA7}"/>
          </ac:cxnSpMkLst>
        </pc:cxnChg>
        <pc:cxnChg chg="mod">
          <ac:chgData name="Mahesh Karigoudar" userId="aee392fe-d52f-479c-9f96-f04d75de2987" providerId="ADAL" clId="{B7BB60FE-A10A-46F6-9623-5355C9C8D8D6}" dt="2024-08-02T06:41:54.121" v="153"/>
          <ac:cxnSpMkLst>
            <pc:docMk/>
            <pc:sldMk cId="1882398645" sldId="262"/>
            <ac:cxnSpMk id="149" creationId="{042267A4-0848-0D57-25F3-0B68AE37A9F2}"/>
          </ac:cxnSpMkLst>
        </pc:cxnChg>
        <pc:cxnChg chg="mod">
          <ac:chgData name="Mahesh Karigoudar" userId="aee392fe-d52f-479c-9f96-f04d75de2987" providerId="ADAL" clId="{B7BB60FE-A10A-46F6-9623-5355C9C8D8D6}" dt="2024-08-02T06:41:54.121" v="153"/>
          <ac:cxnSpMkLst>
            <pc:docMk/>
            <pc:sldMk cId="1882398645" sldId="262"/>
            <ac:cxnSpMk id="151" creationId="{399F5DFF-A2A3-293F-15D1-7902CE86F70A}"/>
          </ac:cxnSpMkLst>
        </pc:cxnChg>
        <pc:cxnChg chg="mod">
          <ac:chgData name="Mahesh Karigoudar" userId="aee392fe-d52f-479c-9f96-f04d75de2987" providerId="ADAL" clId="{B7BB60FE-A10A-46F6-9623-5355C9C8D8D6}" dt="2024-08-02T06:41:54.121" v="153"/>
          <ac:cxnSpMkLst>
            <pc:docMk/>
            <pc:sldMk cId="1882398645" sldId="262"/>
            <ac:cxnSpMk id="152" creationId="{50B0C579-4E43-CCEF-E7C2-0161FABA60EF}"/>
          </ac:cxnSpMkLst>
        </pc:cxnChg>
        <pc:cxnChg chg="mod">
          <ac:chgData name="Mahesh Karigoudar" userId="aee392fe-d52f-479c-9f96-f04d75de2987" providerId="ADAL" clId="{B7BB60FE-A10A-46F6-9623-5355C9C8D8D6}" dt="2024-08-02T06:41:54.121" v="153"/>
          <ac:cxnSpMkLst>
            <pc:docMk/>
            <pc:sldMk cId="1882398645" sldId="262"/>
            <ac:cxnSpMk id="153" creationId="{9BFACE48-0653-434E-0FBB-51D3E23F8DC9}"/>
          </ac:cxnSpMkLst>
        </pc:cxnChg>
        <pc:cxnChg chg="mod">
          <ac:chgData name="Mahesh Karigoudar" userId="aee392fe-d52f-479c-9f96-f04d75de2987" providerId="ADAL" clId="{B7BB60FE-A10A-46F6-9623-5355C9C8D8D6}" dt="2024-08-02T06:41:54.121" v="153"/>
          <ac:cxnSpMkLst>
            <pc:docMk/>
            <pc:sldMk cId="1882398645" sldId="262"/>
            <ac:cxnSpMk id="154" creationId="{A9B7A211-CEF7-3DC4-1388-470BE06899FE}"/>
          </ac:cxnSpMkLst>
        </pc:cxnChg>
        <pc:cxnChg chg="mod">
          <ac:chgData name="Mahesh Karigoudar" userId="aee392fe-d52f-479c-9f96-f04d75de2987" providerId="ADAL" clId="{B7BB60FE-A10A-46F6-9623-5355C9C8D8D6}" dt="2024-08-02T06:41:54.121" v="153"/>
          <ac:cxnSpMkLst>
            <pc:docMk/>
            <pc:sldMk cId="1882398645" sldId="262"/>
            <ac:cxnSpMk id="156" creationId="{59471005-3AFE-0669-80B0-D6FB466232E9}"/>
          </ac:cxnSpMkLst>
        </pc:cxnChg>
        <pc:cxnChg chg="mod">
          <ac:chgData name="Mahesh Karigoudar" userId="aee392fe-d52f-479c-9f96-f04d75de2987" providerId="ADAL" clId="{B7BB60FE-A10A-46F6-9623-5355C9C8D8D6}" dt="2024-08-02T06:41:54.121" v="153"/>
          <ac:cxnSpMkLst>
            <pc:docMk/>
            <pc:sldMk cId="1882398645" sldId="262"/>
            <ac:cxnSpMk id="158" creationId="{3A8E41D9-5DE6-95C8-6B70-C95B9D49A562}"/>
          </ac:cxnSpMkLst>
        </pc:cxnChg>
        <pc:cxnChg chg="mod">
          <ac:chgData name="Mahesh Karigoudar" userId="aee392fe-d52f-479c-9f96-f04d75de2987" providerId="ADAL" clId="{B7BB60FE-A10A-46F6-9623-5355C9C8D8D6}" dt="2024-08-02T06:41:54.121" v="153"/>
          <ac:cxnSpMkLst>
            <pc:docMk/>
            <pc:sldMk cId="1882398645" sldId="262"/>
            <ac:cxnSpMk id="163" creationId="{D9A801A3-46D6-AA04-5B79-B169471227B9}"/>
          </ac:cxnSpMkLst>
        </pc:cxnChg>
        <pc:cxnChg chg="mod">
          <ac:chgData name="Mahesh Karigoudar" userId="aee392fe-d52f-479c-9f96-f04d75de2987" providerId="ADAL" clId="{B7BB60FE-A10A-46F6-9623-5355C9C8D8D6}" dt="2024-08-02T06:41:54.121" v="153"/>
          <ac:cxnSpMkLst>
            <pc:docMk/>
            <pc:sldMk cId="1882398645" sldId="262"/>
            <ac:cxnSpMk id="171" creationId="{E36CB809-281E-F77A-4693-9731BC225594}"/>
          </ac:cxnSpMkLst>
        </pc:cxnChg>
        <pc:cxnChg chg="mod">
          <ac:chgData name="Mahesh Karigoudar" userId="aee392fe-d52f-479c-9f96-f04d75de2987" providerId="ADAL" clId="{B7BB60FE-A10A-46F6-9623-5355C9C8D8D6}" dt="2024-08-02T06:41:54.121" v="153"/>
          <ac:cxnSpMkLst>
            <pc:docMk/>
            <pc:sldMk cId="1882398645" sldId="262"/>
            <ac:cxnSpMk id="173" creationId="{5995921E-E716-C1DA-E20F-264816B4DF91}"/>
          </ac:cxnSpMkLst>
        </pc:cxnChg>
        <pc:cxnChg chg="mod">
          <ac:chgData name="Mahesh Karigoudar" userId="aee392fe-d52f-479c-9f96-f04d75de2987" providerId="ADAL" clId="{B7BB60FE-A10A-46F6-9623-5355C9C8D8D6}" dt="2024-08-02T06:41:54.121" v="153"/>
          <ac:cxnSpMkLst>
            <pc:docMk/>
            <pc:sldMk cId="1882398645" sldId="262"/>
            <ac:cxnSpMk id="174" creationId="{975C0362-6756-2D19-04A9-9A0E97DA3DF7}"/>
          </ac:cxnSpMkLst>
        </pc:cxnChg>
        <pc:cxnChg chg="mod">
          <ac:chgData name="Mahesh Karigoudar" userId="aee392fe-d52f-479c-9f96-f04d75de2987" providerId="ADAL" clId="{B7BB60FE-A10A-46F6-9623-5355C9C8D8D6}" dt="2024-08-02T06:41:54.121" v="153"/>
          <ac:cxnSpMkLst>
            <pc:docMk/>
            <pc:sldMk cId="1882398645" sldId="262"/>
            <ac:cxnSpMk id="178" creationId="{DA7784D7-3423-BBDC-F30E-A12D00F5F7AB}"/>
          </ac:cxnSpMkLst>
        </pc:cxnChg>
        <pc:cxnChg chg="mod">
          <ac:chgData name="Mahesh Karigoudar" userId="aee392fe-d52f-479c-9f96-f04d75de2987" providerId="ADAL" clId="{B7BB60FE-A10A-46F6-9623-5355C9C8D8D6}" dt="2024-08-02T06:41:54.121" v="153"/>
          <ac:cxnSpMkLst>
            <pc:docMk/>
            <pc:sldMk cId="1882398645" sldId="262"/>
            <ac:cxnSpMk id="179" creationId="{7FC8372D-BB9A-5218-B6A0-E2BAB15E470B}"/>
          </ac:cxnSpMkLst>
        </pc:cxnChg>
        <pc:cxnChg chg="mod">
          <ac:chgData name="Mahesh Karigoudar" userId="aee392fe-d52f-479c-9f96-f04d75de2987" providerId="ADAL" clId="{B7BB60FE-A10A-46F6-9623-5355C9C8D8D6}" dt="2024-08-02T06:41:54.121" v="153"/>
          <ac:cxnSpMkLst>
            <pc:docMk/>
            <pc:sldMk cId="1882398645" sldId="262"/>
            <ac:cxnSpMk id="187" creationId="{F5FD7B8A-C4AA-7830-49CA-954713FDDD16}"/>
          </ac:cxnSpMkLst>
        </pc:cxnChg>
        <pc:cxnChg chg="mod">
          <ac:chgData name="Mahesh Karigoudar" userId="aee392fe-d52f-479c-9f96-f04d75de2987" providerId="ADAL" clId="{B7BB60FE-A10A-46F6-9623-5355C9C8D8D6}" dt="2024-08-02T06:41:54.121" v="153"/>
          <ac:cxnSpMkLst>
            <pc:docMk/>
            <pc:sldMk cId="1882398645" sldId="262"/>
            <ac:cxnSpMk id="188" creationId="{3C60BED3-ED0A-307D-E4C7-17027C141BD4}"/>
          </ac:cxnSpMkLst>
        </pc:cxnChg>
        <pc:cxnChg chg="mod">
          <ac:chgData name="Mahesh Karigoudar" userId="aee392fe-d52f-479c-9f96-f04d75de2987" providerId="ADAL" clId="{B7BB60FE-A10A-46F6-9623-5355C9C8D8D6}" dt="2024-08-02T06:41:54.121" v="153"/>
          <ac:cxnSpMkLst>
            <pc:docMk/>
            <pc:sldMk cId="1882398645" sldId="262"/>
            <ac:cxnSpMk id="189" creationId="{E102EBC0-667D-D7AF-FA1E-7291BAAEB2A5}"/>
          </ac:cxnSpMkLst>
        </pc:cxnChg>
        <pc:cxnChg chg="mod">
          <ac:chgData name="Mahesh Karigoudar" userId="aee392fe-d52f-479c-9f96-f04d75de2987" providerId="ADAL" clId="{B7BB60FE-A10A-46F6-9623-5355C9C8D8D6}" dt="2024-08-02T06:41:54.121" v="153"/>
          <ac:cxnSpMkLst>
            <pc:docMk/>
            <pc:sldMk cId="1882398645" sldId="262"/>
            <ac:cxnSpMk id="190" creationId="{FE8F0B70-C2A0-6A04-2C53-D3B48474D602}"/>
          </ac:cxnSpMkLst>
        </pc:cxnChg>
        <pc:cxnChg chg="mod">
          <ac:chgData name="Mahesh Karigoudar" userId="aee392fe-d52f-479c-9f96-f04d75de2987" providerId="ADAL" clId="{B7BB60FE-A10A-46F6-9623-5355C9C8D8D6}" dt="2024-08-02T06:41:54.121" v="153"/>
          <ac:cxnSpMkLst>
            <pc:docMk/>
            <pc:sldMk cId="1882398645" sldId="262"/>
            <ac:cxnSpMk id="2048" creationId="{956A2877-A698-7978-84DA-39284BB290A0}"/>
          </ac:cxnSpMkLst>
        </pc:cxnChg>
        <pc:cxnChg chg="mod">
          <ac:chgData name="Mahesh Karigoudar" userId="aee392fe-d52f-479c-9f96-f04d75de2987" providerId="ADAL" clId="{B7BB60FE-A10A-46F6-9623-5355C9C8D8D6}" dt="2024-08-02T06:41:54.121" v="153"/>
          <ac:cxnSpMkLst>
            <pc:docMk/>
            <pc:sldMk cId="1882398645" sldId="262"/>
            <ac:cxnSpMk id="2049" creationId="{8DAF012D-26F2-87EC-AAE1-F3E484477636}"/>
          </ac:cxnSpMkLst>
        </pc:cxnChg>
        <pc:cxnChg chg="mod">
          <ac:chgData name="Mahesh Karigoudar" userId="aee392fe-d52f-479c-9f96-f04d75de2987" providerId="ADAL" clId="{B7BB60FE-A10A-46F6-9623-5355C9C8D8D6}" dt="2024-08-02T06:41:54.121" v="153"/>
          <ac:cxnSpMkLst>
            <pc:docMk/>
            <pc:sldMk cId="1882398645" sldId="262"/>
            <ac:cxnSpMk id="2050" creationId="{D8B75264-43D2-E7AA-36C6-294BA52AB044}"/>
          </ac:cxnSpMkLst>
        </pc:cxnChg>
      </pc:sldChg>
      <pc:sldChg chg="add del">
        <pc:chgData name="Mahesh Karigoudar" userId="aee392fe-d52f-479c-9f96-f04d75de2987" providerId="ADAL" clId="{B7BB60FE-A10A-46F6-9623-5355C9C8D8D6}" dt="2024-08-02T07:16:35.368" v="191" actId="47"/>
        <pc:sldMkLst>
          <pc:docMk/>
          <pc:sldMk cId="3342250309" sldId="263"/>
        </pc:sldMkLst>
      </pc:sldChg>
      <pc:sldChg chg="add">
        <pc:chgData name="Mahesh Karigoudar" userId="aee392fe-d52f-479c-9f96-f04d75de2987" providerId="ADAL" clId="{B7BB60FE-A10A-46F6-9623-5355C9C8D8D6}" dt="2024-08-02T06:21:57.120" v="152" actId="2890"/>
        <pc:sldMkLst>
          <pc:docMk/>
          <pc:sldMk cId="346659938" sldId="264"/>
        </pc:sldMkLst>
      </pc:sldChg>
      <pc:sldChg chg="addSp delSp modSp new mod">
        <pc:chgData name="Mahesh Karigoudar" userId="aee392fe-d52f-479c-9f96-f04d75de2987" providerId="ADAL" clId="{B7BB60FE-A10A-46F6-9623-5355C9C8D8D6}" dt="2024-08-02T06:59:31.644" v="173" actId="478"/>
        <pc:sldMkLst>
          <pc:docMk/>
          <pc:sldMk cId="214365455" sldId="265"/>
        </pc:sldMkLst>
        <pc:spChg chg="del">
          <ac:chgData name="Mahesh Karigoudar" userId="aee392fe-d52f-479c-9f96-f04d75de2987" providerId="ADAL" clId="{B7BB60FE-A10A-46F6-9623-5355C9C8D8D6}" dt="2024-08-02T06:42:09.878" v="157" actId="478"/>
          <ac:spMkLst>
            <pc:docMk/>
            <pc:sldMk cId="214365455" sldId="265"/>
            <ac:spMk id="2" creationId="{BA9C15E1-A07A-9C7C-3FF6-273B723DAD21}"/>
          </ac:spMkLst>
        </pc:spChg>
        <pc:spChg chg="del">
          <ac:chgData name="Mahesh Karigoudar" userId="aee392fe-d52f-479c-9f96-f04d75de2987" providerId="ADAL" clId="{B7BB60FE-A10A-46F6-9623-5355C9C8D8D6}" dt="2024-08-02T06:42:05.369" v="156" actId="478"/>
          <ac:spMkLst>
            <pc:docMk/>
            <pc:sldMk cId="214365455" sldId="265"/>
            <ac:spMk id="3" creationId="{ACDDA8F8-A89C-8EAC-32F3-1F056630AA51}"/>
          </ac:spMkLst>
        </pc:spChg>
        <pc:spChg chg="mod">
          <ac:chgData name="Mahesh Karigoudar" userId="aee392fe-d52f-479c-9f96-f04d75de2987" providerId="ADAL" clId="{B7BB60FE-A10A-46F6-9623-5355C9C8D8D6}" dt="2024-08-02T06:42:13.489" v="158"/>
          <ac:spMkLst>
            <pc:docMk/>
            <pc:sldMk cId="214365455" sldId="265"/>
            <ac:spMk id="6" creationId="{69ABBAB6-323D-6EA4-6CC4-8C0F6FD2AA69}"/>
          </ac:spMkLst>
        </pc:spChg>
        <pc:spChg chg="mod">
          <ac:chgData name="Mahesh Karigoudar" userId="aee392fe-d52f-479c-9f96-f04d75de2987" providerId="ADAL" clId="{B7BB60FE-A10A-46F6-9623-5355C9C8D8D6}" dt="2024-08-02T06:42:13.489" v="158"/>
          <ac:spMkLst>
            <pc:docMk/>
            <pc:sldMk cId="214365455" sldId="265"/>
            <ac:spMk id="8" creationId="{75F305D7-5E2D-23D2-C6A9-2E0B95803869}"/>
          </ac:spMkLst>
        </pc:spChg>
        <pc:spChg chg="mod">
          <ac:chgData name="Mahesh Karigoudar" userId="aee392fe-d52f-479c-9f96-f04d75de2987" providerId="ADAL" clId="{B7BB60FE-A10A-46F6-9623-5355C9C8D8D6}" dt="2024-08-02T06:42:13.489" v="158"/>
          <ac:spMkLst>
            <pc:docMk/>
            <pc:sldMk cId="214365455" sldId="265"/>
            <ac:spMk id="9" creationId="{1ECCBEBE-EE0A-DA53-3051-C04EAC2F4306}"/>
          </ac:spMkLst>
        </pc:spChg>
        <pc:spChg chg="mod">
          <ac:chgData name="Mahesh Karigoudar" userId="aee392fe-d52f-479c-9f96-f04d75de2987" providerId="ADAL" clId="{B7BB60FE-A10A-46F6-9623-5355C9C8D8D6}" dt="2024-08-02T06:42:13.489" v="158"/>
          <ac:spMkLst>
            <pc:docMk/>
            <pc:sldMk cId="214365455" sldId="265"/>
            <ac:spMk id="10" creationId="{4BFCE57F-8063-93FD-F6A9-66908D839B55}"/>
          </ac:spMkLst>
        </pc:spChg>
        <pc:spChg chg="mod">
          <ac:chgData name="Mahesh Karigoudar" userId="aee392fe-d52f-479c-9f96-f04d75de2987" providerId="ADAL" clId="{B7BB60FE-A10A-46F6-9623-5355C9C8D8D6}" dt="2024-08-02T06:42:13.489" v="158"/>
          <ac:spMkLst>
            <pc:docMk/>
            <pc:sldMk cId="214365455" sldId="265"/>
            <ac:spMk id="11" creationId="{A7B77D46-1A5B-1514-6878-BC2AA2895102}"/>
          </ac:spMkLst>
        </pc:spChg>
        <pc:spChg chg="mod">
          <ac:chgData name="Mahesh Karigoudar" userId="aee392fe-d52f-479c-9f96-f04d75de2987" providerId="ADAL" clId="{B7BB60FE-A10A-46F6-9623-5355C9C8D8D6}" dt="2024-08-02T06:42:13.489" v="158"/>
          <ac:spMkLst>
            <pc:docMk/>
            <pc:sldMk cId="214365455" sldId="265"/>
            <ac:spMk id="12" creationId="{2C66D6BF-2E16-34E5-164F-8DA16D9FD83D}"/>
          </ac:spMkLst>
        </pc:spChg>
        <pc:spChg chg="mod">
          <ac:chgData name="Mahesh Karigoudar" userId="aee392fe-d52f-479c-9f96-f04d75de2987" providerId="ADAL" clId="{B7BB60FE-A10A-46F6-9623-5355C9C8D8D6}" dt="2024-08-02T06:42:13.489" v="158"/>
          <ac:spMkLst>
            <pc:docMk/>
            <pc:sldMk cId="214365455" sldId="265"/>
            <ac:spMk id="13" creationId="{EA6BBBA8-EF73-19B5-7E2E-CBEB2CE20756}"/>
          </ac:spMkLst>
        </pc:spChg>
        <pc:spChg chg="del mod">
          <ac:chgData name="Mahesh Karigoudar" userId="aee392fe-d52f-479c-9f96-f04d75de2987" providerId="ADAL" clId="{B7BB60FE-A10A-46F6-9623-5355C9C8D8D6}" dt="2024-08-02T06:46:30.134" v="159" actId="478"/>
          <ac:spMkLst>
            <pc:docMk/>
            <pc:sldMk cId="214365455" sldId="265"/>
            <ac:spMk id="18" creationId="{3EA851F6-9F63-3E13-7C6F-D6428602C60A}"/>
          </ac:spMkLst>
        </pc:spChg>
        <pc:spChg chg="mod">
          <ac:chgData name="Mahesh Karigoudar" userId="aee392fe-d52f-479c-9f96-f04d75de2987" providerId="ADAL" clId="{B7BB60FE-A10A-46F6-9623-5355C9C8D8D6}" dt="2024-08-02T06:42:13.489" v="158"/>
          <ac:spMkLst>
            <pc:docMk/>
            <pc:sldMk cId="214365455" sldId="265"/>
            <ac:spMk id="19" creationId="{E0AF822F-E7A2-3ADF-BAA8-ABD2FAD03EA0}"/>
          </ac:spMkLst>
        </pc:spChg>
        <pc:spChg chg="mod">
          <ac:chgData name="Mahesh Karigoudar" userId="aee392fe-d52f-479c-9f96-f04d75de2987" providerId="ADAL" clId="{B7BB60FE-A10A-46F6-9623-5355C9C8D8D6}" dt="2024-08-02T06:42:13.489" v="158"/>
          <ac:spMkLst>
            <pc:docMk/>
            <pc:sldMk cId="214365455" sldId="265"/>
            <ac:spMk id="22" creationId="{334CB6E8-94AD-12E4-95EA-EF90E5D7DC07}"/>
          </ac:spMkLst>
        </pc:spChg>
        <pc:spChg chg="mod">
          <ac:chgData name="Mahesh Karigoudar" userId="aee392fe-d52f-479c-9f96-f04d75de2987" providerId="ADAL" clId="{B7BB60FE-A10A-46F6-9623-5355C9C8D8D6}" dt="2024-08-02T06:42:13.489" v="158"/>
          <ac:spMkLst>
            <pc:docMk/>
            <pc:sldMk cId="214365455" sldId="265"/>
            <ac:spMk id="25" creationId="{EE807577-9CE0-4778-6101-603526CEC08C}"/>
          </ac:spMkLst>
        </pc:spChg>
        <pc:spChg chg="mod">
          <ac:chgData name="Mahesh Karigoudar" userId="aee392fe-d52f-479c-9f96-f04d75de2987" providerId="ADAL" clId="{B7BB60FE-A10A-46F6-9623-5355C9C8D8D6}" dt="2024-08-02T06:42:13.489" v="158"/>
          <ac:spMkLst>
            <pc:docMk/>
            <pc:sldMk cId="214365455" sldId="265"/>
            <ac:spMk id="26" creationId="{501102A4-7DF6-24A1-C65E-D165CDBE3B33}"/>
          </ac:spMkLst>
        </pc:spChg>
        <pc:spChg chg="mod">
          <ac:chgData name="Mahesh Karigoudar" userId="aee392fe-d52f-479c-9f96-f04d75de2987" providerId="ADAL" clId="{B7BB60FE-A10A-46F6-9623-5355C9C8D8D6}" dt="2024-08-02T06:42:13.489" v="158"/>
          <ac:spMkLst>
            <pc:docMk/>
            <pc:sldMk cId="214365455" sldId="265"/>
            <ac:spMk id="27" creationId="{364C45A6-5660-C3FF-1123-F40BB6CD8F35}"/>
          </ac:spMkLst>
        </pc:spChg>
        <pc:spChg chg="mod">
          <ac:chgData name="Mahesh Karigoudar" userId="aee392fe-d52f-479c-9f96-f04d75de2987" providerId="ADAL" clId="{B7BB60FE-A10A-46F6-9623-5355C9C8D8D6}" dt="2024-08-02T06:42:13.489" v="158"/>
          <ac:spMkLst>
            <pc:docMk/>
            <pc:sldMk cId="214365455" sldId="265"/>
            <ac:spMk id="28" creationId="{56778536-D0E2-2319-1EE9-F7CDE8C1FC34}"/>
          </ac:spMkLst>
        </pc:spChg>
        <pc:spChg chg="mod">
          <ac:chgData name="Mahesh Karigoudar" userId="aee392fe-d52f-479c-9f96-f04d75de2987" providerId="ADAL" clId="{B7BB60FE-A10A-46F6-9623-5355C9C8D8D6}" dt="2024-08-02T06:42:13.489" v="158"/>
          <ac:spMkLst>
            <pc:docMk/>
            <pc:sldMk cId="214365455" sldId="265"/>
            <ac:spMk id="29" creationId="{C25A06EE-24DE-8786-ACD5-6A8C55EB6EC6}"/>
          </ac:spMkLst>
        </pc:spChg>
        <pc:spChg chg="mod">
          <ac:chgData name="Mahesh Karigoudar" userId="aee392fe-d52f-479c-9f96-f04d75de2987" providerId="ADAL" clId="{B7BB60FE-A10A-46F6-9623-5355C9C8D8D6}" dt="2024-08-02T06:42:13.489" v="158"/>
          <ac:spMkLst>
            <pc:docMk/>
            <pc:sldMk cId="214365455" sldId="265"/>
            <ac:spMk id="30" creationId="{B40A3602-7B9D-6482-8322-91C616860804}"/>
          </ac:spMkLst>
        </pc:spChg>
        <pc:spChg chg="mod">
          <ac:chgData name="Mahesh Karigoudar" userId="aee392fe-d52f-479c-9f96-f04d75de2987" providerId="ADAL" clId="{B7BB60FE-A10A-46F6-9623-5355C9C8D8D6}" dt="2024-08-02T06:42:13.489" v="158"/>
          <ac:spMkLst>
            <pc:docMk/>
            <pc:sldMk cId="214365455" sldId="265"/>
            <ac:spMk id="31" creationId="{30DC7BA9-7A9D-5870-C0AD-DEE81E29043D}"/>
          </ac:spMkLst>
        </pc:spChg>
        <pc:spChg chg="mod">
          <ac:chgData name="Mahesh Karigoudar" userId="aee392fe-d52f-479c-9f96-f04d75de2987" providerId="ADAL" clId="{B7BB60FE-A10A-46F6-9623-5355C9C8D8D6}" dt="2024-08-02T06:42:13.489" v="158"/>
          <ac:spMkLst>
            <pc:docMk/>
            <pc:sldMk cId="214365455" sldId="265"/>
            <ac:spMk id="36" creationId="{CDE64FA1-F465-A34C-44F0-CD2057AC1E8C}"/>
          </ac:spMkLst>
        </pc:spChg>
        <pc:spChg chg="mod">
          <ac:chgData name="Mahesh Karigoudar" userId="aee392fe-d52f-479c-9f96-f04d75de2987" providerId="ADAL" clId="{B7BB60FE-A10A-46F6-9623-5355C9C8D8D6}" dt="2024-08-02T06:42:13.489" v="158"/>
          <ac:spMkLst>
            <pc:docMk/>
            <pc:sldMk cId="214365455" sldId="265"/>
            <ac:spMk id="39" creationId="{FC67E10C-6E21-B9E9-C9A9-0E7BFCC984BA}"/>
          </ac:spMkLst>
        </pc:spChg>
        <pc:spChg chg="mod">
          <ac:chgData name="Mahesh Karigoudar" userId="aee392fe-d52f-479c-9f96-f04d75de2987" providerId="ADAL" clId="{B7BB60FE-A10A-46F6-9623-5355C9C8D8D6}" dt="2024-08-02T06:42:13.489" v="158"/>
          <ac:spMkLst>
            <pc:docMk/>
            <pc:sldMk cId="214365455" sldId="265"/>
            <ac:spMk id="42" creationId="{411671AC-BF4F-E98D-3587-558ED649E2DC}"/>
          </ac:spMkLst>
        </pc:spChg>
        <pc:spChg chg="mod">
          <ac:chgData name="Mahesh Karigoudar" userId="aee392fe-d52f-479c-9f96-f04d75de2987" providerId="ADAL" clId="{B7BB60FE-A10A-46F6-9623-5355C9C8D8D6}" dt="2024-08-02T06:42:13.489" v="158"/>
          <ac:spMkLst>
            <pc:docMk/>
            <pc:sldMk cId="214365455" sldId="265"/>
            <ac:spMk id="47" creationId="{9A480314-CB94-07CA-2526-B9785DE8512D}"/>
          </ac:spMkLst>
        </pc:spChg>
        <pc:spChg chg="mod">
          <ac:chgData name="Mahesh Karigoudar" userId="aee392fe-d52f-479c-9f96-f04d75de2987" providerId="ADAL" clId="{B7BB60FE-A10A-46F6-9623-5355C9C8D8D6}" dt="2024-08-02T06:42:13.489" v="158"/>
          <ac:spMkLst>
            <pc:docMk/>
            <pc:sldMk cId="214365455" sldId="265"/>
            <ac:spMk id="49" creationId="{4B7FAE41-76CC-FA10-91B2-C3686B11B896}"/>
          </ac:spMkLst>
        </pc:spChg>
        <pc:spChg chg="mod">
          <ac:chgData name="Mahesh Karigoudar" userId="aee392fe-d52f-479c-9f96-f04d75de2987" providerId="ADAL" clId="{B7BB60FE-A10A-46F6-9623-5355C9C8D8D6}" dt="2024-08-02T06:42:13.489" v="158"/>
          <ac:spMkLst>
            <pc:docMk/>
            <pc:sldMk cId="214365455" sldId="265"/>
            <ac:spMk id="52" creationId="{482D32C7-4A0B-C368-5184-0D723F178B78}"/>
          </ac:spMkLst>
        </pc:spChg>
        <pc:spChg chg="mod">
          <ac:chgData name="Mahesh Karigoudar" userId="aee392fe-d52f-479c-9f96-f04d75de2987" providerId="ADAL" clId="{B7BB60FE-A10A-46F6-9623-5355C9C8D8D6}" dt="2024-08-02T06:42:13.489" v="158"/>
          <ac:spMkLst>
            <pc:docMk/>
            <pc:sldMk cId="214365455" sldId="265"/>
            <ac:spMk id="53" creationId="{D62BC0CE-4746-91CB-773C-7E7F57CD8DC7}"/>
          </ac:spMkLst>
        </pc:spChg>
        <pc:spChg chg="mod">
          <ac:chgData name="Mahesh Karigoudar" userId="aee392fe-d52f-479c-9f96-f04d75de2987" providerId="ADAL" clId="{B7BB60FE-A10A-46F6-9623-5355C9C8D8D6}" dt="2024-08-02T06:42:13.489" v="158"/>
          <ac:spMkLst>
            <pc:docMk/>
            <pc:sldMk cId="214365455" sldId="265"/>
            <ac:spMk id="54" creationId="{DA5AB3FC-094F-4F6E-899C-46D67D375821}"/>
          </ac:spMkLst>
        </pc:spChg>
        <pc:spChg chg="mod">
          <ac:chgData name="Mahesh Karigoudar" userId="aee392fe-d52f-479c-9f96-f04d75de2987" providerId="ADAL" clId="{B7BB60FE-A10A-46F6-9623-5355C9C8D8D6}" dt="2024-08-02T06:42:13.489" v="158"/>
          <ac:spMkLst>
            <pc:docMk/>
            <pc:sldMk cId="214365455" sldId="265"/>
            <ac:spMk id="56" creationId="{DE9EAE61-8A79-CB5F-DFA2-7AEFF7E0B1A8}"/>
          </ac:spMkLst>
        </pc:spChg>
        <pc:spChg chg="mod">
          <ac:chgData name="Mahesh Karigoudar" userId="aee392fe-d52f-479c-9f96-f04d75de2987" providerId="ADAL" clId="{B7BB60FE-A10A-46F6-9623-5355C9C8D8D6}" dt="2024-08-02T06:42:13.489" v="158"/>
          <ac:spMkLst>
            <pc:docMk/>
            <pc:sldMk cId="214365455" sldId="265"/>
            <ac:spMk id="57" creationId="{DAC6C61E-1049-1E5E-5CB5-023A21E42046}"/>
          </ac:spMkLst>
        </pc:spChg>
        <pc:spChg chg="mod">
          <ac:chgData name="Mahesh Karigoudar" userId="aee392fe-d52f-479c-9f96-f04d75de2987" providerId="ADAL" clId="{B7BB60FE-A10A-46F6-9623-5355C9C8D8D6}" dt="2024-08-02T06:42:13.489" v="158"/>
          <ac:spMkLst>
            <pc:docMk/>
            <pc:sldMk cId="214365455" sldId="265"/>
            <ac:spMk id="58" creationId="{5A1849D4-1B7E-86FC-4271-6914C58366A4}"/>
          </ac:spMkLst>
        </pc:spChg>
        <pc:spChg chg="mod">
          <ac:chgData name="Mahesh Karigoudar" userId="aee392fe-d52f-479c-9f96-f04d75de2987" providerId="ADAL" clId="{B7BB60FE-A10A-46F6-9623-5355C9C8D8D6}" dt="2024-08-02T06:42:13.489" v="158"/>
          <ac:spMkLst>
            <pc:docMk/>
            <pc:sldMk cId="214365455" sldId="265"/>
            <ac:spMk id="59" creationId="{7B1A4265-8BB8-F045-B049-6164670EE451}"/>
          </ac:spMkLst>
        </pc:spChg>
        <pc:spChg chg="mod">
          <ac:chgData name="Mahesh Karigoudar" userId="aee392fe-d52f-479c-9f96-f04d75de2987" providerId="ADAL" clId="{B7BB60FE-A10A-46F6-9623-5355C9C8D8D6}" dt="2024-08-02T06:42:13.489" v="158"/>
          <ac:spMkLst>
            <pc:docMk/>
            <pc:sldMk cId="214365455" sldId="265"/>
            <ac:spMk id="60" creationId="{DF3025E2-A2DE-0EBB-5FDC-0BF88E25FC26}"/>
          </ac:spMkLst>
        </pc:spChg>
        <pc:spChg chg="mod">
          <ac:chgData name="Mahesh Karigoudar" userId="aee392fe-d52f-479c-9f96-f04d75de2987" providerId="ADAL" clId="{B7BB60FE-A10A-46F6-9623-5355C9C8D8D6}" dt="2024-08-02T06:42:13.489" v="158"/>
          <ac:spMkLst>
            <pc:docMk/>
            <pc:sldMk cId="214365455" sldId="265"/>
            <ac:spMk id="61" creationId="{4DDA8BEF-DF77-79F3-9D0B-C79879704894}"/>
          </ac:spMkLst>
        </pc:spChg>
        <pc:spChg chg="mod">
          <ac:chgData name="Mahesh Karigoudar" userId="aee392fe-d52f-479c-9f96-f04d75de2987" providerId="ADAL" clId="{B7BB60FE-A10A-46F6-9623-5355C9C8D8D6}" dt="2024-08-02T06:42:13.489" v="158"/>
          <ac:spMkLst>
            <pc:docMk/>
            <pc:sldMk cId="214365455" sldId="265"/>
            <ac:spMk id="62" creationId="{53E569D6-CF8F-39A7-64D7-AD2644494B97}"/>
          </ac:spMkLst>
        </pc:spChg>
        <pc:spChg chg="mod">
          <ac:chgData name="Mahesh Karigoudar" userId="aee392fe-d52f-479c-9f96-f04d75de2987" providerId="ADAL" clId="{B7BB60FE-A10A-46F6-9623-5355C9C8D8D6}" dt="2024-08-02T06:42:13.489" v="158"/>
          <ac:spMkLst>
            <pc:docMk/>
            <pc:sldMk cId="214365455" sldId="265"/>
            <ac:spMk id="64" creationId="{6B6E47E7-E3DF-0424-B739-86DFD0DD2595}"/>
          </ac:spMkLst>
        </pc:spChg>
        <pc:spChg chg="mod">
          <ac:chgData name="Mahesh Karigoudar" userId="aee392fe-d52f-479c-9f96-f04d75de2987" providerId="ADAL" clId="{B7BB60FE-A10A-46F6-9623-5355C9C8D8D6}" dt="2024-08-02T06:42:13.489" v="158"/>
          <ac:spMkLst>
            <pc:docMk/>
            <pc:sldMk cId="214365455" sldId="265"/>
            <ac:spMk id="67" creationId="{F6C7A66D-556C-C97C-8C61-F66C5B5D5634}"/>
          </ac:spMkLst>
        </pc:spChg>
        <pc:spChg chg="mod">
          <ac:chgData name="Mahesh Karigoudar" userId="aee392fe-d52f-479c-9f96-f04d75de2987" providerId="ADAL" clId="{B7BB60FE-A10A-46F6-9623-5355C9C8D8D6}" dt="2024-08-02T06:42:13.489" v="158"/>
          <ac:spMkLst>
            <pc:docMk/>
            <pc:sldMk cId="214365455" sldId="265"/>
            <ac:spMk id="68" creationId="{5E73C0D3-91DF-589B-BEDF-083AB6BD1A78}"/>
          </ac:spMkLst>
        </pc:spChg>
        <pc:spChg chg="mod">
          <ac:chgData name="Mahesh Karigoudar" userId="aee392fe-d52f-479c-9f96-f04d75de2987" providerId="ADAL" clId="{B7BB60FE-A10A-46F6-9623-5355C9C8D8D6}" dt="2024-08-02T06:42:13.489" v="158"/>
          <ac:spMkLst>
            <pc:docMk/>
            <pc:sldMk cId="214365455" sldId="265"/>
            <ac:spMk id="69" creationId="{75E002E8-BA84-C0BE-53AA-C26DB0BE73B3}"/>
          </ac:spMkLst>
        </pc:spChg>
        <pc:spChg chg="mod">
          <ac:chgData name="Mahesh Karigoudar" userId="aee392fe-d52f-479c-9f96-f04d75de2987" providerId="ADAL" clId="{B7BB60FE-A10A-46F6-9623-5355C9C8D8D6}" dt="2024-08-02T06:42:13.489" v="158"/>
          <ac:spMkLst>
            <pc:docMk/>
            <pc:sldMk cId="214365455" sldId="265"/>
            <ac:spMk id="72" creationId="{F173218F-E8F1-EC09-0DB0-D795C9503E78}"/>
          </ac:spMkLst>
        </pc:spChg>
        <pc:spChg chg="mod">
          <ac:chgData name="Mahesh Karigoudar" userId="aee392fe-d52f-479c-9f96-f04d75de2987" providerId="ADAL" clId="{B7BB60FE-A10A-46F6-9623-5355C9C8D8D6}" dt="2024-08-02T06:42:13.489" v="158"/>
          <ac:spMkLst>
            <pc:docMk/>
            <pc:sldMk cId="214365455" sldId="265"/>
            <ac:spMk id="73" creationId="{9CFA2C0F-10D0-CDB3-54A8-21D9FF95416D}"/>
          </ac:spMkLst>
        </pc:spChg>
        <pc:spChg chg="mod">
          <ac:chgData name="Mahesh Karigoudar" userId="aee392fe-d52f-479c-9f96-f04d75de2987" providerId="ADAL" clId="{B7BB60FE-A10A-46F6-9623-5355C9C8D8D6}" dt="2024-08-02T06:42:13.489" v="158"/>
          <ac:spMkLst>
            <pc:docMk/>
            <pc:sldMk cId="214365455" sldId="265"/>
            <ac:spMk id="74" creationId="{8C92F030-7827-DD2F-A2B6-45732B76A042}"/>
          </ac:spMkLst>
        </pc:spChg>
        <pc:spChg chg="mod">
          <ac:chgData name="Mahesh Karigoudar" userId="aee392fe-d52f-479c-9f96-f04d75de2987" providerId="ADAL" clId="{B7BB60FE-A10A-46F6-9623-5355C9C8D8D6}" dt="2024-08-02T06:42:13.489" v="158"/>
          <ac:spMkLst>
            <pc:docMk/>
            <pc:sldMk cId="214365455" sldId="265"/>
            <ac:spMk id="75" creationId="{633A6EA9-69C3-97F2-E8AD-E23180BE1272}"/>
          </ac:spMkLst>
        </pc:spChg>
        <pc:spChg chg="mod">
          <ac:chgData name="Mahesh Karigoudar" userId="aee392fe-d52f-479c-9f96-f04d75de2987" providerId="ADAL" clId="{B7BB60FE-A10A-46F6-9623-5355C9C8D8D6}" dt="2024-08-02T06:42:13.489" v="158"/>
          <ac:spMkLst>
            <pc:docMk/>
            <pc:sldMk cId="214365455" sldId="265"/>
            <ac:spMk id="76" creationId="{24D5FABB-B2CE-B577-4CB9-B8267DD98BC4}"/>
          </ac:spMkLst>
        </pc:spChg>
        <pc:spChg chg="mod">
          <ac:chgData name="Mahesh Karigoudar" userId="aee392fe-d52f-479c-9f96-f04d75de2987" providerId="ADAL" clId="{B7BB60FE-A10A-46F6-9623-5355C9C8D8D6}" dt="2024-08-02T06:42:13.489" v="158"/>
          <ac:spMkLst>
            <pc:docMk/>
            <pc:sldMk cId="214365455" sldId="265"/>
            <ac:spMk id="77" creationId="{10BDA835-92F3-6FD8-89D5-B2090E1F45E6}"/>
          </ac:spMkLst>
        </pc:spChg>
        <pc:spChg chg="mod">
          <ac:chgData name="Mahesh Karigoudar" userId="aee392fe-d52f-479c-9f96-f04d75de2987" providerId="ADAL" clId="{B7BB60FE-A10A-46F6-9623-5355C9C8D8D6}" dt="2024-08-02T06:42:13.489" v="158"/>
          <ac:spMkLst>
            <pc:docMk/>
            <pc:sldMk cId="214365455" sldId="265"/>
            <ac:spMk id="78" creationId="{80EBF2B9-58C6-2753-015F-D81136BAEFBD}"/>
          </ac:spMkLst>
        </pc:spChg>
        <pc:spChg chg="mod">
          <ac:chgData name="Mahesh Karigoudar" userId="aee392fe-d52f-479c-9f96-f04d75de2987" providerId="ADAL" clId="{B7BB60FE-A10A-46F6-9623-5355C9C8D8D6}" dt="2024-08-02T06:42:13.489" v="158"/>
          <ac:spMkLst>
            <pc:docMk/>
            <pc:sldMk cId="214365455" sldId="265"/>
            <ac:spMk id="83" creationId="{8E9168C4-3701-4A68-D6FD-ADA335F78F9E}"/>
          </ac:spMkLst>
        </pc:spChg>
        <pc:spChg chg="mod">
          <ac:chgData name="Mahesh Karigoudar" userId="aee392fe-d52f-479c-9f96-f04d75de2987" providerId="ADAL" clId="{B7BB60FE-A10A-46F6-9623-5355C9C8D8D6}" dt="2024-08-02T06:42:13.489" v="158"/>
          <ac:spMkLst>
            <pc:docMk/>
            <pc:sldMk cId="214365455" sldId="265"/>
            <ac:spMk id="87" creationId="{F8AD364F-F967-75CD-422C-67272391CBDA}"/>
          </ac:spMkLst>
        </pc:spChg>
        <pc:grpChg chg="add mod">
          <ac:chgData name="Mahesh Karigoudar" userId="aee392fe-d52f-479c-9f96-f04d75de2987" providerId="ADAL" clId="{B7BB60FE-A10A-46F6-9623-5355C9C8D8D6}" dt="2024-08-02T06:42:13.489" v="158"/>
          <ac:grpSpMkLst>
            <pc:docMk/>
            <pc:sldMk cId="214365455" sldId="265"/>
            <ac:grpSpMk id="4" creationId="{98C0101B-6418-1D0B-2865-6DF501ED193E}"/>
          </ac:grpSpMkLst>
        </pc:grpChg>
        <pc:grpChg chg="mod">
          <ac:chgData name="Mahesh Karigoudar" userId="aee392fe-d52f-479c-9f96-f04d75de2987" providerId="ADAL" clId="{B7BB60FE-A10A-46F6-9623-5355C9C8D8D6}" dt="2024-08-02T06:42:13.489" v="158"/>
          <ac:grpSpMkLst>
            <pc:docMk/>
            <pc:sldMk cId="214365455" sldId="265"/>
            <ac:grpSpMk id="5" creationId="{54DDA567-2F51-9EBF-742E-E5517EB81FCB}"/>
          </ac:grpSpMkLst>
        </pc:grpChg>
        <pc:grpChg chg="mod">
          <ac:chgData name="Mahesh Karigoudar" userId="aee392fe-d52f-479c-9f96-f04d75de2987" providerId="ADAL" clId="{B7BB60FE-A10A-46F6-9623-5355C9C8D8D6}" dt="2024-08-02T06:42:13.489" v="158"/>
          <ac:grpSpMkLst>
            <pc:docMk/>
            <pc:sldMk cId="214365455" sldId="265"/>
            <ac:grpSpMk id="24" creationId="{DBE02304-77D6-7E44-6C8C-8025052787A2}"/>
          </ac:grpSpMkLst>
        </pc:grpChg>
        <pc:grpChg chg="mod">
          <ac:chgData name="Mahesh Karigoudar" userId="aee392fe-d52f-479c-9f96-f04d75de2987" providerId="ADAL" clId="{B7BB60FE-A10A-46F6-9623-5355C9C8D8D6}" dt="2024-08-02T06:42:13.489" v="158"/>
          <ac:grpSpMkLst>
            <pc:docMk/>
            <pc:sldMk cId="214365455" sldId="265"/>
            <ac:grpSpMk id="38" creationId="{1D6751F4-B591-431B-51AF-C25A2E043968}"/>
          </ac:grpSpMkLst>
        </pc:grpChg>
        <pc:grpChg chg="mod">
          <ac:chgData name="Mahesh Karigoudar" userId="aee392fe-d52f-479c-9f96-f04d75de2987" providerId="ADAL" clId="{B7BB60FE-A10A-46F6-9623-5355C9C8D8D6}" dt="2024-08-02T06:42:13.489" v="158"/>
          <ac:grpSpMkLst>
            <pc:docMk/>
            <pc:sldMk cId="214365455" sldId="265"/>
            <ac:grpSpMk id="51" creationId="{B94F21BE-4694-D594-F635-1799A270FAE3}"/>
          </ac:grpSpMkLst>
        </pc:grpChg>
        <pc:picChg chg="add del mod">
          <ac:chgData name="Mahesh Karigoudar" userId="aee392fe-d52f-479c-9f96-f04d75de2987" providerId="ADAL" clId="{B7BB60FE-A10A-46F6-9623-5355C9C8D8D6}" dt="2024-08-02T06:59:31.644" v="173" actId="478"/>
          <ac:picMkLst>
            <pc:docMk/>
            <pc:sldMk cId="214365455" sldId="265"/>
            <ac:picMk id="91" creationId="{674396A9-4055-FEF7-EC2B-861B5B9C6D62}"/>
          </ac:picMkLst>
        </pc:picChg>
        <pc:cxnChg chg="mod">
          <ac:chgData name="Mahesh Karigoudar" userId="aee392fe-d52f-479c-9f96-f04d75de2987" providerId="ADAL" clId="{B7BB60FE-A10A-46F6-9623-5355C9C8D8D6}" dt="2024-08-02T06:47:17.704" v="166" actId="14100"/>
          <ac:cxnSpMkLst>
            <pc:docMk/>
            <pc:sldMk cId="214365455" sldId="265"/>
            <ac:cxnSpMk id="7" creationId="{5A6899B4-2304-2790-652C-0E5B7237A4AC}"/>
          </ac:cxnSpMkLst>
        </pc:cxnChg>
        <pc:cxnChg chg="mod">
          <ac:chgData name="Mahesh Karigoudar" userId="aee392fe-d52f-479c-9f96-f04d75de2987" providerId="ADAL" clId="{B7BB60FE-A10A-46F6-9623-5355C9C8D8D6}" dt="2024-08-02T06:42:13.489" v="158"/>
          <ac:cxnSpMkLst>
            <pc:docMk/>
            <pc:sldMk cId="214365455" sldId="265"/>
            <ac:cxnSpMk id="14" creationId="{38405855-0A63-F5D5-8D29-B139D27A6955}"/>
          </ac:cxnSpMkLst>
        </pc:cxnChg>
        <pc:cxnChg chg="mod">
          <ac:chgData name="Mahesh Karigoudar" userId="aee392fe-d52f-479c-9f96-f04d75de2987" providerId="ADAL" clId="{B7BB60FE-A10A-46F6-9623-5355C9C8D8D6}" dt="2024-08-02T06:42:13.489" v="158"/>
          <ac:cxnSpMkLst>
            <pc:docMk/>
            <pc:sldMk cId="214365455" sldId="265"/>
            <ac:cxnSpMk id="15" creationId="{99E4B992-487C-1432-81EF-CDA8A1450DA6}"/>
          </ac:cxnSpMkLst>
        </pc:cxnChg>
        <pc:cxnChg chg="mod">
          <ac:chgData name="Mahesh Karigoudar" userId="aee392fe-d52f-479c-9f96-f04d75de2987" providerId="ADAL" clId="{B7BB60FE-A10A-46F6-9623-5355C9C8D8D6}" dt="2024-08-02T06:42:13.489" v="158"/>
          <ac:cxnSpMkLst>
            <pc:docMk/>
            <pc:sldMk cId="214365455" sldId="265"/>
            <ac:cxnSpMk id="16" creationId="{F68B9DBC-C007-CFAC-D463-C07A4D47CF04}"/>
          </ac:cxnSpMkLst>
        </pc:cxnChg>
        <pc:cxnChg chg="mod">
          <ac:chgData name="Mahesh Karigoudar" userId="aee392fe-d52f-479c-9f96-f04d75de2987" providerId="ADAL" clId="{B7BB60FE-A10A-46F6-9623-5355C9C8D8D6}" dt="2024-08-02T06:42:13.489" v="158"/>
          <ac:cxnSpMkLst>
            <pc:docMk/>
            <pc:sldMk cId="214365455" sldId="265"/>
            <ac:cxnSpMk id="17" creationId="{369C0EE7-8C83-61CF-3DD9-D4F6FB6436E4}"/>
          </ac:cxnSpMkLst>
        </pc:cxnChg>
        <pc:cxnChg chg="mod">
          <ac:chgData name="Mahesh Karigoudar" userId="aee392fe-d52f-479c-9f96-f04d75de2987" providerId="ADAL" clId="{B7BB60FE-A10A-46F6-9623-5355C9C8D8D6}" dt="2024-08-02T06:42:13.489" v="158"/>
          <ac:cxnSpMkLst>
            <pc:docMk/>
            <pc:sldMk cId="214365455" sldId="265"/>
            <ac:cxnSpMk id="20" creationId="{1B565727-E452-0592-08BB-9F4E17287985}"/>
          </ac:cxnSpMkLst>
        </pc:cxnChg>
        <pc:cxnChg chg="mod">
          <ac:chgData name="Mahesh Karigoudar" userId="aee392fe-d52f-479c-9f96-f04d75de2987" providerId="ADAL" clId="{B7BB60FE-A10A-46F6-9623-5355C9C8D8D6}" dt="2024-08-02T06:42:13.489" v="158"/>
          <ac:cxnSpMkLst>
            <pc:docMk/>
            <pc:sldMk cId="214365455" sldId="265"/>
            <ac:cxnSpMk id="21" creationId="{AA660210-4A4F-7479-54E0-9C8F3C1D2216}"/>
          </ac:cxnSpMkLst>
        </pc:cxnChg>
        <pc:cxnChg chg="mod">
          <ac:chgData name="Mahesh Karigoudar" userId="aee392fe-d52f-479c-9f96-f04d75de2987" providerId="ADAL" clId="{B7BB60FE-A10A-46F6-9623-5355C9C8D8D6}" dt="2024-08-02T06:42:13.489" v="158"/>
          <ac:cxnSpMkLst>
            <pc:docMk/>
            <pc:sldMk cId="214365455" sldId="265"/>
            <ac:cxnSpMk id="23" creationId="{F4BF9B35-01D1-F401-05DF-34FB0E8AB3D8}"/>
          </ac:cxnSpMkLst>
        </pc:cxnChg>
        <pc:cxnChg chg="mod">
          <ac:chgData name="Mahesh Karigoudar" userId="aee392fe-d52f-479c-9f96-f04d75de2987" providerId="ADAL" clId="{B7BB60FE-A10A-46F6-9623-5355C9C8D8D6}" dt="2024-08-02T06:42:13.489" v="158"/>
          <ac:cxnSpMkLst>
            <pc:docMk/>
            <pc:sldMk cId="214365455" sldId="265"/>
            <ac:cxnSpMk id="32" creationId="{8FCBC9A7-F963-8F5D-2B3A-CBC473DD9DCB}"/>
          </ac:cxnSpMkLst>
        </pc:cxnChg>
        <pc:cxnChg chg="mod">
          <ac:chgData name="Mahesh Karigoudar" userId="aee392fe-d52f-479c-9f96-f04d75de2987" providerId="ADAL" clId="{B7BB60FE-A10A-46F6-9623-5355C9C8D8D6}" dt="2024-08-02T06:42:13.489" v="158"/>
          <ac:cxnSpMkLst>
            <pc:docMk/>
            <pc:sldMk cId="214365455" sldId="265"/>
            <ac:cxnSpMk id="33" creationId="{4DF75CFA-FA3C-39E6-2C10-DAD29E67F943}"/>
          </ac:cxnSpMkLst>
        </pc:cxnChg>
        <pc:cxnChg chg="mod">
          <ac:chgData name="Mahesh Karigoudar" userId="aee392fe-d52f-479c-9f96-f04d75de2987" providerId="ADAL" clId="{B7BB60FE-A10A-46F6-9623-5355C9C8D8D6}" dt="2024-08-02T06:42:13.489" v="158"/>
          <ac:cxnSpMkLst>
            <pc:docMk/>
            <pc:sldMk cId="214365455" sldId="265"/>
            <ac:cxnSpMk id="34" creationId="{D04346EF-3D5A-612C-B6CF-12D0B705CA61}"/>
          </ac:cxnSpMkLst>
        </pc:cxnChg>
        <pc:cxnChg chg="mod">
          <ac:chgData name="Mahesh Karigoudar" userId="aee392fe-d52f-479c-9f96-f04d75de2987" providerId="ADAL" clId="{B7BB60FE-A10A-46F6-9623-5355C9C8D8D6}" dt="2024-08-02T06:42:13.489" v="158"/>
          <ac:cxnSpMkLst>
            <pc:docMk/>
            <pc:sldMk cId="214365455" sldId="265"/>
            <ac:cxnSpMk id="35" creationId="{9460BC1D-2768-0824-7F2E-96C04F0DE900}"/>
          </ac:cxnSpMkLst>
        </pc:cxnChg>
        <pc:cxnChg chg="mod">
          <ac:chgData name="Mahesh Karigoudar" userId="aee392fe-d52f-479c-9f96-f04d75de2987" providerId="ADAL" clId="{B7BB60FE-A10A-46F6-9623-5355C9C8D8D6}" dt="2024-08-02T06:42:13.489" v="158"/>
          <ac:cxnSpMkLst>
            <pc:docMk/>
            <pc:sldMk cId="214365455" sldId="265"/>
            <ac:cxnSpMk id="37" creationId="{E3AD4F11-0131-25C3-A5F4-6ACE3308652F}"/>
          </ac:cxnSpMkLst>
        </pc:cxnChg>
        <pc:cxnChg chg="mod">
          <ac:chgData name="Mahesh Karigoudar" userId="aee392fe-d52f-479c-9f96-f04d75de2987" providerId="ADAL" clId="{B7BB60FE-A10A-46F6-9623-5355C9C8D8D6}" dt="2024-08-02T06:42:13.489" v="158"/>
          <ac:cxnSpMkLst>
            <pc:docMk/>
            <pc:sldMk cId="214365455" sldId="265"/>
            <ac:cxnSpMk id="40" creationId="{10C6127F-40BC-297D-9DE9-B9E610339035}"/>
          </ac:cxnSpMkLst>
        </pc:cxnChg>
        <pc:cxnChg chg="mod">
          <ac:chgData name="Mahesh Karigoudar" userId="aee392fe-d52f-479c-9f96-f04d75de2987" providerId="ADAL" clId="{B7BB60FE-A10A-46F6-9623-5355C9C8D8D6}" dt="2024-08-02T06:42:13.489" v="158"/>
          <ac:cxnSpMkLst>
            <pc:docMk/>
            <pc:sldMk cId="214365455" sldId="265"/>
            <ac:cxnSpMk id="41" creationId="{FAF48959-10DB-34CC-F1E2-EE693754BC36}"/>
          </ac:cxnSpMkLst>
        </pc:cxnChg>
        <pc:cxnChg chg="mod">
          <ac:chgData name="Mahesh Karigoudar" userId="aee392fe-d52f-479c-9f96-f04d75de2987" providerId="ADAL" clId="{B7BB60FE-A10A-46F6-9623-5355C9C8D8D6}" dt="2024-08-02T06:59:31.644" v="173" actId="478"/>
          <ac:cxnSpMkLst>
            <pc:docMk/>
            <pc:sldMk cId="214365455" sldId="265"/>
            <ac:cxnSpMk id="43" creationId="{516B696F-9F9A-6E6B-78CC-0FC27660B526}"/>
          </ac:cxnSpMkLst>
        </pc:cxnChg>
        <pc:cxnChg chg="mod">
          <ac:chgData name="Mahesh Karigoudar" userId="aee392fe-d52f-479c-9f96-f04d75de2987" providerId="ADAL" clId="{B7BB60FE-A10A-46F6-9623-5355C9C8D8D6}" dt="2024-08-02T06:42:13.489" v="158"/>
          <ac:cxnSpMkLst>
            <pc:docMk/>
            <pc:sldMk cId="214365455" sldId="265"/>
            <ac:cxnSpMk id="44" creationId="{17479270-3B2A-5293-C22C-7028F1F1A824}"/>
          </ac:cxnSpMkLst>
        </pc:cxnChg>
        <pc:cxnChg chg="mod">
          <ac:chgData name="Mahesh Karigoudar" userId="aee392fe-d52f-479c-9f96-f04d75de2987" providerId="ADAL" clId="{B7BB60FE-A10A-46F6-9623-5355C9C8D8D6}" dt="2024-08-02T06:59:31.644" v="173" actId="478"/>
          <ac:cxnSpMkLst>
            <pc:docMk/>
            <pc:sldMk cId="214365455" sldId="265"/>
            <ac:cxnSpMk id="45" creationId="{0C92F72C-9272-E68F-FD12-FCF5B26E7022}"/>
          </ac:cxnSpMkLst>
        </pc:cxnChg>
        <pc:cxnChg chg="mod">
          <ac:chgData name="Mahesh Karigoudar" userId="aee392fe-d52f-479c-9f96-f04d75de2987" providerId="ADAL" clId="{B7BB60FE-A10A-46F6-9623-5355C9C8D8D6}" dt="2024-08-02T06:59:31.644" v="173" actId="478"/>
          <ac:cxnSpMkLst>
            <pc:docMk/>
            <pc:sldMk cId="214365455" sldId="265"/>
            <ac:cxnSpMk id="46" creationId="{970FFDEC-5A18-44BC-C718-590742E47775}"/>
          </ac:cxnSpMkLst>
        </pc:cxnChg>
        <pc:cxnChg chg="mod">
          <ac:chgData name="Mahesh Karigoudar" userId="aee392fe-d52f-479c-9f96-f04d75de2987" providerId="ADAL" clId="{B7BB60FE-A10A-46F6-9623-5355C9C8D8D6}" dt="2024-08-02T06:42:13.489" v="158"/>
          <ac:cxnSpMkLst>
            <pc:docMk/>
            <pc:sldMk cId="214365455" sldId="265"/>
            <ac:cxnSpMk id="48" creationId="{5C7C9445-2359-3EFC-2E3A-13AB3A28881E}"/>
          </ac:cxnSpMkLst>
        </pc:cxnChg>
        <pc:cxnChg chg="mod">
          <ac:chgData name="Mahesh Karigoudar" userId="aee392fe-d52f-479c-9f96-f04d75de2987" providerId="ADAL" clId="{B7BB60FE-A10A-46F6-9623-5355C9C8D8D6}" dt="2024-08-02T06:42:13.489" v="158"/>
          <ac:cxnSpMkLst>
            <pc:docMk/>
            <pc:sldMk cId="214365455" sldId="265"/>
            <ac:cxnSpMk id="50" creationId="{41B4113E-8144-D7E5-FED5-860D9BD9A49E}"/>
          </ac:cxnSpMkLst>
        </pc:cxnChg>
        <pc:cxnChg chg="mod">
          <ac:chgData name="Mahesh Karigoudar" userId="aee392fe-d52f-479c-9f96-f04d75de2987" providerId="ADAL" clId="{B7BB60FE-A10A-46F6-9623-5355C9C8D8D6}" dt="2024-08-02T06:42:13.489" v="158"/>
          <ac:cxnSpMkLst>
            <pc:docMk/>
            <pc:sldMk cId="214365455" sldId="265"/>
            <ac:cxnSpMk id="55" creationId="{B2B0A8F7-EB70-0EA8-690F-F5A5C5BDE060}"/>
          </ac:cxnSpMkLst>
        </pc:cxnChg>
        <pc:cxnChg chg="mod">
          <ac:chgData name="Mahesh Karigoudar" userId="aee392fe-d52f-479c-9f96-f04d75de2987" providerId="ADAL" clId="{B7BB60FE-A10A-46F6-9623-5355C9C8D8D6}" dt="2024-08-02T06:42:13.489" v="158"/>
          <ac:cxnSpMkLst>
            <pc:docMk/>
            <pc:sldMk cId="214365455" sldId="265"/>
            <ac:cxnSpMk id="63" creationId="{B5909828-9F06-3C7A-676F-FD8CB3ED9474}"/>
          </ac:cxnSpMkLst>
        </pc:cxnChg>
        <pc:cxnChg chg="mod">
          <ac:chgData name="Mahesh Karigoudar" userId="aee392fe-d52f-479c-9f96-f04d75de2987" providerId="ADAL" clId="{B7BB60FE-A10A-46F6-9623-5355C9C8D8D6}" dt="2024-08-02T06:42:13.489" v="158"/>
          <ac:cxnSpMkLst>
            <pc:docMk/>
            <pc:sldMk cId="214365455" sldId="265"/>
            <ac:cxnSpMk id="65" creationId="{9124F1C2-735D-720F-464F-CF2D9F43C981}"/>
          </ac:cxnSpMkLst>
        </pc:cxnChg>
        <pc:cxnChg chg="mod">
          <ac:chgData name="Mahesh Karigoudar" userId="aee392fe-d52f-479c-9f96-f04d75de2987" providerId="ADAL" clId="{B7BB60FE-A10A-46F6-9623-5355C9C8D8D6}" dt="2024-08-02T06:42:13.489" v="158"/>
          <ac:cxnSpMkLst>
            <pc:docMk/>
            <pc:sldMk cId="214365455" sldId="265"/>
            <ac:cxnSpMk id="66" creationId="{C0EBDC31-77DF-4DAA-873F-A9380004B0C3}"/>
          </ac:cxnSpMkLst>
        </pc:cxnChg>
        <pc:cxnChg chg="mod">
          <ac:chgData name="Mahesh Karigoudar" userId="aee392fe-d52f-479c-9f96-f04d75de2987" providerId="ADAL" clId="{B7BB60FE-A10A-46F6-9623-5355C9C8D8D6}" dt="2024-08-02T06:42:13.489" v="158"/>
          <ac:cxnSpMkLst>
            <pc:docMk/>
            <pc:sldMk cId="214365455" sldId="265"/>
            <ac:cxnSpMk id="70" creationId="{1C65A339-EDB6-BF4D-D4AD-A94C6C80048A}"/>
          </ac:cxnSpMkLst>
        </pc:cxnChg>
        <pc:cxnChg chg="mod">
          <ac:chgData name="Mahesh Karigoudar" userId="aee392fe-d52f-479c-9f96-f04d75de2987" providerId="ADAL" clId="{B7BB60FE-A10A-46F6-9623-5355C9C8D8D6}" dt="2024-08-02T06:42:13.489" v="158"/>
          <ac:cxnSpMkLst>
            <pc:docMk/>
            <pc:sldMk cId="214365455" sldId="265"/>
            <ac:cxnSpMk id="71" creationId="{3546748E-6179-7A9C-BA32-A16DAD501878}"/>
          </ac:cxnSpMkLst>
        </pc:cxnChg>
        <pc:cxnChg chg="mod">
          <ac:chgData name="Mahesh Karigoudar" userId="aee392fe-d52f-479c-9f96-f04d75de2987" providerId="ADAL" clId="{B7BB60FE-A10A-46F6-9623-5355C9C8D8D6}" dt="2024-08-02T06:42:13.489" v="158"/>
          <ac:cxnSpMkLst>
            <pc:docMk/>
            <pc:sldMk cId="214365455" sldId="265"/>
            <ac:cxnSpMk id="79" creationId="{7A7EF13D-ACCD-43AA-C068-2F14E2FCA321}"/>
          </ac:cxnSpMkLst>
        </pc:cxnChg>
        <pc:cxnChg chg="mod">
          <ac:chgData name="Mahesh Karigoudar" userId="aee392fe-d52f-479c-9f96-f04d75de2987" providerId="ADAL" clId="{B7BB60FE-A10A-46F6-9623-5355C9C8D8D6}" dt="2024-08-02T06:42:13.489" v="158"/>
          <ac:cxnSpMkLst>
            <pc:docMk/>
            <pc:sldMk cId="214365455" sldId="265"/>
            <ac:cxnSpMk id="80" creationId="{66990C9D-D2CB-1542-802E-6B0137B267F5}"/>
          </ac:cxnSpMkLst>
        </pc:cxnChg>
        <pc:cxnChg chg="mod">
          <ac:chgData name="Mahesh Karigoudar" userId="aee392fe-d52f-479c-9f96-f04d75de2987" providerId="ADAL" clId="{B7BB60FE-A10A-46F6-9623-5355C9C8D8D6}" dt="2024-08-02T06:42:13.489" v="158"/>
          <ac:cxnSpMkLst>
            <pc:docMk/>
            <pc:sldMk cId="214365455" sldId="265"/>
            <ac:cxnSpMk id="81" creationId="{48DAEAEF-1702-55BF-6D2E-6D0CD998B674}"/>
          </ac:cxnSpMkLst>
        </pc:cxnChg>
        <pc:cxnChg chg="mod">
          <ac:chgData name="Mahesh Karigoudar" userId="aee392fe-d52f-479c-9f96-f04d75de2987" providerId="ADAL" clId="{B7BB60FE-A10A-46F6-9623-5355C9C8D8D6}" dt="2024-08-02T06:42:13.489" v="158"/>
          <ac:cxnSpMkLst>
            <pc:docMk/>
            <pc:sldMk cId="214365455" sldId="265"/>
            <ac:cxnSpMk id="82" creationId="{825832B7-8767-F6AA-7436-F36195A8D095}"/>
          </ac:cxnSpMkLst>
        </pc:cxnChg>
        <pc:cxnChg chg="mod">
          <ac:chgData name="Mahesh Karigoudar" userId="aee392fe-d52f-479c-9f96-f04d75de2987" providerId="ADAL" clId="{B7BB60FE-A10A-46F6-9623-5355C9C8D8D6}" dt="2024-08-02T06:42:13.489" v="158"/>
          <ac:cxnSpMkLst>
            <pc:docMk/>
            <pc:sldMk cId="214365455" sldId="265"/>
            <ac:cxnSpMk id="84" creationId="{9D30F872-B664-451C-00E7-C64E25737361}"/>
          </ac:cxnSpMkLst>
        </pc:cxnChg>
        <pc:cxnChg chg="mod">
          <ac:chgData name="Mahesh Karigoudar" userId="aee392fe-d52f-479c-9f96-f04d75de2987" providerId="ADAL" clId="{B7BB60FE-A10A-46F6-9623-5355C9C8D8D6}" dt="2024-08-02T06:42:13.489" v="158"/>
          <ac:cxnSpMkLst>
            <pc:docMk/>
            <pc:sldMk cId="214365455" sldId="265"/>
            <ac:cxnSpMk id="85" creationId="{A3C3309C-021A-3B82-5461-42F7690FDB21}"/>
          </ac:cxnSpMkLst>
        </pc:cxnChg>
        <pc:cxnChg chg="mod">
          <ac:chgData name="Mahesh Karigoudar" userId="aee392fe-d52f-479c-9f96-f04d75de2987" providerId="ADAL" clId="{B7BB60FE-A10A-46F6-9623-5355C9C8D8D6}" dt="2024-08-02T06:42:13.489" v="158"/>
          <ac:cxnSpMkLst>
            <pc:docMk/>
            <pc:sldMk cId="214365455" sldId="265"/>
            <ac:cxnSpMk id="86" creationId="{416BC7D9-323E-D241-332B-450BE8606C08}"/>
          </ac:cxnSpMkLst>
        </pc:cxnChg>
      </pc:sldChg>
      <pc:sldChg chg="delSp new del mod">
        <pc:chgData name="Mahesh Karigoudar" userId="aee392fe-d52f-479c-9f96-f04d75de2987" providerId="ADAL" clId="{B7BB60FE-A10A-46F6-9623-5355C9C8D8D6}" dt="2024-08-02T07:00:04.332" v="180" actId="47"/>
        <pc:sldMkLst>
          <pc:docMk/>
          <pc:sldMk cId="796474982" sldId="266"/>
        </pc:sldMkLst>
        <pc:spChg chg="del">
          <ac:chgData name="Mahesh Karigoudar" userId="aee392fe-d52f-479c-9f96-f04d75de2987" providerId="ADAL" clId="{B7BB60FE-A10A-46F6-9623-5355C9C8D8D6}" dt="2024-08-02T06:59:49.211" v="175" actId="478"/>
          <ac:spMkLst>
            <pc:docMk/>
            <pc:sldMk cId="796474982" sldId="266"/>
            <ac:spMk id="2" creationId="{C03B07A7-1AE4-BA76-09C1-48576DC33FE5}"/>
          </ac:spMkLst>
        </pc:spChg>
        <pc:spChg chg="del">
          <ac:chgData name="Mahesh Karigoudar" userId="aee392fe-d52f-479c-9f96-f04d75de2987" providerId="ADAL" clId="{B7BB60FE-A10A-46F6-9623-5355C9C8D8D6}" dt="2024-08-02T06:59:52.217" v="176" actId="478"/>
          <ac:spMkLst>
            <pc:docMk/>
            <pc:sldMk cId="796474982" sldId="266"/>
            <ac:spMk id="3" creationId="{72DDAD75-D675-22E3-17DD-EDDD9DE91AF2}"/>
          </ac:spMkLst>
        </pc:spChg>
      </pc:sldChg>
      <pc:sldChg chg="addSp delSp modSp add del mod modShow">
        <pc:chgData name="Mahesh Karigoudar" userId="aee392fe-d52f-479c-9f96-f04d75de2987" providerId="ADAL" clId="{B7BB60FE-A10A-46F6-9623-5355C9C8D8D6}" dt="2024-08-05T06:24:50.154" v="757" actId="47"/>
        <pc:sldMkLst>
          <pc:docMk/>
          <pc:sldMk cId="1336087857" sldId="283"/>
        </pc:sldMkLst>
        <pc:spChg chg="mod">
          <ac:chgData name="Mahesh Karigoudar" userId="aee392fe-d52f-479c-9f96-f04d75de2987" providerId="ADAL" clId="{B7BB60FE-A10A-46F6-9623-5355C9C8D8D6}" dt="2024-08-02T08:48:21.752" v="578" actId="1076"/>
          <ac:spMkLst>
            <pc:docMk/>
            <pc:sldMk cId="1336087857" sldId="283"/>
            <ac:spMk id="2" creationId="{37BFA118-F11F-7DF1-7578-F520E15BA3F5}"/>
          </ac:spMkLst>
        </pc:spChg>
        <pc:spChg chg="mod">
          <ac:chgData name="Mahesh Karigoudar" userId="aee392fe-d52f-479c-9f96-f04d75de2987" providerId="ADAL" clId="{B7BB60FE-A10A-46F6-9623-5355C9C8D8D6}" dt="2024-08-02T08:22:14.339" v="468" actId="20577"/>
          <ac:spMkLst>
            <pc:docMk/>
            <pc:sldMk cId="1336087857" sldId="283"/>
            <ac:spMk id="3" creationId="{FB6A9D2F-20F6-E0BB-DE74-9560790E75C2}"/>
          </ac:spMkLst>
        </pc:spChg>
        <pc:spChg chg="mod">
          <ac:chgData name="Mahesh Karigoudar" userId="aee392fe-d52f-479c-9f96-f04d75de2987" providerId="ADAL" clId="{B7BB60FE-A10A-46F6-9623-5355C9C8D8D6}" dt="2024-08-02T08:15:23.364" v="379" actId="1076"/>
          <ac:spMkLst>
            <pc:docMk/>
            <pc:sldMk cId="1336087857" sldId="283"/>
            <ac:spMk id="15" creationId="{3B7CBF6A-719F-43C1-9ADD-34831FE7F05E}"/>
          </ac:spMkLst>
        </pc:spChg>
        <pc:spChg chg="mod">
          <ac:chgData name="Mahesh Karigoudar" userId="aee392fe-d52f-479c-9f96-f04d75de2987" providerId="ADAL" clId="{B7BB60FE-A10A-46F6-9623-5355C9C8D8D6}" dt="2024-08-02T10:05:24.685" v="738" actId="20577"/>
          <ac:spMkLst>
            <pc:docMk/>
            <pc:sldMk cId="1336087857" sldId="283"/>
            <ac:spMk id="17" creationId="{F181B19B-5382-0EC0-C52B-081CF49B9153}"/>
          </ac:spMkLst>
        </pc:spChg>
        <pc:spChg chg="mod">
          <ac:chgData name="Mahesh Karigoudar" userId="aee392fe-d52f-479c-9f96-f04d75de2987" providerId="ADAL" clId="{B7BB60FE-A10A-46F6-9623-5355C9C8D8D6}" dt="2024-08-02T08:15:23.364" v="379" actId="1076"/>
          <ac:spMkLst>
            <pc:docMk/>
            <pc:sldMk cId="1336087857" sldId="283"/>
            <ac:spMk id="18" creationId="{44DA6F56-341C-393D-8BAB-3A6DEB8F0ED9}"/>
          </ac:spMkLst>
        </pc:spChg>
        <pc:spChg chg="mod">
          <ac:chgData name="Mahesh Karigoudar" userId="aee392fe-d52f-479c-9f96-f04d75de2987" providerId="ADAL" clId="{B7BB60FE-A10A-46F6-9623-5355C9C8D8D6}" dt="2024-08-02T08:15:23.364" v="379" actId="1076"/>
          <ac:spMkLst>
            <pc:docMk/>
            <pc:sldMk cId="1336087857" sldId="283"/>
            <ac:spMk id="19" creationId="{84A70906-8745-E87E-BF58-4A81EBE1E786}"/>
          </ac:spMkLst>
        </pc:spChg>
        <pc:spChg chg="mod">
          <ac:chgData name="Mahesh Karigoudar" userId="aee392fe-d52f-479c-9f96-f04d75de2987" providerId="ADAL" clId="{B7BB60FE-A10A-46F6-9623-5355C9C8D8D6}" dt="2024-08-02T08:15:23.364" v="379" actId="1076"/>
          <ac:spMkLst>
            <pc:docMk/>
            <pc:sldMk cId="1336087857" sldId="283"/>
            <ac:spMk id="20" creationId="{3FDC9D51-4B39-7DB2-E8FD-94B19505599C}"/>
          </ac:spMkLst>
        </pc:spChg>
        <pc:spChg chg="mod">
          <ac:chgData name="Mahesh Karigoudar" userId="aee392fe-d52f-479c-9f96-f04d75de2987" providerId="ADAL" clId="{B7BB60FE-A10A-46F6-9623-5355C9C8D8D6}" dt="2024-08-02T08:15:23.364" v="379" actId="1076"/>
          <ac:spMkLst>
            <pc:docMk/>
            <pc:sldMk cId="1336087857" sldId="283"/>
            <ac:spMk id="21" creationId="{09E98C58-89C2-3CA8-9A6F-EAAADD47CD2A}"/>
          </ac:spMkLst>
        </pc:spChg>
        <pc:spChg chg="mod">
          <ac:chgData name="Mahesh Karigoudar" userId="aee392fe-d52f-479c-9f96-f04d75de2987" providerId="ADAL" clId="{B7BB60FE-A10A-46F6-9623-5355C9C8D8D6}" dt="2024-08-02T08:15:23.364" v="379" actId="1076"/>
          <ac:spMkLst>
            <pc:docMk/>
            <pc:sldMk cId="1336087857" sldId="283"/>
            <ac:spMk id="22" creationId="{FD4AD23A-E19E-DBD0-E270-5E9C868C453E}"/>
          </ac:spMkLst>
        </pc:spChg>
        <pc:spChg chg="mod">
          <ac:chgData name="Mahesh Karigoudar" userId="aee392fe-d52f-479c-9f96-f04d75de2987" providerId="ADAL" clId="{B7BB60FE-A10A-46F6-9623-5355C9C8D8D6}" dt="2024-08-02T09:30:44.907" v="676" actId="255"/>
          <ac:spMkLst>
            <pc:docMk/>
            <pc:sldMk cId="1336087857" sldId="283"/>
            <ac:spMk id="27" creationId="{52621B74-533B-8C30-3F09-30703899E089}"/>
          </ac:spMkLst>
        </pc:spChg>
        <pc:spChg chg="mod">
          <ac:chgData name="Mahesh Karigoudar" userId="aee392fe-d52f-479c-9f96-f04d75de2987" providerId="ADAL" clId="{B7BB60FE-A10A-46F6-9623-5355C9C8D8D6}" dt="2024-08-02T08:15:23.364" v="379" actId="1076"/>
          <ac:spMkLst>
            <pc:docMk/>
            <pc:sldMk cId="1336087857" sldId="283"/>
            <ac:spMk id="28" creationId="{5A42228E-3383-78AF-C8BE-DA264CED4F9F}"/>
          </ac:spMkLst>
        </pc:spChg>
        <pc:spChg chg="del mod">
          <ac:chgData name="Mahesh Karigoudar" userId="aee392fe-d52f-479c-9f96-f04d75de2987" providerId="ADAL" clId="{B7BB60FE-A10A-46F6-9623-5355C9C8D8D6}" dt="2024-08-02T07:16:11.066" v="190" actId="478"/>
          <ac:spMkLst>
            <pc:docMk/>
            <pc:sldMk cId="1336087857" sldId="283"/>
            <ac:spMk id="31" creationId="{DF74E872-D1F2-090B-EFDE-53CE28E45280}"/>
          </ac:spMkLst>
        </pc:spChg>
        <pc:spChg chg="del mod">
          <ac:chgData name="Mahesh Karigoudar" userId="aee392fe-d52f-479c-9f96-f04d75de2987" providerId="ADAL" clId="{B7BB60FE-A10A-46F6-9623-5355C9C8D8D6}" dt="2024-08-02T07:26:13.300" v="206" actId="478"/>
          <ac:spMkLst>
            <pc:docMk/>
            <pc:sldMk cId="1336087857" sldId="283"/>
            <ac:spMk id="34" creationId="{1BD02594-AD9A-640F-3AD2-FAE8AC388F0B}"/>
          </ac:spMkLst>
        </pc:spChg>
        <pc:spChg chg="del">
          <ac:chgData name="Mahesh Karigoudar" userId="aee392fe-d52f-479c-9f96-f04d75de2987" providerId="ADAL" clId="{B7BB60FE-A10A-46F6-9623-5355C9C8D8D6}" dt="2024-08-02T07:31:18.033" v="222" actId="478"/>
          <ac:spMkLst>
            <pc:docMk/>
            <pc:sldMk cId="1336087857" sldId="283"/>
            <ac:spMk id="35" creationId="{5D29539C-FAB3-2C6D-0DCA-375BD351C2EA}"/>
          </ac:spMkLst>
        </pc:spChg>
        <pc:spChg chg="del mod">
          <ac:chgData name="Mahesh Karigoudar" userId="aee392fe-d52f-479c-9f96-f04d75de2987" providerId="ADAL" clId="{B7BB60FE-A10A-46F6-9623-5355C9C8D8D6}" dt="2024-08-02T07:52:37.815" v="258" actId="478"/>
          <ac:spMkLst>
            <pc:docMk/>
            <pc:sldMk cId="1336087857" sldId="283"/>
            <ac:spMk id="36" creationId="{4BE7A1A4-C0E4-3CE7-3715-B31C86FDEFAB}"/>
          </ac:spMkLst>
        </pc:spChg>
        <pc:spChg chg="mod">
          <ac:chgData name="Mahesh Karigoudar" userId="aee392fe-d52f-479c-9f96-f04d75de2987" providerId="ADAL" clId="{B7BB60FE-A10A-46F6-9623-5355C9C8D8D6}" dt="2024-08-02T08:15:23.364" v="379" actId="1076"/>
          <ac:spMkLst>
            <pc:docMk/>
            <pc:sldMk cId="1336087857" sldId="283"/>
            <ac:spMk id="37" creationId="{5628D48F-4C44-AC58-E2F0-CBAE966C6F1D}"/>
          </ac:spMkLst>
        </pc:spChg>
        <pc:spChg chg="del mod">
          <ac:chgData name="Mahesh Karigoudar" userId="aee392fe-d52f-479c-9f96-f04d75de2987" providerId="ADAL" clId="{B7BB60FE-A10A-46F6-9623-5355C9C8D8D6}" dt="2024-08-02T08:55:58.477" v="638" actId="478"/>
          <ac:spMkLst>
            <pc:docMk/>
            <pc:sldMk cId="1336087857" sldId="283"/>
            <ac:spMk id="38" creationId="{C11ED7C4-35BA-AC2F-107B-88CB22335B3F}"/>
          </ac:spMkLst>
        </pc:spChg>
        <pc:spChg chg="mod">
          <ac:chgData name="Mahesh Karigoudar" userId="aee392fe-d52f-479c-9f96-f04d75de2987" providerId="ADAL" clId="{B7BB60FE-A10A-46F6-9623-5355C9C8D8D6}" dt="2024-08-02T08:15:23.364" v="379" actId="1076"/>
          <ac:spMkLst>
            <pc:docMk/>
            <pc:sldMk cId="1336087857" sldId="283"/>
            <ac:spMk id="39" creationId="{5CA25ED9-88E1-9B13-692E-D4450EF2B03E}"/>
          </ac:spMkLst>
        </pc:spChg>
        <pc:spChg chg="mod">
          <ac:chgData name="Mahesh Karigoudar" userId="aee392fe-d52f-479c-9f96-f04d75de2987" providerId="ADAL" clId="{B7BB60FE-A10A-46F6-9623-5355C9C8D8D6}" dt="2024-08-02T08:52:11.956" v="626" actId="1076"/>
          <ac:spMkLst>
            <pc:docMk/>
            <pc:sldMk cId="1336087857" sldId="283"/>
            <ac:spMk id="40" creationId="{D0231D0B-9216-B5A7-51D8-2BC299FC3F8F}"/>
          </ac:spMkLst>
        </pc:spChg>
        <pc:spChg chg="mod">
          <ac:chgData name="Mahesh Karigoudar" userId="aee392fe-d52f-479c-9f96-f04d75de2987" providerId="ADAL" clId="{B7BB60FE-A10A-46F6-9623-5355C9C8D8D6}" dt="2024-08-02T08:15:23.364" v="379" actId="1076"/>
          <ac:spMkLst>
            <pc:docMk/>
            <pc:sldMk cId="1336087857" sldId="283"/>
            <ac:spMk id="45" creationId="{CEBE13B8-93C1-5A62-D413-71DFADC27123}"/>
          </ac:spMkLst>
        </pc:spChg>
        <pc:spChg chg="mod">
          <ac:chgData name="Mahesh Karigoudar" userId="aee392fe-d52f-479c-9f96-f04d75de2987" providerId="ADAL" clId="{B7BB60FE-A10A-46F6-9623-5355C9C8D8D6}" dt="2024-08-02T08:31:57.905" v="519" actId="1076"/>
          <ac:spMkLst>
            <pc:docMk/>
            <pc:sldMk cId="1336087857" sldId="283"/>
            <ac:spMk id="48" creationId="{682BD861-E5FE-AD5A-D227-76B94784831A}"/>
          </ac:spMkLst>
        </pc:spChg>
        <pc:spChg chg="mod">
          <ac:chgData name="Mahesh Karigoudar" userId="aee392fe-d52f-479c-9f96-f04d75de2987" providerId="ADAL" clId="{B7BB60FE-A10A-46F6-9623-5355C9C8D8D6}" dt="2024-08-02T08:52:22.912" v="627" actId="1076"/>
          <ac:spMkLst>
            <pc:docMk/>
            <pc:sldMk cId="1336087857" sldId="283"/>
            <ac:spMk id="51" creationId="{A9D54D1F-77AA-1B3B-C060-AB7568EA8A01}"/>
          </ac:spMkLst>
        </pc:spChg>
        <pc:spChg chg="mod">
          <ac:chgData name="Mahesh Karigoudar" userId="aee392fe-d52f-479c-9f96-f04d75de2987" providerId="ADAL" clId="{B7BB60FE-A10A-46F6-9623-5355C9C8D8D6}" dt="2024-08-02T08:15:23.364" v="379" actId="1076"/>
          <ac:spMkLst>
            <pc:docMk/>
            <pc:sldMk cId="1336087857" sldId="283"/>
            <ac:spMk id="56" creationId="{117FF8DB-A779-406B-604D-EA0AEB699D2E}"/>
          </ac:spMkLst>
        </pc:spChg>
        <pc:spChg chg="del mod">
          <ac:chgData name="Mahesh Karigoudar" userId="aee392fe-d52f-479c-9f96-f04d75de2987" providerId="ADAL" clId="{B7BB60FE-A10A-46F6-9623-5355C9C8D8D6}" dt="2024-08-02T08:17:57.978" v="383" actId="478"/>
          <ac:spMkLst>
            <pc:docMk/>
            <pc:sldMk cId="1336087857" sldId="283"/>
            <ac:spMk id="58" creationId="{5105BA17-660C-C2C8-3ED2-4D2E88C70B00}"/>
          </ac:spMkLst>
        </pc:spChg>
        <pc:spChg chg="mod">
          <ac:chgData name="Mahesh Karigoudar" userId="aee392fe-d52f-479c-9f96-f04d75de2987" providerId="ADAL" clId="{B7BB60FE-A10A-46F6-9623-5355C9C8D8D6}" dt="2024-08-02T08:15:23.364" v="379" actId="1076"/>
          <ac:spMkLst>
            <pc:docMk/>
            <pc:sldMk cId="1336087857" sldId="283"/>
            <ac:spMk id="61" creationId="{4A319A9D-4062-EEDD-B7EE-891496ECDE6B}"/>
          </ac:spMkLst>
        </pc:spChg>
        <pc:spChg chg="mod">
          <ac:chgData name="Mahesh Karigoudar" userId="aee392fe-d52f-479c-9f96-f04d75de2987" providerId="ADAL" clId="{B7BB60FE-A10A-46F6-9623-5355C9C8D8D6}" dt="2024-08-02T08:15:23.364" v="379" actId="1076"/>
          <ac:spMkLst>
            <pc:docMk/>
            <pc:sldMk cId="1336087857" sldId="283"/>
            <ac:spMk id="62" creationId="{FF76E6F9-A0CB-B68C-5276-6501C3584977}"/>
          </ac:spMkLst>
        </pc:spChg>
        <pc:spChg chg="mod">
          <ac:chgData name="Mahesh Karigoudar" userId="aee392fe-d52f-479c-9f96-f04d75de2987" providerId="ADAL" clId="{B7BB60FE-A10A-46F6-9623-5355C9C8D8D6}" dt="2024-08-02T08:15:23.364" v="379" actId="1076"/>
          <ac:spMkLst>
            <pc:docMk/>
            <pc:sldMk cId="1336087857" sldId="283"/>
            <ac:spMk id="63" creationId="{F8E0DDA9-8789-C41F-E068-D8CFBE23D77A}"/>
          </ac:spMkLst>
        </pc:spChg>
        <pc:spChg chg="mod">
          <ac:chgData name="Mahesh Karigoudar" userId="aee392fe-d52f-479c-9f96-f04d75de2987" providerId="ADAL" clId="{B7BB60FE-A10A-46F6-9623-5355C9C8D8D6}" dt="2024-08-02T08:15:23.364" v="379" actId="1076"/>
          <ac:spMkLst>
            <pc:docMk/>
            <pc:sldMk cId="1336087857" sldId="283"/>
            <ac:spMk id="65" creationId="{6CA6CB57-22EE-9869-2A68-36314244425F}"/>
          </ac:spMkLst>
        </pc:spChg>
        <pc:spChg chg="add del mod">
          <ac:chgData name="Mahesh Karigoudar" userId="aee392fe-d52f-479c-9f96-f04d75de2987" providerId="ADAL" clId="{B7BB60FE-A10A-46F6-9623-5355C9C8D8D6}" dt="2024-08-02T08:00:09.021" v="274" actId="478"/>
          <ac:spMkLst>
            <pc:docMk/>
            <pc:sldMk cId="1336087857" sldId="283"/>
            <ac:spMk id="113" creationId="{AD59D54F-0F5E-F0D3-5296-3635EC0BE845}"/>
          </ac:spMkLst>
        </pc:spChg>
        <pc:spChg chg="add del mod">
          <ac:chgData name="Mahesh Karigoudar" userId="aee392fe-d52f-479c-9f96-f04d75de2987" providerId="ADAL" clId="{B7BB60FE-A10A-46F6-9623-5355C9C8D8D6}" dt="2024-08-02T08:00:27.308" v="277" actId="478"/>
          <ac:spMkLst>
            <pc:docMk/>
            <pc:sldMk cId="1336087857" sldId="283"/>
            <ac:spMk id="114" creationId="{2818B446-B73F-B122-0FCB-3A0D657DE902}"/>
          </ac:spMkLst>
        </pc:spChg>
        <pc:spChg chg="add del mod">
          <ac:chgData name="Mahesh Karigoudar" userId="aee392fe-d52f-479c-9f96-f04d75de2987" providerId="ADAL" clId="{B7BB60FE-A10A-46F6-9623-5355C9C8D8D6}" dt="2024-08-02T08:03:37.523" v="289" actId="478"/>
          <ac:spMkLst>
            <pc:docMk/>
            <pc:sldMk cId="1336087857" sldId="283"/>
            <ac:spMk id="115" creationId="{7D429CA7-E34F-B152-398C-0CBB5E3A236F}"/>
          </ac:spMkLst>
        </pc:spChg>
        <pc:spChg chg="add mod ord">
          <ac:chgData name="Mahesh Karigoudar" userId="aee392fe-d52f-479c-9f96-f04d75de2987" providerId="ADAL" clId="{B7BB60FE-A10A-46F6-9623-5355C9C8D8D6}" dt="2024-08-02T08:19:33.726" v="426" actId="20577"/>
          <ac:spMkLst>
            <pc:docMk/>
            <pc:sldMk cId="1336087857" sldId="283"/>
            <ac:spMk id="120" creationId="{770F7DA2-4EEF-D9E1-95E0-1AAE0BB2F32E}"/>
          </ac:spMkLst>
        </pc:spChg>
        <pc:spChg chg="add del mod">
          <ac:chgData name="Mahesh Karigoudar" userId="aee392fe-d52f-479c-9f96-f04d75de2987" providerId="ADAL" clId="{B7BB60FE-A10A-46F6-9623-5355C9C8D8D6}" dt="2024-08-02T08:09:53.464" v="334"/>
          <ac:spMkLst>
            <pc:docMk/>
            <pc:sldMk cId="1336087857" sldId="283"/>
            <ac:spMk id="122" creationId="{D918E5B3-0735-67B0-C1BE-AA4A6521AF17}"/>
          </ac:spMkLst>
        </pc:spChg>
        <pc:spChg chg="add del mod">
          <ac:chgData name="Mahesh Karigoudar" userId="aee392fe-d52f-479c-9f96-f04d75de2987" providerId="ADAL" clId="{B7BB60FE-A10A-46F6-9623-5355C9C8D8D6}" dt="2024-08-02T08:10:14.125" v="338" actId="478"/>
          <ac:spMkLst>
            <pc:docMk/>
            <pc:sldMk cId="1336087857" sldId="283"/>
            <ac:spMk id="123" creationId="{A31CA6B1-0E36-33CE-2614-AE740F778E0C}"/>
          </ac:spMkLst>
        </pc:spChg>
        <pc:spChg chg="add mod">
          <ac:chgData name="Mahesh Karigoudar" userId="aee392fe-d52f-479c-9f96-f04d75de2987" providerId="ADAL" clId="{B7BB60FE-A10A-46F6-9623-5355C9C8D8D6}" dt="2024-08-02T08:15:23.364" v="379" actId="1076"/>
          <ac:spMkLst>
            <pc:docMk/>
            <pc:sldMk cId="1336087857" sldId="283"/>
            <ac:spMk id="125" creationId="{79675FDB-3D4B-9D7B-AFF4-A651244A0CA7}"/>
          </ac:spMkLst>
        </pc:spChg>
        <pc:spChg chg="add del mod">
          <ac:chgData name="Mahesh Karigoudar" userId="aee392fe-d52f-479c-9f96-f04d75de2987" providerId="ADAL" clId="{B7BB60FE-A10A-46F6-9623-5355C9C8D8D6}" dt="2024-08-02T07:26:38.120" v="211" actId="478"/>
          <ac:spMkLst>
            <pc:docMk/>
            <pc:sldMk cId="1336087857" sldId="283"/>
            <ac:spMk id="128" creationId="{11C39B10-D4A1-28C0-CC50-8DC4F6D1B5CB}"/>
          </ac:spMkLst>
        </pc:spChg>
        <pc:spChg chg="del mod">
          <ac:chgData name="Mahesh Karigoudar" userId="aee392fe-d52f-479c-9f96-f04d75de2987" providerId="ADAL" clId="{B7BB60FE-A10A-46F6-9623-5355C9C8D8D6}" dt="2024-08-02T07:31:22.349" v="224" actId="478"/>
          <ac:spMkLst>
            <pc:docMk/>
            <pc:sldMk cId="1336087857" sldId="283"/>
            <ac:spMk id="129" creationId="{D1C75FA9-D411-282C-BF8D-1F46189636D0}"/>
          </ac:spMkLst>
        </pc:spChg>
        <pc:spChg chg="del mod">
          <ac:chgData name="Mahesh Karigoudar" userId="aee392fe-d52f-479c-9f96-f04d75de2987" providerId="ADAL" clId="{B7BB60FE-A10A-46F6-9623-5355C9C8D8D6}" dt="2024-08-02T07:52:45.307" v="262" actId="478"/>
          <ac:spMkLst>
            <pc:docMk/>
            <pc:sldMk cId="1336087857" sldId="283"/>
            <ac:spMk id="130" creationId="{66898AFE-80D0-F2D6-9F4E-C38FE8A86728}"/>
          </ac:spMkLst>
        </pc:spChg>
        <pc:spChg chg="mod">
          <ac:chgData name="Mahesh Karigoudar" userId="aee392fe-d52f-479c-9f96-f04d75de2987" providerId="ADAL" clId="{B7BB60FE-A10A-46F6-9623-5355C9C8D8D6}" dt="2024-08-02T08:15:23.364" v="379" actId="1076"/>
          <ac:spMkLst>
            <pc:docMk/>
            <pc:sldMk cId="1336087857" sldId="283"/>
            <ac:spMk id="131" creationId="{9B6C9F0A-8CE1-EB08-1886-C1A09D5498E3}"/>
          </ac:spMkLst>
        </pc:spChg>
        <pc:spChg chg="mod">
          <ac:chgData name="Mahesh Karigoudar" userId="aee392fe-d52f-479c-9f96-f04d75de2987" providerId="ADAL" clId="{B7BB60FE-A10A-46F6-9623-5355C9C8D8D6}" dt="2024-08-02T08:15:23.364" v="379" actId="1076"/>
          <ac:spMkLst>
            <pc:docMk/>
            <pc:sldMk cId="1336087857" sldId="283"/>
            <ac:spMk id="132" creationId="{B1F61B7C-CE7B-2ACA-0A76-B37DAFB3474D}"/>
          </ac:spMkLst>
        </pc:spChg>
        <pc:spChg chg="mod">
          <ac:chgData name="Mahesh Karigoudar" userId="aee392fe-d52f-479c-9f96-f04d75de2987" providerId="ADAL" clId="{B7BB60FE-A10A-46F6-9623-5355C9C8D8D6}" dt="2024-08-02T08:15:23.364" v="379" actId="1076"/>
          <ac:spMkLst>
            <pc:docMk/>
            <pc:sldMk cId="1336087857" sldId="283"/>
            <ac:spMk id="133" creationId="{88ADAF2B-7B1E-B4E9-D7B4-855961E49321}"/>
          </ac:spMkLst>
        </pc:spChg>
        <pc:spChg chg="mod">
          <ac:chgData name="Mahesh Karigoudar" userId="aee392fe-d52f-479c-9f96-f04d75de2987" providerId="ADAL" clId="{B7BB60FE-A10A-46F6-9623-5355C9C8D8D6}" dt="2024-08-02T08:15:23.364" v="379" actId="1076"/>
          <ac:spMkLst>
            <pc:docMk/>
            <pc:sldMk cId="1336087857" sldId="283"/>
            <ac:spMk id="135" creationId="{A3262F30-0B4F-AD02-FBD9-8435A1DEF463}"/>
          </ac:spMkLst>
        </pc:spChg>
        <pc:spChg chg="mod">
          <ac:chgData name="Mahesh Karigoudar" userId="aee392fe-d52f-479c-9f96-f04d75de2987" providerId="ADAL" clId="{B7BB60FE-A10A-46F6-9623-5355C9C8D8D6}" dt="2024-08-02T08:15:23.364" v="379" actId="1076"/>
          <ac:spMkLst>
            <pc:docMk/>
            <pc:sldMk cId="1336087857" sldId="283"/>
            <ac:spMk id="138" creationId="{FD734D6E-5599-C194-8313-501751C00AE6}"/>
          </ac:spMkLst>
        </pc:spChg>
        <pc:spChg chg="mod">
          <ac:chgData name="Mahesh Karigoudar" userId="aee392fe-d52f-479c-9f96-f04d75de2987" providerId="ADAL" clId="{B7BB60FE-A10A-46F6-9623-5355C9C8D8D6}" dt="2024-08-02T08:15:23.364" v="379" actId="1076"/>
          <ac:spMkLst>
            <pc:docMk/>
            <pc:sldMk cId="1336087857" sldId="283"/>
            <ac:spMk id="139" creationId="{E1128EDF-7A4A-1804-C308-5A7BC012AE56}"/>
          </ac:spMkLst>
        </pc:spChg>
        <pc:spChg chg="mod">
          <ac:chgData name="Mahesh Karigoudar" userId="aee392fe-d52f-479c-9f96-f04d75de2987" providerId="ADAL" clId="{B7BB60FE-A10A-46F6-9623-5355C9C8D8D6}" dt="2024-08-02T08:15:46.838" v="382" actId="14100"/>
          <ac:spMkLst>
            <pc:docMk/>
            <pc:sldMk cId="1336087857" sldId="283"/>
            <ac:spMk id="140" creationId="{C21FDB08-4B71-87C1-6E7D-5E0D1655FEF5}"/>
          </ac:spMkLst>
        </pc:spChg>
        <pc:spChg chg="mod">
          <ac:chgData name="Mahesh Karigoudar" userId="aee392fe-d52f-479c-9f96-f04d75de2987" providerId="ADAL" clId="{B7BB60FE-A10A-46F6-9623-5355C9C8D8D6}" dt="2024-08-02T08:15:23.364" v="379" actId="1076"/>
          <ac:spMkLst>
            <pc:docMk/>
            <pc:sldMk cId="1336087857" sldId="283"/>
            <ac:spMk id="143" creationId="{86ADAFFC-9123-8650-11D1-4D901AAF4667}"/>
          </ac:spMkLst>
        </pc:spChg>
        <pc:spChg chg="mod">
          <ac:chgData name="Mahesh Karigoudar" userId="aee392fe-d52f-479c-9f96-f04d75de2987" providerId="ADAL" clId="{B7BB60FE-A10A-46F6-9623-5355C9C8D8D6}" dt="2024-08-02T10:06:06.509" v="751" actId="20577"/>
          <ac:spMkLst>
            <pc:docMk/>
            <pc:sldMk cId="1336087857" sldId="283"/>
            <ac:spMk id="144" creationId="{91B9887E-A1A1-0FB7-4928-11595548B566}"/>
          </ac:spMkLst>
        </pc:spChg>
        <pc:spChg chg="mod">
          <ac:chgData name="Mahesh Karigoudar" userId="aee392fe-d52f-479c-9f96-f04d75de2987" providerId="ADAL" clId="{B7BB60FE-A10A-46F6-9623-5355C9C8D8D6}" dt="2024-08-02T08:45:19.585" v="562" actId="1076"/>
          <ac:spMkLst>
            <pc:docMk/>
            <pc:sldMk cId="1336087857" sldId="283"/>
            <ac:spMk id="145" creationId="{DD98D1A7-832A-E864-F911-68E694FE167A}"/>
          </ac:spMkLst>
        </pc:spChg>
        <pc:spChg chg="mod">
          <ac:chgData name="Mahesh Karigoudar" userId="aee392fe-d52f-479c-9f96-f04d75de2987" providerId="ADAL" clId="{B7BB60FE-A10A-46F6-9623-5355C9C8D8D6}" dt="2024-08-02T08:45:19.585" v="562" actId="1076"/>
          <ac:spMkLst>
            <pc:docMk/>
            <pc:sldMk cId="1336087857" sldId="283"/>
            <ac:spMk id="146" creationId="{71E5ADEA-D05F-9623-DE44-44756A63577A}"/>
          </ac:spMkLst>
        </pc:spChg>
        <pc:spChg chg="mod">
          <ac:chgData name="Mahesh Karigoudar" userId="aee392fe-d52f-479c-9f96-f04d75de2987" providerId="ADAL" clId="{B7BB60FE-A10A-46F6-9623-5355C9C8D8D6}" dt="2024-08-02T08:45:19.585" v="562" actId="1076"/>
          <ac:spMkLst>
            <pc:docMk/>
            <pc:sldMk cId="1336087857" sldId="283"/>
            <ac:spMk id="147" creationId="{492E4D9C-089B-28E8-FC16-9B012100CE26}"/>
          </ac:spMkLst>
        </pc:spChg>
        <pc:spChg chg="mod">
          <ac:chgData name="Mahesh Karigoudar" userId="aee392fe-d52f-479c-9f96-f04d75de2987" providerId="ADAL" clId="{B7BB60FE-A10A-46F6-9623-5355C9C8D8D6}" dt="2024-08-02T08:45:19.585" v="562" actId="1076"/>
          <ac:spMkLst>
            <pc:docMk/>
            <pc:sldMk cId="1336087857" sldId="283"/>
            <ac:spMk id="148" creationId="{B1FAA321-B46E-14A1-59D5-4163FB58EB01}"/>
          </ac:spMkLst>
        </pc:spChg>
        <pc:spChg chg="mod">
          <ac:chgData name="Mahesh Karigoudar" userId="aee392fe-d52f-479c-9f96-f04d75de2987" providerId="ADAL" clId="{B7BB60FE-A10A-46F6-9623-5355C9C8D8D6}" dt="2024-08-02T08:45:19.585" v="562" actId="1076"/>
          <ac:spMkLst>
            <pc:docMk/>
            <pc:sldMk cId="1336087857" sldId="283"/>
            <ac:spMk id="149" creationId="{45220B92-248F-630C-603E-E1C590455EB6}"/>
          </ac:spMkLst>
        </pc:spChg>
        <pc:spChg chg="mod">
          <ac:chgData name="Mahesh Karigoudar" userId="aee392fe-d52f-479c-9f96-f04d75de2987" providerId="ADAL" clId="{B7BB60FE-A10A-46F6-9623-5355C9C8D8D6}" dt="2024-08-02T08:45:19.585" v="562" actId="1076"/>
          <ac:spMkLst>
            <pc:docMk/>
            <pc:sldMk cId="1336087857" sldId="283"/>
            <ac:spMk id="154" creationId="{9A276DCC-BA74-B3CD-6940-6339E56BFC66}"/>
          </ac:spMkLst>
        </pc:spChg>
        <pc:spChg chg="mod">
          <ac:chgData name="Mahesh Karigoudar" userId="aee392fe-d52f-479c-9f96-f04d75de2987" providerId="ADAL" clId="{B7BB60FE-A10A-46F6-9623-5355C9C8D8D6}" dt="2024-08-02T08:15:23.364" v="379" actId="1076"/>
          <ac:spMkLst>
            <pc:docMk/>
            <pc:sldMk cId="1336087857" sldId="283"/>
            <ac:spMk id="158" creationId="{B499AC0E-F43A-F81E-F16B-AEB922862BAA}"/>
          </ac:spMkLst>
        </pc:spChg>
        <pc:spChg chg="del">
          <ac:chgData name="Mahesh Karigoudar" userId="aee392fe-d52f-479c-9f96-f04d75de2987" providerId="ADAL" clId="{B7BB60FE-A10A-46F6-9623-5355C9C8D8D6}" dt="2024-08-02T07:20:20.487" v="200" actId="478"/>
          <ac:spMkLst>
            <pc:docMk/>
            <pc:sldMk cId="1336087857" sldId="283"/>
            <ac:spMk id="159" creationId="{FF13FF31-7898-C357-D6A0-505E299DA048}"/>
          </ac:spMkLst>
        </pc:spChg>
        <pc:spChg chg="mod">
          <ac:chgData name="Mahesh Karigoudar" userId="aee392fe-d52f-479c-9f96-f04d75de2987" providerId="ADAL" clId="{B7BB60FE-A10A-46F6-9623-5355C9C8D8D6}" dt="2024-08-02T08:26:04.720" v="493" actId="164"/>
          <ac:spMkLst>
            <pc:docMk/>
            <pc:sldMk cId="1336087857" sldId="283"/>
            <ac:spMk id="174" creationId="{7C4F63A0-42A4-8714-2E9F-83105EBBB331}"/>
          </ac:spMkLst>
        </pc:spChg>
        <pc:spChg chg="add del mod">
          <ac:chgData name="Mahesh Karigoudar" userId="aee392fe-d52f-479c-9f96-f04d75de2987" providerId="ADAL" clId="{B7BB60FE-A10A-46F6-9623-5355C9C8D8D6}" dt="2024-08-02T08:46:45.816" v="568" actId="478"/>
          <ac:spMkLst>
            <pc:docMk/>
            <pc:sldMk cId="1336087857" sldId="283"/>
            <ac:spMk id="2194" creationId="{F5F188A6-22FB-FE69-A9F1-2C2B2F29663F}"/>
          </ac:spMkLst>
        </pc:spChg>
        <pc:spChg chg="add del mod">
          <ac:chgData name="Mahesh Karigoudar" userId="aee392fe-d52f-479c-9f96-f04d75de2987" providerId="ADAL" clId="{B7BB60FE-A10A-46F6-9623-5355C9C8D8D6}" dt="2024-08-02T08:47:42.367" v="574" actId="478"/>
          <ac:spMkLst>
            <pc:docMk/>
            <pc:sldMk cId="1336087857" sldId="283"/>
            <ac:spMk id="2195" creationId="{F76F9B47-C73A-4D48-ED31-13E44651123B}"/>
          </ac:spMkLst>
        </pc:spChg>
        <pc:spChg chg="add mod">
          <ac:chgData name="Mahesh Karigoudar" userId="aee392fe-d52f-479c-9f96-f04d75de2987" providerId="ADAL" clId="{B7BB60FE-A10A-46F6-9623-5355C9C8D8D6}" dt="2024-08-02T08:50:48.262" v="588" actId="14100"/>
          <ac:spMkLst>
            <pc:docMk/>
            <pc:sldMk cId="1336087857" sldId="283"/>
            <ac:spMk id="2196" creationId="{0ED6AE8C-6073-3583-F13B-FCDFD8E9DCC4}"/>
          </ac:spMkLst>
        </pc:spChg>
        <pc:spChg chg="add mod">
          <ac:chgData name="Mahesh Karigoudar" userId="aee392fe-d52f-479c-9f96-f04d75de2987" providerId="ADAL" clId="{B7BB60FE-A10A-46F6-9623-5355C9C8D8D6}" dt="2024-08-02T08:51:49.231" v="621" actId="1076"/>
          <ac:spMkLst>
            <pc:docMk/>
            <pc:sldMk cId="1336087857" sldId="283"/>
            <ac:spMk id="2200" creationId="{9E34CA7D-B54B-37E0-077D-F42DC3E8A8EF}"/>
          </ac:spMkLst>
        </pc:spChg>
        <pc:spChg chg="add mod">
          <ac:chgData name="Mahesh Karigoudar" userId="aee392fe-d52f-479c-9f96-f04d75de2987" providerId="ADAL" clId="{B7BB60FE-A10A-46F6-9623-5355C9C8D8D6}" dt="2024-08-02T08:56:50.432" v="666" actId="1076"/>
          <ac:spMkLst>
            <pc:docMk/>
            <pc:sldMk cId="1336087857" sldId="283"/>
            <ac:spMk id="2211" creationId="{78BD5F5B-9A8B-2032-5DD0-5723E535A375}"/>
          </ac:spMkLst>
        </pc:spChg>
        <pc:grpChg chg="mod">
          <ac:chgData name="Mahesh Karigoudar" userId="aee392fe-d52f-479c-9f96-f04d75de2987" providerId="ADAL" clId="{B7BB60FE-A10A-46F6-9623-5355C9C8D8D6}" dt="2024-08-02T08:52:05.719" v="625" actId="1076"/>
          <ac:grpSpMkLst>
            <pc:docMk/>
            <pc:sldMk cId="1336087857" sldId="283"/>
            <ac:grpSpMk id="13" creationId="{10504E59-C5D3-EF5A-2BE7-3756FF7D566B}"/>
          </ac:grpSpMkLst>
        </pc:grpChg>
        <pc:grpChg chg="mod">
          <ac:chgData name="Mahesh Karigoudar" userId="aee392fe-d52f-479c-9f96-f04d75de2987" providerId="ADAL" clId="{B7BB60FE-A10A-46F6-9623-5355C9C8D8D6}" dt="2024-08-02T08:15:23.364" v="379" actId="1076"/>
          <ac:grpSpMkLst>
            <pc:docMk/>
            <pc:sldMk cId="1336087857" sldId="283"/>
            <ac:grpSpMk id="14" creationId="{B0BD7CE2-9506-3C36-0EC5-B1E776F19DA5}"/>
          </ac:grpSpMkLst>
        </pc:grpChg>
        <pc:grpChg chg="del mod">
          <ac:chgData name="Mahesh Karigoudar" userId="aee392fe-d52f-479c-9f96-f04d75de2987" providerId="ADAL" clId="{B7BB60FE-A10A-46F6-9623-5355C9C8D8D6}" dt="2024-08-02T08:26:44.647" v="500" actId="478"/>
          <ac:grpSpMkLst>
            <pc:docMk/>
            <pc:sldMk cId="1336087857" sldId="283"/>
            <ac:grpSpMk id="33" creationId="{A9713992-D71F-F982-3C67-B9E007D322D3}"/>
          </ac:grpSpMkLst>
        </pc:grpChg>
        <pc:grpChg chg="mod">
          <ac:chgData name="Mahesh Karigoudar" userId="aee392fe-d52f-479c-9f96-f04d75de2987" providerId="ADAL" clId="{B7BB60FE-A10A-46F6-9623-5355C9C8D8D6}" dt="2024-08-02T08:15:23.364" v="379" actId="1076"/>
          <ac:grpSpMkLst>
            <pc:docMk/>
            <pc:sldMk cId="1336087857" sldId="283"/>
            <ac:grpSpMk id="47" creationId="{FFA5947A-8615-2FA3-916E-6F136311A6F3}"/>
          </ac:grpSpMkLst>
        </pc:grpChg>
        <pc:grpChg chg="mod">
          <ac:chgData name="Mahesh Karigoudar" userId="aee392fe-d52f-479c-9f96-f04d75de2987" providerId="ADAL" clId="{B7BB60FE-A10A-46F6-9623-5355C9C8D8D6}" dt="2024-08-02T08:15:23.364" v="379" actId="1076"/>
          <ac:grpSpMkLst>
            <pc:docMk/>
            <pc:sldMk cId="1336087857" sldId="283"/>
            <ac:grpSpMk id="60" creationId="{27CD35F6-C95C-6DFB-B642-BC5F51953C14}"/>
          </ac:grpSpMkLst>
        </pc:grpChg>
        <pc:grpChg chg="add mod">
          <ac:chgData name="Mahesh Karigoudar" userId="aee392fe-d52f-479c-9f96-f04d75de2987" providerId="ADAL" clId="{B7BB60FE-A10A-46F6-9623-5355C9C8D8D6}" dt="2024-08-02T08:15:23.364" v="379" actId="1076"/>
          <ac:grpSpMkLst>
            <pc:docMk/>
            <pc:sldMk cId="1336087857" sldId="283"/>
            <ac:grpSpMk id="127" creationId="{AD285964-BA4E-B9FA-3BBC-8CFA5CAEC7A8}"/>
          </ac:grpSpMkLst>
        </pc:grpChg>
        <pc:grpChg chg="add del mod">
          <ac:chgData name="Mahesh Karigoudar" userId="aee392fe-d52f-479c-9f96-f04d75de2987" providerId="ADAL" clId="{B7BB60FE-A10A-46F6-9623-5355C9C8D8D6}" dt="2024-08-02T08:20:32.107" v="430" actId="478"/>
          <ac:grpSpMkLst>
            <pc:docMk/>
            <pc:sldMk cId="1336087857" sldId="283"/>
            <ac:grpSpMk id="173" creationId="{5D9FBA44-C3B3-46AD-4A36-98A0973B5699}"/>
          </ac:grpSpMkLst>
        </pc:grpChg>
        <pc:grpChg chg="add mod">
          <ac:chgData name="Mahesh Karigoudar" userId="aee392fe-d52f-479c-9f96-f04d75de2987" providerId="ADAL" clId="{B7BB60FE-A10A-46F6-9623-5355C9C8D8D6}" dt="2024-08-02T08:26:19.864" v="494" actId="1076"/>
          <ac:grpSpMkLst>
            <pc:docMk/>
            <pc:sldMk cId="1336087857" sldId="283"/>
            <ac:grpSpMk id="179" creationId="{E155D2A3-9B6A-A056-570F-99B51BA6A9F9}"/>
          </ac:grpSpMkLst>
        </pc:grpChg>
        <pc:grpChg chg="add mod">
          <ac:chgData name="Mahesh Karigoudar" userId="aee392fe-d52f-479c-9f96-f04d75de2987" providerId="ADAL" clId="{B7BB60FE-A10A-46F6-9623-5355C9C8D8D6}" dt="2024-08-02T08:50:48.262" v="588" actId="14100"/>
          <ac:grpSpMkLst>
            <pc:docMk/>
            <pc:sldMk cId="1336087857" sldId="283"/>
            <ac:grpSpMk id="2198" creationId="{3EA518EF-7BB8-D828-17F7-75D047455565}"/>
          </ac:grpSpMkLst>
        </pc:grpChg>
        <pc:picChg chg="add mod">
          <ac:chgData name="Mahesh Karigoudar" userId="aee392fe-d52f-479c-9f96-f04d75de2987" providerId="ADAL" clId="{B7BB60FE-A10A-46F6-9623-5355C9C8D8D6}" dt="2024-08-02T09:30:30.432" v="674" actId="14100"/>
          <ac:picMkLst>
            <pc:docMk/>
            <pc:sldMk cId="1336087857" sldId="283"/>
            <ac:picMk id="66" creationId="{AE03E41F-A632-40FA-DCB0-2C4B5DDD612D}"/>
          </ac:picMkLst>
        </pc:picChg>
        <pc:picChg chg="add mod">
          <ac:chgData name="Mahesh Karigoudar" userId="aee392fe-d52f-479c-9f96-f04d75de2987" providerId="ADAL" clId="{B7BB60FE-A10A-46F6-9623-5355C9C8D8D6}" dt="2024-08-02T07:17:25.213" v="198" actId="14100"/>
          <ac:picMkLst>
            <pc:docMk/>
            <pc:sldMk cId="1336087857" sldId="283"/>
            <ac:picMk id="70" creationId="{C658D442-FEC6-69C8-6880-E732573E7478}"/>
          </ac:picMkLst>
        </pc:picChg>
        <pc:picChg chg="add mod">
          <ac:chgData name="Mahesh Karigoudar" userId="aee392fe-d52f-479c-9f96-f04d75de2987" providerId="ADAL" clId="{B7BB60FE-A10A-46F6-9623-5355C9C8D8D6}" dt="2024-08-02T07:27:05.603" v="213" actId="1076"/>
          <ac:picMkLst>
            <pc:docMk/>
            <pc:sldMk cId="1336087857" sldId="283"/>
            <ac:picMk id="74" creationId="{71C782BB-BFC0-172C-7F9D-EF85FB583902}"/>
          </ac:picMkLst>
        </pc:picChg>
        <pc:picChg chg="add mod">
          <ac:chgData name="Mahesh Karigoudar" userId="aee392fe-d52f-479c-9f96-f04d75de2987" providerId="ADAL" clId="{B7BB60FE-A10A-46F6-9623-5355C9C8D8D6}" dt="2024-08-02T07:50:00.213" v="251" actId="1076"/>
          <ac:picMkLst>
            <pc:docMk/>
            <pc:sldMk cId="1336087857" sldId="283"/>
            <ac:picMk id="77" creationId="{EC5F2092-2AFA-45C4-58DF-60FDCE979515}"/>
          </ac:picMkLst>
        </pc:picChg>
        <pc:picChg chg="add mod">
          <ac:chgData name="Mahesh Karigoudar" userId="aee392fe-d52f-479c-9f96-f04d75de2987" providerId="ADAL" clId="{B7BB60FE-A10A-46F6-9623-5355C9C8D8D6}" dt="2024-08-02T07:50:10.925" v="253" actId="1076"/>
          <ac:picMkLst>
            <pc:docMk/>
            <pc:sldMk cId="1336087857" sldId="283"/>
            <ac:picMk id="78" creationId="{179552A8-9020-D0CD-78C8-FF7E934637C9}"/>
          </ac:picMkLst>
        </pc:picChg>
        <pc:picChg chg="add del mod">
          <ac:chgData name="Mahesh Karigoudar" userId="aee392fe-d52f-479c-9f96-f04d75de2987" providerId="ADAL" clId="{B7BB60FE-A10A-46F6-9623-5355C9C8D8D6}" dt="2024-08-02T08:07:42.682" v="330" actId="478"/>
          <ac:picMkLst>
            <pc:docMk/>
            <pc:sldMk cId="1336087857" sldId="283"/>
            <ac:picMk id="121" creationId="{3BC828A8-2436-2BF5-4BAE-5AF33578AC55}"/>
          </ac:picMkLst>
        </pc:picChg>
        <pc:picChg chg="add del mod">
          <ac:chgData name="Mahesh Karigoudar" userId="aee392fe-d52f-479c-9f96-f04d75de2987" providerId="ADAL" clId="{B7BB60FE-A10A-46F6-9623-5355C9C8D8D6}" dt="2024-08-02T08:11:50.080" v="350" actId="478"/>
          <ac:picMkLst>
            <pc:docMk/>
            <pc:sldMk cId="1336087857" sldId="283"/>
            <ac:picMk id="124" creationId="{C4BF8EE0-4E75-A22F-D632-A67122B6C1B8}"/>
          </ac:picMkLst>
        </pc:picChg>
        <pc:picChg chg="add mod">
          <ac:chgData name="Mahesh Karigoudar" userId="aee392fe-d52f-479c-9f96-f04d75de2987" providerId="ADAL" clId="{B7BB60FE-A10A-46F6-9623-5355C9C8D8D6}" dt="2024-08-02T08:15:23.364" v="379" actId="1076"/>
          <ac:picMkLst>
            <pc:docMk/>
            <pc:sldMk cId="1336087857" sldId="283"/>
            <ac:picMk id="126" creationId="{26EED5D9-411F-843D-B9C3-8B0E692D4243}"/>
          </ac:picMkLst>
        </pc:picChg>
        <pc:picChg chg="del mod">
          <ac:chgData name="Mahesh Karigoudar" userId="aee392fe-d52f-479c-9f96-f04d75de2987" providerId="ADAL" clId="{B7BB60FE-A10A-46F6-9623-5355C9C8D8D6}" dt="2024-08-02T08:20:32.107" v="430" actId="478"/>
          <ac:picMkLst>
            <pc:docMk/>
            <pc:sldMk cId="1336087857" sldId="283"/>
            <ac:picMk id="175" creationId="{7C750B5A-7CB7-ACA8-3D24-6E869511C465}"/>
          </ac:picMkLst>
        </pc:picChg>
        <pc:picChg chg="add del mod">
          <ac:chgData name="Mahesh Karigoudar" userId="aee392fe-d52f-479c-9f96-f04d75de2987" providerId="ADAL" clId="{B7BB60FE-A10A-46F6-9623-5355C9C8D8D6}" dt="2024-08-02T08:25:27.334" v="488" actId="478"/>
          <ac:picMkLst>
            <pc:docMk/>
            <pc:sldMk cId="1336087857" sldId="283"/>
            <ac:picMk id="176" creationId="{B6F0D052-82B1-944A-B3B2-E6DB24BBB983}"/>
          </ac:picMkLst>
        </pc:picChg>
        <pc:picChg chg="add mod">
          <ac:chgData name="Mahesh Karigoudar" userId="aee392fe-d52f-479c-9f96-f04d75de2987" providerId="ADAL" clId="{B7BB60FE-A10A-46F6-9623-5355C9C8D8D6}" dt="2024-08-02T08:26:04.720" v="493" actId="164"/>
          <ac:picMkLst>
            <pc:docMk/>
            <pc:sldMk cId="1336087857" sldId="283"/>
            <ac:picMk id="178" creationId="{8A7592DF-D987-7507-3E96-252F74028B4E}"/>
          </ac:picMkLst>
        </pc:picChg>
        <pc:picChg chg="add del mod">
          <ac:chgData name="Mahesh Karigoudar" userId="aee392fe-d52f-479c-9f96-f04d75de2987" providerId="ADAL" clId="{B7BB60FE-A10A-46F6-9623-5355C9C8D8D6}" dt="2024-08-02T08:31:13.603" v="513" actId="478"/>
          <ac:picMkLst>
            <pc:docMk/>
            <pc:sldMk cId="1336087857" sldId="283"/>
            <ac:picMk id="2048" creationId="{69C94CF6-35EE-97D6-9AF3-19BBC77D4A2F}"/>
          </ac:picMkLst>
        </pc:picChg>
        <pc:picChg chg="add mod">
          <ac:chgData name="Mahesh Karigoudar" userId="aee392fe-d52f-479c-9f96-f04d75de2987" providerId="ADAL" clId="{B7BB60FE-A10A-46F6-9623-5355C9C8D8D6}" dt="2024-08-02T08:32:05.887" v="520" actId="14100"/>
          <ac:picMkLst>
            <pc:docMk/>
            <pc:sldMk cId="1336087857" sldId="283"/>
            <ac:picMk id="2051" creationId="{39D34C8D-F803-7F20-1D0A-A7CD94817118}"/>
          </ac:picMkLst>
        </pc:picChg>
        <pc:picChg chg="add mod">
          <ac:chgData name="Mahesh Karigoudar" userId="aee392fe-d52f-479c-9f96-f04d75de2987" providerId="ADAL" clId="{B7BB60FE-A10A-46F6-9623-5355C9C8D8D6}" dt="2024-08-02T08:50:48.262" v="588" actId="14100"/>
          <ac:picMkLst>
            <pc:docMk/>
            <pc:sldMk cId="1336087857" sldId="283"/>
            <ac:picMk id="2197" creationId="{7E6DBC9A-D2A0-FBC8-FD41-67623EE9E722}"/>
          </ac:picMkLst>
        </pc:picChg>
        <pc:picChg chg="add mod">
          <ac:chgData name="Mahesh Karigoudar" userId="aee392fe-d52f-479c-9f96-f04d75de2987" providerId="ADAL" clId="{B7BB60FE-A10A-46F6-9623-5355C9C8D8D6}" dt="2024-08-02T08:56:00.640" v="639" actId="1076"/>
          <ac:picMkLst>
            <pc:docMk/>
            <pc:sldMk cId="1336087857" sldId="283"/>
            <ac:picMk id="2205" creationId="{1022DFEC-F56B-5A79-5242-F9A2C18C2683}"/>
          </ac:picMkLst>
        </pc:picChg>
        <pc:cxnChg chg="del mod">
          <ac:chgData name="Mahesh Karigoudar" userId="aee392fe-d52f-479c-9f96-f04d75de2987" providerId="ADAL" clId="{B7BB60FE-A10A-46F6-9623-5355C9C8D8D6}" dt="2024-08-02T07:47:58.172" v="238" actId="478"/>
          <ac:cxnSpMkLst>
            <pc:docMk/>
            <pc:sldMk cId="1336087857" sldId="283"/>
            <ac:cxnSpMk id="16" creationId="{7F8DD063-A719-CE6E-9751-69083E417568}"/>
          </ac:cxnSpMkLst>
        </pc:cxnChg>
        <pc:cxnChg chg="mod">
          <ac:chgData name="Mahesh Karigoudar" userId="aee392fe-d52f-479c-9f96-f04d75de2987" providerId="ADAL" clId="{B7BB60FE-A10A-46F6-9623-5355C9C8D8D6}" dt="2024-08-02T08:15:23.364" v="379" actId="1076"/>
          <ac:cxnSpMkLst>
            <pc:docMk/>
            <pc:sldMk cId="1336087857" sldId="283"/>
            <ac:cxnSpMk id="23" creationId="{D568F0DA-046A-BD2A-B4F3-A313AF28AE7F}"/>
          </ac:cxnSpMkLst>
        </pc:cxnChg>
        <pc:cxnChg chg="mod">
          <ac:chgData name="Mahesh Karigoudar" userId="aee392fe-d52f-479c-9f96-f04d75de2987" providerId="ADAL" clId="{B7BB60FE-A10A-46F6-9623-5355C9C8D8D6}" dt="2024-08-02T08:15:23.364" v="379" actId="1076"/>
          <ac:cxnSpMkLst>
            <pc:docMk/>
            <pc:sldMk cId="1336087857" sldId="283"/>
            <ac:cxnSpMk id="24" creationId="{B90C2A27-CB2D-7CE6-E0E3-57DD1CA203CD}"/>
          </ac:cxnSpMkLst>
        </pc:cxnChg>
        <pc:cxnChg chg="mod">
          <ac:chgData name="Mahesh Karigoudar" userId="aee392fe-d52f-479c-9f96-f04d75de2987" providerId="ADAL" clId="{B7BB60FE-A10A-46F6-9623-5355C9C8D8D6}" dt="2024-08-02T08:15:23.364" v="379" actId="1076"/>
          <ac:cxnSpMkLst>
            <pc:docMk/>
            <pc:sldMk cId="1336087857" sldId="283"/>
            <ac:cxnSpMk id="25" creationId="{8EEC5DBC-55C2-B860-143A-45F93009E6CC}"/>
          </ac:cxnSpMkLst>
        </pc:cxnChg>
        <pc:cxnChg chg="mod">
          <ac:chgData name="Mahesh Karigoudar" userId="aee392fe-d52f-479c-9f96-f04d75de2987" providerId="ADAL" clId="{B7BB60FE-A10A-46F6-9623-5355C9C8D8D6}" dt="2024-08-02T08:15:23.364" v="379" actId="1076"/>
          <ac:cxnSpMkLst>
            <pc:docMk/>
            <pc:sldMk cId="1336087857" sldId="283"/>
            <ac:cxnSpMk id="26" creationId="{C6FCAE96-A81D-24CD-7D3A-BDCD444FC759}"/>
          </ac:cxnSpMkLst>
        </pc:cxnChg>
        <pc:cxnChg chg="mod">
          <ac:chgData name="Mahesh Karigoudar" userId="aee392fe-d52f-479c-9f96-f04d75de2987" providerId="ADAL" clId="{B7BB60FE-A10A-46F6-9623-5355C9C8D8D6}" dt="2024-08-02T08:15:23.364" v="379" actId="1076"/>
          <ac:cxnSpMkLst>
            <pc:docMk/>
            <pc:sldMk cId="1336087857" sldId="283"/>
            <ac:cxnSpMk id="29" creationId="{0AA20A93-1927-F81E-E77C-17AA79CFE4F8}"/>
          </ac:cxnSpMkLst>
        </pc:cxnChg>
        <pc:cxnChg chg="mod">
          <ac:chgData name="Mahesh Karigoudar" userId="aee392fe-d52f-479c-9f96-f04d75de2987" providerId="ADAL" clId="{B7BB60FE-A10A-46F6-9623-5355C9C8D8D6}" dt="2024-08-02T08:15:23.364" v="379" actId="1076"/>
          <ac:cxnSpMkLst>
            <pc:docMk/>
            <pc:sldMk cId="1336087857" sldId="283"/>
            <ac:cxnSpMk id="30" creationId="{4EC7CE42-03D9-00BD-2D80-9D2DB676EC14}"/>
          </ac:cxnSpMkLst>
        </pc:cxnChg>
        <pc:cxnChg chg="mod">
          <ac:chgData name="Mahesh Karigoudar" userId="aee392fe-d52f-479c-9f96-f04d75de2987" providerId="ADAL" clId="{B7BB60FE-A10A-46F6-9623-5355C9C8D8D6}" dt="2024-08-02T08:15:23.364" v="379" actId="1076"/>
          <ac:cxnSpMkLst>
            <pc:docMk/>
            <pc:sldMk cId="1336087857" sldId="283"/>
            <ac:cxnSpMk id="32" creationId="{CD3E2E09-07FB-D9DB-76C1-322B7C94DE8A}"/>
          </ac:cxnSpMkLst>
        </pc:cxnChg>
        <pc:cxnChg chg="mod">
          <ac:chgData name="Mahesh Karigoudar" userId="aee392fe-d52f-479c-9f96-f04d75de2987" providerId="ADAL" clId="{B7BB60FE-A10A-46F6-9623-5355C9C8D8D6}" dt="2024-08-02T08:52:11.956" v="626" actId="1076"/>
          <ac:cxnSpMkLst>
            <pc:docMk/>
            <pc:sldMk cId="1336087857" sldId="283"/>
            <ac:cxnSpMk id="41" creationId="{AE54E743-84CB-65C9-6CEE-B467EDC38D53}"/>
          </ac:cxnSpMkLst>
        </pc:cxnChg>
        <pc:cxnChg chg="mod">
          <ac:chgData name="Mahesh Karigoudar" userId="aee392fe-d52f-479c-9f96-f04d75de2987" providerId="ADAL" clId="{B7BB60FE-A10A-46F6-9623-5355C9C8D8D6}" dt="2024-08-02T08:15:23.364" v="379" actId="1076"/>
          <ac:cxnSpMkLst>
            <pc:docMk/>
            <pc:sldMk cId="1336087857" sldId="283"/>
            <ac:cxnSpMk id="42" creationId="{F36159AA-7214-C0F2-9140-6F3CC6B73107}"/>
          </ac:cxnSpMkLst>
        </pc:cxnChg>
        <pc:cxnChg chg="del mod">
          <ac:chgData name="Mahesh Karigoudar" userId="aee392fe-d52f-479c-9f96-f04d75de2987" providerId="ADAL" clId="{B7BB60FE-A10A-46F6-9623-5355C9C8D8D6}" dt="2024-08-02T08:30:08.587" v="503" actId="478"/>
          <ac:cxnSpMkLst>
            <pc:docMk/>
            <pc:sldMk cId="1336087857" sldId="283"/>
            <ac:cxnSpMk id="43" creationId="{08E94C0F-71BD-3D3C-9B4D-973E47447D9C}"/>
          </ac:cxnSpMkLst>
        </pc:cxnChg>
        <pc:cxnChg chg="mod">
          <ac:chgData name="Mahesh Karigoudar" userId="aee392fe-d52f-479c-9f96-f04d75de2987" providerId="ADAL" clId="{B7BB60FE-A10A-46F6-9623-5355C9C8D8D6}" dt="2024-08-02T08:15:23.364" v="379" actId="1076"/>
          <ac:cxnSpMkLst>
            <pc:docMk/>
            <pc:sldMk cId="1336087857" sldId="283"/>
            <ac:cxnSpMk id="44" creationId="{7700A1E2-1337-7BF9-ED51-5637949A29AB}"/>
          </ac:cxnSpMkLst>
        </pc:cxnChg>
        <pc:cxnChg chg="del mod">
          <ac:chgData name="Mahesh Karigoudar" userId="aee392fe-d52f-479c-9f96-f04d75de2987" providerId="ADAL" clId="{B7BB60FE-A10A-46F6-9623-5355C9C8D8D6}" dt="2024-08-02T07:53:48.026" v="263" actId="478"/>
          <ac:cxnSpMkLst>
            <pc:docMk/>
            <pc:sldMk cId="1336087857" sldId="283"/>
            <ac:cxnSpMk id="46" creationId="{9459E1AF-4A6E-B1CD-94CA-FAF77D44560E}"/>
          </ac:cxnSpMkLst>
        </pc:cxnChg>
        <pc:cxnChg chg="mod">
          <ac:chgData name="Mahesh Karigoudar" userId="aee392fe-d52f-479c-9f96-f04d75de2987" providerId="ADAL" clId="{B7BB60FE-A10A-46F6-9623-5355C9C8D8D6}" dt="2024-08-02T08:56:10.931" v="641" actId="14100"/>
          <ac:cxnSpMkLst>
            <pc:docMk/>
            <pc:sldMk cId="1336087857" sldId="283"/>
            <ac:cxnSpMk id="49" creationId="{4A8FCB1E-3634-5FEB-3778-11434684FF34}"/>
          </ac:cxnSpMkLst>
        </pc:cxnChg>
        <pc:cxnChg chg="mod">
          <ac:chgData name="Mahesh Karigoudar" userId="aee392fe-d52f-479c-9f96-f04d75de2987" providerId="ADAL" clId="{B7BB60FE-A10A-46F6-9623-5355C9C8D8D6}" dt="2024-08-02T08:56:06.351" v="640" actId="14100"/>
          <ac:cxnSpMkLst>
            <pc:docMk/>
            <pc:sldMk cId="1336087857" sldId="283"/>
            <ac:cxnSpMk id="50" creationId="{D8AF2BBD-0958-49A5-89FE-9F64882E139B}"/>
          </ac:cxnSpMkLst>
        </pc:cxnChg>
        <pc:cxnChg chg="mod">
          <ac:chgData name="Mahesh Karigoudar" userId="aee392fe-d52f-479c-9f96-f04d75de2987" providerId="ADAL" clId="{B7BB60FE-A10A-46F6-9623-5355C9C8D8D6}" dt="2024-08-02T08:15:23.364" v="379" actId="1076"/>
          <ac:cxnSpMkLst>
            <pc:docMk/>
            <pc:sldMk cId="1336087857" sldId="283"/>
            <ac:cxnSpMk id="52" creationId="{2AC90B25-2888-3813-64E1-72806B6FEF5D}"/>
          </ac:cxnSpMkLst>
        </pc:cxnChg>
        <pc:cxnChg chg="mod">
          <ac:chgData name="Mahesh Karigoudar" userId="aee392fe-d52f-479c-9f96-f04d75de2987" providerId="ADAL" clId="{B7BB60FE-A10A-46F6-9623-5355C9C8D8D6}" dt="2024-08-02T08:45:38.888" v="563" actId="14100"/>
          <ac:cxnSpMkLst>
            <pc:docMk/>
            <pc:sldMk cId="1336087857" sldId="283"/>
            <ac:cxnSpMk id="53" creationId="{6065E023-68F6-2D6E-E9AC-AD7A2DF3FF8F}"/>
          </ac:cxnSpMkLst>
        </pc:cxnChg>
        <pc:cxnChg chg="mod">
          <ac:chgData name="Mahesh Karigoudar" userId="aee392fe-d52f-479c-9f96-f04d75de2987" providerId="ADAL" clId="{B7BB60FE-A10A-46F6-9623-5355C9C8D8D6}" dt="2024-08-02T08:15:23.364" v="379" actId="1076"/>
          <ac:cxnSpMkLst>
            <pc:docMk/>
            <pc:sldMk cId="1336087857" sldId="283"/>
            <ac:cxnSpMk id="54" creationId="{02DA4AA3-633A-EE1A-666B-CE2311FBE69F}"/>
          </ac:cxnSpMkLst>
        </pc:cxnChg>
        <pc:cxnChg chg="mod">
          <ac:chgData name="Mahesh Karigoudar" userId="aee392fe-d52f-479c-9f96-f04d75de2987" providerId="ADAL" clId="{B7BB60FE-A10A-46F6-9623-5355C9C8D8D6}" dt="2024-08-02T08:45:19.585" v="562" actId="1076"/>
          <ac:cxnSpMkLst>
            <pc:docMk/>
            <pc:sldMk cId="1336087857" sldId="283"/>
            <ac:cxnSpMk id="55" creationId="{B477FF88-DD29-26A9-749F-23CD9E829215}"/>
          </ac:cxnSpMkLst>
        </pc:cxnChg>
        <pc:cxnChg chg="mod">
          <ac:chgData name="Mahesh Karigoudar" userId="aee392fe-d52f-479c-9f96-f04d75de2987" providerId="ADAL" clId="{B7BB60FE-A10A-46F6-9623-5355C9C8D8D6}" dt="2024-08-02T08:15:23.364" v="379" actId="1076"/>
          <ac:cxnSpMkLst>
            <pc:docMk/>
            <pc:sldMk cId="1336087857" sldId="283"/>
            <ac:cxnSpMk id="57" creationId="{6B2E12A0-9882-ACD2-A86E-BF9CAA6EFE71}"/>
          </ac:cxnSpMkLst>
        </pc:cxnChg>
        <pc:cxnChg chg="mod">
          <ac:chgData name="Mahesh Karigoudar" userId="aee392fe-d52f-479c-9f96-f04d75de2987" providerId="ADAL" clId="{B7BB60FE-A10A-46F6-9623-5355C9C8D8D6}" dt="2024-08-02T08:15:23.364" v="379" actId="1076"/>
          <ac:cxnSpMkLst>
            <pc:docMk/>
            <pc:sldMk cId="1336087857" sldId="283"/>
            <ac:cxnSpMk id="59" creationId="{5F42DC4B-1B41-BDF6-0BCD-723622A63174}"/>
          </ac:cxnSpMkLst>
        </pc:cxnChg>
        <pc:cxnChg chg="mod">
          <ac:chgData name="Mahesh Karigoudar" userId="aee392fe-d52f-479c-9f96-f04d75de2987" providerId="ADAL" clId="{B7BB60FE-A10A-46F6-9623-5355C9C8D8D6}" dt="2024-08-02T08:15:23.364" v="379" actId="1076"/>
          <ac:cxnSpMkLst>
            <pc:docMk/>
            <pc:sldMk cId="1336087857" sldId="283"/>
            <ac:cxnSpMk id="64" creationId="{54E055A0-16E5-0599-F9F1-4D22CB0F9E2A}"/>
          </ac:cxnSpMkLst>
        </pc:cxnChg>
        <pc:cxnChg chg="add mod">
          <ac:chgData name="Mahesh Karigoudar" userId="aee392fe-d52f-479c-9f96-f04d75de2987" providerId="ADAL" clId="{B7BB60FE-A10A-46F6-9623-5355C9C8D8D6}" dt="2024-08-02T07:50:10.925" v="253" actId="1076"/>
          <ac:cxnSpMkLst>
            <pc:docMk/>
            <pc:sldMk cId="1336087857" sldId="283"/>
            <ac:cxnSpMk id="82" creationId="{04B3E3E7-DAFE-B1F9-AF26-6A2A6A0DE96F}"/>
          </ac:cxnSpMkLst>
        </pc:cxnChg>
        <pc:cxnChg chg="add mod">
          <ac:chgData name="Mahesh Karigoudar" userId="aee392fe-d52f-479c-9f96-f04d75de2987" providerId="ADAL" clId="{B7BB60FE-A10A-46F6-9623-5355C9C8D8D6}" dt="2024-08-02T07:50:22.041" v="254" actId="14100"/>
          <ac:cxnSpMkLst>
            <pc:docMk/>
            <pc:sldMk cId="1336087857" sldId="283"/>
            <ac:cxnSpMk id="88" creationId="{F3FB5D51-599C-44BD-F707-4759CAADFD84}"/>
          </ac:cxnSpMkLst>
        </pc:cxnChg>
        <pc:cxnChg chg="add mod">
          <ac:chgData name="Mahesh Karigoudar" userId="aee392fe-d52f-479c-9f96-f04d75de2987" providerId="ADAL" clId="{B7BB60FE-A10A-46F6-9623-5355C9C8D8D6}" dt="2024-08-02T08:03:41.606" v="290"/>
          <ac:cxnSpMkLst>
            <pc:docMk/>
            <pc:sldMk cId="1336087857" sldId="283"/>
            <ac:cxnSpMk id="116" creationId="{696485A7-CBFC-AF1A-31E0-C989C8DBF59B}"/>
          </ac:cxnSpMkLst>
        </pc:cxnChg>
        <pc:cxnChg chg="mod">
          <ac:chgData name="Mahesh Karigoudar" userId="aee392fe-d52f-479c-9f96-f04d75de2987" providerId="ADAL" clId="{B7BB60FE-A10A-46F6-9623-5355C9C8D8D6}" dt="2024-08-02T08:45:19.585" v="562" actId="1076"/>
          <ac:cxnSpMkLst>
            <pc:docMk/>
            <pc:sldMk cId="1336087857" sldId="283"/>
            <ac:cxnSpMk id="134" creationId="{83A79ECB-6321-ED7A-AAF4-5D6A5D58C575}"/>
          </ac:cxnSpMkLst>
        </pc:cxnChg>
        <pc:cxnChg chg="del mod">
          <ac:chgData name="Mahesh Karigoudar" userId="aee392fe-d52f-479c-9f96-f04d75de2987" providerId="ADAL" clId="{B7BB60FE-A10A-46F6-9623-5355C9C8D8D6}" dt="2024-08-02T08:30:05.439" v="502" actId="478"/>
          <ac:cxnSpMkLst>
            <pc:docMk/>
            <pc:sldMk cId="1336087857" sldId="283"/>
            <ac:cxnSpMk id="136" creationId="{4BC5A441-4182-CE1E-3F6B-B65E866DCC25}"/>
          </ac:cxnSpMkLst>
        </pc:cxnChg>
        <pc:cxnChg chg="mod">
          <ac:chgData name="Mahesh Karigoudar" userId="aee392fe-d52f-479c-9f96-f04d75de2987" providerId="ADAL" clId="{B7BB60FE-A10A-46F6-9623-5355C9C8D8D6}" dt="2024-08-02T08:15:23.364" v="379" actId="1076"/>
          <ac:cxnSpMkLst>
            <pc:docMk/>
            <pc:sldMk cId="1336087857" sldId="283"/>
            <ac:cxnSpMk id="137" creationId="{7E726362-D6BD-A425-2793-969FB97E7363}"/>
          </ac:cxnSpMkLst>
        </pc:cxnChg>
        <pc:cxnChg chg="mod">
          <ac:chgData name="Mahesh Karigoudar" userId="aee392fe-d52f-479c-9f96-f04d75de2987" providerId="ADAL" clId="{B7BB60FE-A10A-46F6-9623-5355C9C8D8D6}" dt="2024-08-02T08:15:23.364" v="379" actId="1076"/>
          <ac:cxnSpMkLst>
            <pc:docMk/>
            <pc:sldMk cId="1336087857" sldId="283"/>
            <ac:cxnSpMk id="141" creationId="{9AA8F950-585A-DCAE-68F2-B51964EA9C99}"/>
          </ac:cxnSpMkLst>
        </pc:cxnChg>
        <pc:cxnChg chg="mod">
          <ac:chgData name="Mahesh Karigoudar" userId="aee392fe-d52f-479c-9f96-f04d75de2987" providerId="ADAL" clId="{B7BB60FE-A10A-46F6-9623-5355C9C8D8D6}" dt="2024-08-02T08:15:23.364" v="379" actId="1076"/>
          <ac:cxnSpMkLst>
            <pc:docMk/>
            <pc:sldMk cId="1336087857" sldId="283"/>
            <ac:cxnSpMk id="142" creationId="{AF5A9166-2CA7-A23E-BE31-028FCAAB0DE9}"/>
          </ac:cxnSpMkLst>
        </pc:cxnChg>
        <pc:cxnChg chg="mod">
          <ac:chgData name="Mahesh Karigoudar" userId="aee392fe-d52f-479c-9f96-f04d75de2987" providerId="ADAL" clId="{B7BB60FE-A10A-46F6-9623-5355C9C8D8D6}" dt="2024-08-02T08:45:19.585" v="562" actId="1076"/>
          <ac:cxnSpMkLst>
            <pc:docMk/>
            <pc:sldMk cId="1336087857" sldId="283"/>
            <ac:cxnSpMk id="150" creationId="{F6D80C52-3F70-EAB0-DE15-8012D5EFCD6A}"/>
          </ac:cxnSpMkLst>
        </pc:cxnChg>
        <pc:cxnChg chg="mod">
          <ac:chgData name="Mahesh Karigoudar" userId="aee392fe-d52f-479c-9f96-f04d75de2987" providerId="ADAL" clId="{B7BB60FE-A10A-46F6-9623-5355C9C8D8D6}" dt="2024-08-02T08:45:19.585" v="562" actId="1076"/>
          <ac:cxnSpMkLst>
            <pc:docMk/>
            <pc:sldMk cId="1336087857" sldId="283"/>
            <ac:cxnSpMk id="151" creationId="{49282984-5782-FDD9-6EA3-1B24E32A26DB}"/>
          </ac:cxnSpMkLst>
        </pc:cxnChg>
        <pc:cxnChg chg="mod">
          <ac:chgData name="Mahesh Karigoudar" userId="aee392fe-d52f-479c-9f96-f04d75de2987" providerId="ADAL" clId="{B7BB60FE-A10A-46F6-9623-5355C9C8D8D6}" dt="2024-08-02T08:45:19.585" v="562" actId="1076"/>
          <ac:cxnSpMkLst>
            <pc:docMk/>
            <pc:sldMk cId="1336087857" sldId="283"/>
            <ac:cxnSpMk id="152" creationId="{2D112E19-BE21-69F0-B6A6-F376960A42F6}"/>
          </ac:cxnSpMkLst>
        </pc:cxnChg>
        <pc:cxnChg chg="mod">
          <ac:chgData name="Mahesh Karigoudar" userId="aee392fe-d52f-479c-9f96-f04d75de2987" providerId="ADAL" clId="{B7BB60FE-A10A-46F6-9623-5355C9C8D8D6}" dt="2024-08-02T08:45:19.585" v="562" actId="1076"/>
          <ac:cxnSpMkLst>
            <pc:docMk/>
            <pc:sldMk cId="1336087857" sldId="283"/>
            <ac:cxnSpMk id="153" creationId="{619822CE-DFF4-15B4-D0F4-C3ED92AC80AC}"/>
          </ac:cxnSpMkLst>
        </pc:cxnChg>
        <pc:cxnChg chg="mod">
          <ac:chgData name="Mahesh Karigoudar" userId="aee392fe-d52f-479c-9f96-f04d75de2987" providerId="ADAL" clId="{B7BB60FE-A10A-46F6-9623-5355C9C8D8D6}" dt="2024-08-02T08:45:19.585" v="562" actId="1076"/>
          <ac:cxnSpMkLst>
            <pc:docMk/>
            <pc:sldMk cId="1336087857" sldId="283"/>
            <ac:cxnSpMk id="155" creationId="{F9706F91-D0D0-7CFE-D9AA-B401392BB38D}"/>
          </ac:cxnSpMkLst>
        </pc:cxnChg>
        <pc:cxnChg chg="del mod">
          <ac:chgData name="Mahesh Karigoudar" userId="aee392fe-d52f-479c-9f96-f04d75de2987" providerId="ADAL" clId="{B7BB60FE-A10A-46F6-9623-5355C9C8D8D6}" dt="2024-08-02T08:26:44.647" v="500" actId="478"/>
          <ac:cxnSpMkLst>
            <pc:docMk/>
            <pc:sldMk cId="1336087857" sldId="283"/>
            <ac:cxnSpMk id="156" creationId="{90675F2A-8A89-D4A9-923A-B0D8B6DCB692}"/>
          </ac:cxnSpMkLst>
        </pc:cxnChg>
        <pc:cxnChg chg="del mod">
          <ac:chgData name="Mahesh Karigoudar" userId="aee392fe-d52f-479c-9f96-f04d75de2987" providerId="ADAL" clId="{B7BB60FE-A10A-46F6-9623-5355C9C8D8D6}" dt="2024-08-02T08:26:40.767" v="499" actId="478"/>
          <ac:cxnSpMkLst>
            <pc:docMk/>
            <pc:sldMk cId="1336087857" sldId="283"/>
            <ac:cxnSpMk id="157" creationId="{E8151A18-9F69-2CD6-79BF-32935103DEE1}"/>
          </ac:cxnSpMkLst>
        </pc:cxnChg>
        <pc:cxnChg chg="add del mod">
          <ac:chgData name="Mahesh Karigoudar" userId="aee392fe-d52f-479c-9f96-f04d75de2987" providerId="ADAL" clId="{B7BB60FE-A10A-46F6-9623-5355C9C8D8D6}" dt="2024-08-02T08:14:41.688" v="371" actId="478"/>
          <ac:cxnSpMkLst>
            <pc:docMk/>
            <pc:sldMk cId="1336087857" sldId="283"/>
            <ac:cxnSpMk id="161" creationId="{CF32FB67-7994-7F86-C087-261F659CF09A}"/>
          </ac:cxnSpMkLst>
        </pc:cxnChg>
        <pc:cxnChg chg="add mod">
          <ac:chgData name="Mahesh Karigoudar" userId="aee392fe-d52f-479c-9f96-f04d75de2987" providerId="ADAL" clId="{B7BB60FE-A10A-46F6-9623-5355C9C8D8D6}" dt="2024-08-02T08:26:23.586" v="495" actId="1076"/>
          <ac:cxnSpMkLst>
            <pc:docMk/>
            <pc:sldMk cId="1336087857" sldId="283"/>
            <ac:cxnSpMk id="167" creationId="{B409F9AF-244B-6CC0-4519-30DBD3FDC314}"/>
          </ac:cxnSpMkLst>
        </pc:cxnChg>
        <pc:cxnChg chg="add mod">
          <ac:chgData name="Mahesh Karigoudar" userId="aee392fe-d52f-479c-9f96-f04d75de2987" providerId="ADAL" clId="{B7BB60FE-A10A-46F6-9623-5355C9C8D8D6}" dt="2024-08-02T08:54:42.748" v="630" actId="14100"/>
          <ac:cxnSpMkLst>
            <pc:docMk/>
            <pc:sldMk cId="1336087857" sldId="283"/>
            <ac:cxnSpMk id="170" creationId="{57D2A44D-B6A5-7A1B-AB54-2F2ACB205B2D}"/>
          </ac:cxnSpMkLst>
        </pc:cxnChg>
        <pc:cxnChg chg="add mod">
          <ac:chgData name="Mahesh Karigoudar" userId="aee392fe-d52f-479c-9f96-f04d75de2987" providerId="ADAL" clId="{B7BB60FE-A10A-46F6-9623-5355C9C8D8D6}" dt="2024-08-02T08:26:33.104" v="498" actId="14100"/>
          <ac:cxnSpMkLst>
            <pc:docMk/>
            <pc:sldMk cId="1336087857" sldId="283"/>
            <ac:cxnSpMk id="180" creationId="{F6F76111-8A40-0A9E-0D85-E1A662FBDD39}"/>
          </ac:cxnSpMkLst>
        </pc:cxnChg>
        <pc:cxnChg chg="add del mod">
          <ac:chgData name="Mahesh Karigoudar" userId="aee392fe-d52f-479c-9f96-f04d75de2987" providerId="ADAL" clId="{B7BB60FE-A10A-46F6-9623-5355C9C8D8D6}" dt="2024-08-02T08:33:39.742" v="527" actId="478"/>
          <ac:cxnSpMkLst>
            <pc:docMk/>
            <pc:sldMk cId="1336087857" sldId="283"/>
            <ac:cxnSpMk id="185" creationId="{BC559189-E1B0-32AF-B454-C76B3FE5B01A}"/>
          </ac:cxnSpMkLst>
        </pc:cxnChg>
        <pc:cxnChg chg="add del mod">
          <ac:chgData name="Mahesh Karigoudar" userId="aee392fe-d52f-479c-9f96-f04d75de2987" providerId="ADAL" clId="{B7BB60FE-A10A-46F6-9623-5355C9C8D8D6}" dt="2024-08-02T08:35:17.291" v="536" actId="478"/>
          <ac:cxnSpMkLst>
            <pc:docMk/>
            <pc:sldMk cId="1336087857" sldId="283"/>
            <ac:cxnSpMk id="188" creationId="{B12E47A1-680D-E26E-2BEE-2D1C3A7866DF}"/>
          </ac:cxnSpMkLst>
        </pc:cxnChg>
        <pc:cxnChg chg="add del mod">
          <ac:chgData name="Mahesh Karigoudar" userId="aee392fe-d52f-479c-9f96-f04d75de2987" providerId="ADAL" clId="{B7BB60FE-A10A-46F6-9623-5355C9C8D8D6}" dt="2024-08-02T08:33:04.090" v="523" actId="478"/>
          <ac:cxnSpMkLst>
            <pc:docMk/>
            <pc:sldMk cId="1336087857" sldId="283"/>
            <ac:cxnSpMk id="2055" creationId="{87DD3145-CA3E-592D-BAC9-BA3DCF57C652}"/>
          </ac:cxnSpMkLst>
        </pc:cxnChg>
        <pc:cxnChg chg="add mod">
          <ac:chgData name="Mahesh Karigoudar" userId="aee392fe-d52f-479c-9f96-f04d75de2987" providerId="ADAL" clId="{B7BB60FE-A10A-46F6-9623-5355C9C8D8D6}" dt="2024-08-02T08:33:27.638" v="525" actId="14100"/>
          <ac:cxnSpMkLst>
            <pc:docMk/>
            <pc:sldMk cId="1336087857" sldId="283"/>
            <ac:cxnSpMk id="2058" creationId="{C7EE57B8-C5E3-6B50-5B6B-4B3DE55D82F4}"/>
          </ac:cxnSpMkLst>
        </pc:cxnChg>
        <pc:cxnChg chg="add mod">
          <ac:chgData name="Mahesh Karigoudar" userId="aee392fe-d52f-479c-9f96-f04d75de2987" providerId="ADAL" clId="{B7BB60FE-A10A-46F6-9623-5355C9C8D8D6}" dt="2024-08-02T08:45:48.570" v="565" actId="1076"/>
          <ac:cxnSpMkLst>
            <pc:docMk/>
            <pc:sldMk cId="1336087857" sldId="283"/>
            <ac:cxnSpMk id="2061" creationId="{2F3AEA89-5A72-E716-2AEF-B054CEDFBFCF}"/>
          </ac:cxnSpMkLst>
        </pc:cxnChg>
        <pc:cxnChg chg="add del mod">
          <ac:chgData name="Mahesh Karigoudar" userId="aee392fe-d52f-479c-9f96-f04d75de2987" providerId="ADAL" clId="{B7BB60FE-A10A-46F6-9623-5355C9C8D8D6}" dt="2024-08-02T08:34:25.275" v="532" actId="478"/>
          <ac:cxnSpMkLst>
            <pc:docMk/>
            <pc:sldMk cId="1336087857" sldId="283"/>
            <ac:cxnSpMk id="2065" creationId="{9A16EA06-9091-1514-4FB2-62294921B7F8}"/>
          </ac:cxnSpMkLst>
        </pc:cxnChg>
        <pc:cxnChg chg="add mod">
          <ac:chgData name="Mahesh Karigoudar" userId="aee392fe-d52f-479c-9f96-f04d75de2987" providerId="ADAL" clId="{B7BB60FE-A10A-46F6-9623-5355C9C8D8D6}" dt="2024-08-02T08:45:48.570" v="565" actId="1076"/>
          <ac:cxnSpMkLst>
            <pc:docMk/>
            <pc:sldMk cId="1336087857" sldId="283"/>
            <ac:cxnSpMk id="2067" creationId="{2D7A3C3D-983F-9FB5-9683-782C98254889}"/>
          </ac:cxnSpMkLst>
        </pc:cxnChg>
        <pc:cxnChg chg="add mod">
          <ac:chgData name="Mahesh Karigoudar" userId="aee392fe-d52f-479c-9f96-f04d75de2987" providerId="ADAL" clId="{B7BB60FE-A10A-46F6-9623-5355C9C8D8D6}" dt="2024-08-02T08:45:48.570" v="565" actId="1076"/>
          <ac:cxnSpMkLst>
            <pc:docMk/>
            <pc:sldMk cId="1336087857" sldId="283"/>
            <ac:cxnSpMk id="2068" creationId="{07CC2FCE-1541-D209-07C0-2FF97C3D76F3}"/>
          </ac:cxnSpMkLst>
        </pc:cxnChg>
      </pc:sldChg>
      <pc:sldChg chg="add del mod modShow">
        <pc:chgData name="Mahesh Karigoudar" userId="aee392fe-d52f-479c-9f96-f04d75de2987" providerId="ADAL" clId="{B7BB60FE-A10A-46F6-9623-5355C9C8D8D6}" dt="2024-08-06T06:14:19.878" v="1138" actId="47"/>
        <pc:sldMkLst>
          <pc:docMk/>
          <pc:sldMk cId="1806092265" sldId="283"/>
        </pc:sldMkLst>
      </pc:sldChg>
      <pc:sldChg chg="modSp add del mod">
        <pc:chgData name="Mahesh Karigoudar" userId="aee392fe-d52f-479c-9f96-f04d75de2987" providerId="ADAL" clId="{B7BB60FE-A10A-46F6-9623-5355C9C8D8D6}" dt="2024-08-05T10:01:30.651" v="1136" actId="47"/>
        <pc:sldMkLst>
          <pc:docMk/>
          <pc:sldMk cId="704248733" sldId="284"/>
        </pc:sldMkLst>
        <pc:spChg chg="mod">
          <ac:chgData name="Mahesh Karigoudar" userId="aee392fe-d52f-479c-9f96-f04d75de2987" providerId="ADAL" clId="{B7BB60FE-A10A-46F6-9623-5355C9C8D8D6}" dt="2024-08-02T10:04:09.479" v="684" actId="20577"/>
          <ac:spMkLst>
            <pc:docMk/>
            <pc:sldMk cId="704248733" sldId="284"/>
            <ac:spMk id="17" creationId="{F181B19B-5382-0EC0-C52B-081CF49B9153}"/>
          </ac:spMkLst>
        </pc:spChg>
      </pc:sldChg>
      <pc:sldChg chg="add del">
        <pc:chgData name="Mahesh Karigoudar" userId="aee392fe-d52f-479c-9f96-f04d75de2987" providerId="ADAL" clId="{B7BB60FE-A10A-46F6-9623-5355C9C8D8D6}" dt="2024-08-02T07:17:07.287" v="193" actId="47"/>
        <pc:sldMkLst>
          <pc:docMk/>
          <pc:sldMk cId="2112426343" sldId="284"/>
        </pc:sldMkLst>
      </pc:sldChg>
      <pc:sldChg chg="add del mod modShow">
        <pc:chgData name="Mahesh Karigoudar" userId="aee392fe-d52f-479c-9f96-f04d75de2987" providerId="ADAL" clId="{B7BB60FE-A10A-46F6-9623-5355C9C8D8D6}" dt="2024-08-05T06:24:42.508" v="756" actId="47"/>
        <pc:sldMkLst>
          <pc:docMk/>
          <pc:sldMk cId="4189166335" sldId="285"/>
        </pc:sldMkLst>
      </pc:sldChg>
      <pc:sldChg chg="new del">
        <pc:chgData name="Mahesh Karigoudar" userId="aee392fe-d52f-479c-9f96-f04d75de2987" providerId="ADAL" clId="{B7BB60FE-A10A-46F6-9623-5355C9C8D8D6}" dt="2024-08-02T10:31:33.262" v="754" actId="47"/>
        <pc:sldMkLst>
          <pc:docMk/>
          <pc:sldMk cId="795268368" sldId="286"/>
        </pc:sldMkLst>
      </pc:sldChg>
      <pc:sldChg chg="add">
        <pc:chgData name="Mahesh Karigoudar" userId="aee392fe-d52f-479c-9f96-f04d75de2987" providerId="ADAL" clId="{B7BB60FE-A10A-46F6-9623-5355C9C8D8D6}" dt="2024-08-02T10:31:30.304" v="753"/>
        <pc:sldMkLst>
          <pc:docMk/>
          <pc:sldMk cId="1927192226" sldId="287"/>
        </pc:sldMkLst>
      </pc:sldChg>
      <pc:sldChg chg="addSp delSp modSp add mod addCm modCm">
        <pc:chgData name="Mahesh Karigoudar" userId="aee392fe-d52f-479c-9f96-f04d75de2987" providerId="ADAL" clId="{B7BB60FE-A10A-46F6-9623-5355C9C8D8D6}" dt="2024-08-05T09:59:56.677" v="1133" actId="1076"/>
        <pc:sldMkLst>
          <pc:docMk/>
          <pc:sldMk cId="1611911466" sldId="288"/>
        </pc:sldMkLst>
        <pc:spChg chg="mod">
          <ac:chgData name="Mahesh Karigoudar" userId="aee392fe-d52f-479c-9f96-f04d75de2987" providerId="ADAL" clId="{B7BB60FE-A10A-46F6-9623-5355C9C8D8D6}" dt="2024-08-05T08:56:51.429" v="1112" actId="21"/>
          <ac:spMkLst>
            <pc:docMk/>
            <pc:sldMk cId="1611911466" sldId="288"/>
            <ac:spMk id="2" creationId="{37BFA118-F11F-7DF1-7578-F520E15BA3F5}"/>
          </ac:spMkLst>
        </pc:spChg>
        <pc:spChg chg="del">
          <ac:chgData name="Mahesh Karigoudar" userId="aee392fe-d52f-479c-9f96-f04d75de2987" providerId="ADAL" clId="{B7BB60FE-A10A-46F6-9623-5355C9C8D8D6}" dt="2024-08-05T08:38:37.584" v="880" actId="478"/>
          <ac:spMkLst>
            <pc:docMk/>
            <pc:sldMk cId="1611911466" sldId="288"/>
            <ac:spMk id="16" creationId="{EE43F421-3E4F-DD5A-0BC8-02BC064D7F9A}"/>
          </ac:spMkLst>
        </pc:spChg>
        <pc:spChg chg="mod">
          <ac:chgData name="Mahesh Karigoudar" userId="aee392fe-d52f-479c-9f96-f04d75de2987" providerId="ADAL" clId="{B7BB60FE-A10A-46F6-9623-5355C9C8D8D6}" dt="2024-08-05T09:39:32.660" v="1129" actId="20577"/>
          <ac:spMkLst>
            <pc:docMk/>
            <pc:sldMk cId="1611911466" sldId="288"/>
            <ac:spMk id="17" creationId="{F181B19B-5382-0EC0-C52B-081CF49B9153}"/>
          </ac:spMkLst>
        </pc:spChg>
        <pc:spChg chg="mod">
          <ac:chgData name="Mahesh Karigoudar" userId="aee392fe-d52f-479c-9f96-f04d75de2987" providerId="ADAL" clId="{B7BB60FE-A10A-46F6-9623-5355C9C8D8D6}" dt="2024-08-05T08:17:35.639" v="817" actId="1076"/>
          <ac:spMkLst>
            <pc:docMk/>
            <pc:sldMk cId="1611911466" sldId="288"/>
            <ac:spMk id="37" creationId="{5628D48F-4C44-AC58-E2F0-CBAE966C6F1D}"/>
          </ac:spMkLst>
        </pc:spChg>
        <pc:spChg chg="del mod">
          <ac:chgData name="Mahesh Karigoudar" userId="aee392fe-d52f-479c-9f96-f04d75de2987" providerId="ADAL" clId="{B7BB60FE-A10A-46F6-9623-5355C9C8D8D6}" dt="2024-08-05T08:11:52.330" v="790" actId="478"/>
          <ac:spMkLst>
            <pc:docMk/>
            <pc:sldMk cId="1611911466" sldId="288"/>
            <ac:spMk id="48" creationId="{682BD861-E5FE-AD5A-D227-76B94784831A}"/>
          </ac:spMkLst>
        </pc:spChg>
        <pc:spChg chg="mod">
          <ac:chgData name="Mahesh Karigoudar" userId="aee392fe-d52f-479c-9f96-f04d75de2987" providerId="ADAL" clId="{B7BB60FE-A10A-46F6-9623-5355C9C8D8D6}" dt="2024-08-05T08:27:43.482" v="834" actId="1076"/>
          <ac:spMkLst>
            <pc:docMk/>
            <pc:sldMk cId="1611911466" sldId="288"/>
            <ac:spMk id="63" creationId="{F8E0DDA9-8789-C41F-E068-D8CFBE23D77A}"/>
          </ac:spMkLst>
        </pc:spChg>
        <pc:spChg chg="mod">
          <ac:chgData name="Mahesh Karigoudar" userId="aee392fe-d52f-479c-9f96-f04d75de2987" providerId="ADAL" clId="{B7BB60FE-A10A-46F6-9623-5355C9C8D8D6}" dt="2024-08-05T08:42:29.334" v="911" actId="34135"/>
          <ac:spMkLst>
            <pc:docMk/>
            <pc:sldMk cId="1611911466" sldId="288"/>
            <ac:spMk id="120" creationId="{770F7DA2-4EEF-D9E1-95E0-1AAE0BB2F32E}"/>
          </ac:spMkLst>
        </pc:spChg>
        <pc:spChg chg="add del mod">
          <ac:chgData name="Mahesh Karigoudar" userId="aee392fe-d52f-479c-9f96-f04d75de2987" providerId="ADAL" clId="{B7BB60FE-A10A-46F6-9623-5355C9C8D8D6}" dt="2024-08-05T08:42:50.151" v="914" actId="478"/>
          <ac:spMkLst>
            <pc:docMk/>
            <pc:sldMk cId="1611911466" sldId="288"/>
            <ac:spMk id="122" creationId="{8EEBC37B-D48F-486C-6A7A-48CF14EA3BE3}"/>
          </ac:spMkLst>
        </pc:spChg>
        <pc:spChg chg="add mod">
          <ac:chgData name="Mahesh Karigoudar" userId="aee392fe-d52f-479c-9f96-f04d75de2987" providerId="ADAL" clId="{B7BB60FE-A10A-46F6-9623-5355C9C8D8D6}" dt="2024-08-05T09:38:14.924" v="1125" actId="20577"/>
          <ac:spMkLst>
            <pc:docMk/>
            <pc:sldMk cId="1611911466" sldId="288"/>
            <ac:spMk id="130" creationId="{2541ADA9-0FB7-F949-0D7F-4F2F9310A780}"/>
          </ac:spMkLst>
        </pc:spChg>
        <pc:spChg chg="mod">
          <ac:chgData name="Mahesh Karigoudar" userId="aee392fe-d52f-479c-9f96-f04d75de2987" providerId="ADAL" clId="{B7BB60FE-A10A-46F6-9623-5355C9C8D8D6}" dt="2024-08-05T08:27:43.482" v="834" actId="1076"/>
          <ac:spMkLst>
            <pc:docMk/>
            <pc:sldMk cId="1611911466" sldId="288"/>
            <ac:spMk id="133" creationId="{88ADAF2B-7B1E-B4E9-D7B4-855961E49321}"/>
          </ac:spMkLst>
        </pc:spChg>
        <pc:spChg chg="mod">
          <ac:chgData name="Mahesh Karigoudar" userId="aee392fe-d52f-479c-9f96-f04d75de2987" providerId="ADAL" clId="{B7BB60FE-A10A-46F6-9623-5355C9C8D8D6}" dt="2024-08-05T08:27:43.482" v="834" actId="1076"/>
          <ac:spMkLst>
            <pc:docMk/>
            <pc:sldMk cId="1611911466" sldId="288"/>
            <ac:spMk id="135" creationId="{A3262F30-0B4F-AD02-FBD9-8435A1DEF463}"/>
          </ac:spMkLst>
        </pc:spChg>
        <pc:spChg chg="mod">
          <ac:chgData name="Mahesh Karigoudar" userId="aee392fe-d52f-479c-9f96-f04d75de2987" providerId="ADAL" clId="{B7BB60FE-A10A-46F6-9623-5355C9C8D8D6}" dt="2024-08-05T08:56:32.031" v="1109" actId="1076"/>
          <ac:spMkLst>
            <pc:docMk/>
            <pc:sldMk cId="1611911466" sldId="288"/>
            <ac:spMk id="140" creationId="{C21FDB08-4B71-87C1-6E7D-5E0D1655FEF5}"/>
          </ac:spMkLst>
        </pc:spChg>
        <pc:spChg chg="mod">
          <ac:chgData name="Mahesh Karigoudar" userId="aee392fe-d52f-479c-9f96-f04d75de2987" providerId="ADAL" clId="{B7BB60FE-A10A-46F6-9623-5355C9C8D8D6}" dt="2024-08-05T08:28:05.826" v="837" actId="1076"/>
          <ac:spMkLst>
            <pc:docMk/>
            <pc:sldMk cId="1611911466" sldId="288"/>
            <ac:spMk id="143" creationId="{86ADAFFC-9123-8650-11D1-4D901AAF4667}"/>
          </ac:spMkLst>
        </pc:spChg>
        <pc:spChg chg="add mod">
          <ac:chgData name="Mahesh Karigoudar" userId="aee392fe-d52f-479c-9f96-f04d75de2987" providerId="ADAL" clId="{B7BB60FE-A10A-46F6-9623-5355C9C8D8D6}" dt="2024-08-05T08:57:39.162" v="1120" actId="20577"/>
          <ac:spMkLst>
            <pc:docMk/>
            <pc:sldMk cId="1611911466" sldId="288"/>
            <ac:spMk id="169" creationId="{9CBCCFD4-C87E-17EB-1A38-AF5A48937C15}"/>
          </ac:spMkLst>
        </pc:spChg>
        <pc:spChg chg="mod topLvl">
          <ac:chgData name="Mahesh Karigoudar" userId="aee392fe-d52f-479c-9f96-f04d75de2987" providerId="ADAL" clId="{B7BB60FE-A10A-46F6-9623-5355C9C8D8D6}" dt="2024-08-05T08:53:34.702" v="1091" actId="164"/>
          <ac:spMkLst>
            <pc:docMk/>
            <pc:sldMk cId="1611911466" sldId="288"/>
            <ac:spMk id="174" creationId="{7C4F63A0-42A4-8714-2E9F-83105EBBB331}"/>
          </ac:spMkLst>
        </pc:spChg>
        <pc:spChg chg="del mod topLvl">
          <ac:chgData name="Mahesh Karigoudar" userId="aee392fe-d52f-479c-9f96-f04d75de2987" providerId="ADAL" clId="{B7BB60FE-A10A-46F6-9623-5355C9C8D8D6}" dt="2024-08-05T08:26:32.838" v="824" actId="478"/>
          <ac:spMkLst>
            <pc:docMk/>
            <pc:sldMk cId="1611911466" sldId="288"/>
            <ac:spMk id="2196" creationId="{0ED6AE8C-6073-3583-F13B-FCDFD8E9DCC4}"/>
          </ac:spMkLst>
        </pc:spChg>
        <pc:spChg chg="mod">
          <ac:chgData name="Mahesh Karigoudar" userId="aee392fe-d52f-479c-9f96-f04d75de2987" providerId="ADAL" clId="{B7BB60FE-A10A-46F6-9623-5355C9C8D8D6}" dt="2024-08-05T08:27:15.016" v="831" actId="1076"/>
          <ac:spMkLst>
            <pc:docMk/>
            <pc:sldMk cId="1611911466" sldId="288"/>
            <ac:spMk id="2200" creationId="{9E34CA7D-B54B-37E0-077D-F42DC3E8A8EF}"/>
          </ac:spMkLst>
        </pc:spChg>
        <pc:grpChg chg="mod">
          <ac:chgData name="Mahesh Karigoudar" userId="aee392fe-d52f-479c-9f96-f04d75de2987" providerId="ADAL" clId="{B7BB60FE-A10A-46F6-9623-5355C9C8D8D6}" dt="2024-08-05T09:38:48.718" v="1127" actId="1076"/>
          <ac:grpSpMkLst>
            <pc:docMk/>
            <pc:sldMk cId="1611911466" sldId="288"/>
            <ac:grpSpMk id="13" creationId="{10504E59-C5D3-EF5A-2BE7-3756FF7D566B}"/>
          </ac:grpSpMkLst>
        </pc:grpChg>
        <pc:grpChg chg="add mod">
          <ac:chgData name="Mahesh Karigoudar" userId="aee392fe-d52f-479c-9f96-f04d75de2987" providerId="ADAL" clId="{B7BB60FE-A10A-46F6-9623-5355C9C8D8D6}" dt="2024-08-05T08:53:53.363" v="1093" actId="1076"/>
          <ac:grpSpMkLst>
            <pc:docMk/>
            <pc:sldMk cId="1611911466" sldId="288"/>
            <ac:grpSpMk id="168" creationId="{D446DD65-6A1F-8D05-B5E0-D6FDEA02FF18}"/>
          </ac:grpSpMkLst>
        </pc:grpChg>
        <pc:grpChg chg="del mod">
          <ac:chgData name="Mahesh Karigoudar" userId="aee392fe-d52f-479c-9f96-f04d75de2987" providerId="ADAL" clId="{B7BB60FE-A10A-46F6-9623-5355C9C8D8D6}" dt="2024-08-05T08:53:06.519" v="1087" actId="478"/>
          <ac:grpSpMkLst>
            <pc:docMk/>
            <pc:sldMk cId="1611911466" sldId="288"/>
            <ac:grpSpMk id="179" creationId="{E155D2A3-9B6A-A056-570F-99B51BA6A9F9}"/>
          </ac:grpSpMkLst>
        </pc:grpChg>
        <pc:grpChg chg="del mod">
          <ac:chgData name="Mahesh Karigoudar" userId="aee392fe-d52f-479c-9f96-f04d75de2987" providerId="ADAL" clId="{B7BB60FE-A10A-46F6-9623-5355C9C8D8D6}" dt="2024-08-05T08:26:32.838" v="824" actId="478"/>
          <ac:grpSpMkLst>
            <pc:docMk/>
            <pc:sldMk cId="1611911466" sldId="288"/>
            <ac:grpSpMk id="2198" creationId="{3EA518EF-7BB8-D828-17F7-75D047455565}"/>
          </ac:grpSpMkLst>
        </pc:grpChg>
        <pc:picChg chg="add mod">
          <ac:chgData name="Mahesh Karigoudar" userId="aee392fe-d52f-479c-9f96-f04d75de2987" providerId="ADAL" clId="{B7BB60FE-A10A-46F6-9623-5355C9C8D8D6}" dt="2024-08-05T08:11:45.828" v="788" actId="1076"/>
          <ac:picMkLst>
            <pc:docMk/>
            <pc:sldMk cId="1611911466" sldId="288"/>
            <ac:picMk id="43" creationId="{C1A461AC-E69E-A0D9-8B65-CB41F7498C95}"/>
          </ac:picMkLst>
        </pc:picChg>
        <pc:picChg chg="add mod">
          <ac:chgData name="Mahesh Karigoudar" userId="aee392fe-d52f-479c-9f96-f04d75de2987" providerId="ADAL" clId="{B7BB60FE-A10A-46F6-9623-5355C9C8D8D6}" dt="2024-08-05T08:15:35.036" v="800" actId="1076"/>
          <ac:picMkLst>
            <pc:docMk/>
            <pc:sldMk cId="1611911466" sldId="288"/>
            <ac:picMk id="72" creationId="{BF110D08-549E-66CD-1ECD-177116BDBCEF}"/>
          </ac:picMkLst>
        </pc:picChg>
        <pc:picChg chg="del">
          <ac:chgData name="Mahesh Karigoudar" userId="aee392fe-d52f-479c-9f96-f04d75de2987" providerId="ADAL" clId="{B7BB60FE-A10A-46F6-9623-5355C9C8D8D6}" dt="2024-08-05T08:34:55.978" v="839" actId="478"/>
          <ac:picMkLst>
            <pc:docMk/>
            <pc:sldMk cId="1611911466" sldId="288"/>
            <ac:picMk id="78" creationId="{179552A8-9020-D0CD-78C8-FF7E934637C9}"/>
          </ac:picMkLst>
        </pc:picChg>
        <pc:picChg chg="add mod">
          <ac:chgData name="Mahesh Karigoudar" userId="aee392fe-d52f-479c-9f96-f04d75de2987" providerId="ADAL" clId="{B7BB60FE-A10A-46F6-9623-5355C9C8D8D6}" dt="2024-08-05T08:17:26.527" v="816" actId="1076"/>
          <ac:picMkLst>
            <pc:docMk/>
            <pc:sldMk cId="1611911466" sldId="288"/>
            <ac:picMk id="86" creationId="{33E284AD-9D5C-1624-71FE-681FC9D0C50B}"/>
          </ac:picMkLst>
        </pc:picChg>
        <pc:picChg chg="add mod">
          <ac:chgData name="Mahesh Karigoudar" userId="aee392fe-d52f-479c-9f96-f04d75de2987" providerId="ADAL" clId="{B7BB60FE-A10A-46F6-9623-5355C9C8D8D6}" dt="2024-08-05T08:43:21.797" v="921" actId="1076"/>
          <ac:picMkLst>
            <pc:docMk/>
            <pc:sldMk cId="1611911466" sldId="288"/>
            <ac:picMk id="119" creationId="{86C8F51B-0D07-973C-2F68-B005D2E12372}"/>
          </ac:picMkLst>
        </pc:picChg>
        <pc:picChg chg="add mod">
          <ac:chgData name="Mahesh Karigoudar" userId="aee392fe-d52f-479c-9f96-f04d75de2987" providerId="ADAL" clId="{B7BB60FE-A10A-46F6-9623-5355C9C8D8D6}" dt="2024-08-05T08:53:34.702" v="1091" actId="164"/>
          <ac:picMkLst>
            <pc:docMk/>
            <pc:sldMk cId="1611911466" sldId="288"/>
            <ac:picMk id="165" creationId="{C08B431B-955F-47E7-AA4F-CD4904C4EBEC}"/>
          </ac:picMkLst>
        </pc:picChg>
        <pc:picChg chg="add mod">
          <ac:chgData name="Mahesh Karigoudar" userId="aee392fe-d52f-479c-9f96-f04d75de2987" providerId="ADAL" clId="{B7BB60FE-A10A-46F6-9623-5355C9C8D8D6}" dt="2024-08-05T09:59:46.988" v="1131" actId="1076"/>
          <ac:picMkLst>
            <pc:docMk/>
            <pc:sldMk cId="1611911466" sldId="288"/>
            <ac:picMk id="175" creationId="{DFE3F89F-C3FB-53A6-91AD-C2F789E6CE40}"/>
          </ac:picMkLst>
        </pc:picChg>
        <pc:picChg chg="add mod">
          <ac:chgData name="Mahesh Karigoudar" userId="aee392fe-d52f-479c-9f96-f04d75de2987" providerId="ADAL" clId="{B7BB60FE-A10A-46F6-9623-5355C9C8D8D6}" dt="2024-08-05T09:59:56.677" v="1133" actId="1076"/>
          <ac:picMkLst>
            <pc:docMk/>
            <pc:sldMk cId="1611911466" sldId="288"/>
            <ac:picMk id="176" creationId="{1362973B-38FD-02FB-DC9F-C5CB73458F9C}"/>
          </ac:picMkLst>
        </pc:picChg>
        <pc:picChg chg="del mod topLvl">
          <ac:chgData name="Mahesh Karigoudar" userId="aee392fe-d52f-479c-9f96-f04d75de2987" providerId="ADAL" clId="{B7BB60FE-A10A-46F6-9623-5355C9C8D8D6}" dt="2024-08-05T08:53:06.519" v="1087" actId="478"/>
          <ac:picMkLst>
            <pc:docMk/>
            <pc:sldMk cId="1611911466" sldId="288"/>
            <ac:picMk id="178" creationId="{8A7592DF-D987-7507-3E96-252F74028B4E}"/>
          </ac:picMkLst>
        </pc:picChg>
        <pc:picChg chg="del">
          <ac:chgData name="Mahesh Karigoudar" userId="aee392fe-d52f-479c-9f96-f04d75de2987" providerId="ADAL" clId="{B7BB60FE-A10A-46F6-9623-5355C9C8D8D6}" dt="2024-08-05T08:08:51.192" v="759" actId="478"/>
          <ac:picMkLst>
            <pc:docMk/>
            <pc:sldMk cId="1611911466" sldId="288"/>
            <ac:picMk id="2051" creationId="{39D34C8D-F803-7F20-1D0A-A7CD94817118}"/>
          </ac:picMkLst>
        </pc:picChg>
        <pc:picChg chg="mod topLvl">
          <ac:chgData name="Mahesh Karigoudar" userId="aee392fe-d52f-479c-9f96-f04d75de2987" providerId="ADAL" clId="{B7BB60FE-A10A-46F6-9623-5355C9C8D8D6}" dt="2024-08-05T08:26:54.799" v="828" actId="1076"/>
          <ac:picMkLst>
            <pc:docMk/>
            <pc:sldMk cId="1611911466" sldId="288"/>
            <ac:picMk id="2197" creationId="{7E6DBC9A-D2A0-FBC8-FD41-67623EE9E722}"/>
          </ac:picMkLst>
        </pc:picChg>
        <pc:cxnChg chg="mod">
          <ac:chgData name="Mahesh Karigoudar" userId="aee392fe-d52f-479c-9f96-f04d75de2987" providerId="ADAL" clId="{B7BB60FE-A10A-46F6-9623-5355C9C8D8D6}" dt="2024-08-05T08:17:35.639" v="817" actId="1076"/>
          <ac:cxnSpMkLst>
            <pc:docMk/>
            <pc:sldMk cId="1611911466" sldId="288"/>
            <ac:cxnSpMk id="49" creationId="{4A8FCB1E-3634-5FEB-3778-11434684FF34}"/>
          </ac:cxnSpMkLst>
        </pc:cxnChg>
        <pc:cxnChg chg="ord">
          <ac:chgData name="Mahesh Karigoudar" userId="aee392fe-d52f-479c-9f96-f04d75de2987" providerId="ADAL" clId="{B7BB60FE-A10A-46F6-9623-5355C9C8D8D6}" dt="2024-08-05T09:39:21.909" v="1128" actId="167"/>
          <ac:cxnSpMkLst>
            <pc:docMk/>
            <pc:sldMk cId="1611911466" sldId="288"/>
            <ac:cxnSpMk id="53" creationId="{6065E023-68F6-2D6E-E9AC-AD7A2DF3FF8F}"/>
          </ac:cxnSpMkLst>
        </pc:cxnChg>
        <pc:cxnChg chg="mod">
          <ac:chgData name="Mahesh Karigoudar" userId="aee392fe-d52f-479c-9f96-f04d75de2987" providerId="ADAL" clId="{B7BB60FE-A10A-46F6-9623-5355C9C8D8D6}" dt="2024-08-05T08:17:35.639" v="817" actId="1076"/>
          <ac:cxnSpMkLst>
            <pc:docMk/>
            <pc:sldMk cId="1611911466" sldId="288"/>
            <ac:cxnSpMk id="54" creationId="{02DA4AA3-633A-EE1A-666B-CE2311FBE69F}"/>
          </ac:cxnSpMkLst>
        </pc:cxnChg>
        <pc:cxnChg chg="mod">
          <ac:chgData name="Mahesh Karigoudar" userId="aee392fe-d52f-479c-9f96-f04d75de2987" providerId="ADAL" clId="{B7BB60FE-A10A-46F6-9623-5355C9C8D8D6}" dt="2024-08-05T08:45:01.699" v="959" actId="14100"/>
          <ac:cxnSpMkLst>
            <pc:docMk/>
            <pc:sldMk cId="1611911466" sldId="288"/>
            <ac:cxnSpMk id="59" creationId="{5F42DC4B-1B41-BDF6-0BCD-723622A63174}"/>
          </ac:cxnSpMkLst>
        </pc:cxnChg>
        <pc:cxnChg chg="mod">
          <ac:chgData name="Mahesh Karigoudar" userId="aee392fe-d52f-479c-9f96-f04d75de2987" providerId="ADAL" clId="{B7BB60FE-A10A-46F6-9623-5355C9C8D8D6}" dt="2024-08-05T08:27:43.482" v="834" actId="1076"/>
          <ac:cxnSpMkLst>
            <pc:docMk/>
            <pc:sldMk cId="1611911466" sldId="288"/>
            <ac:cxnSpMk id="64" creationId="{54E055A0-16E5-0599-F9F1-4D22CB0F9E2A}"/>
          </ac:cxnSpMkLst>
        </pc:cxnChg>
        <pc:cxnChg chg="add mod">
          <ac:chgData name="Mahesh Karigoudar" userId="aee392fe-d52f-479c-9f96-f04d75de2987" providerId="ADAL" clId="{B7BB60FE-A10A-46F6-9623-5355C9C8D8D6}" dt="2024-08-05T08:15:35.036" v="800" actId="1076"/>
          <ac:cxnSpMkLst>
            <pc:docMk/>
            <pc:sldMk cId="1611911466" sldId="288"/>
            <ac:cxnSpMk id="73" creationId="{3D55C69E-FFCD-BBEE-4741-4BCCBCA62DA6}"/>
          </ac:cxnSpMkLst>
        </pc:cxnChg>
        <pc:cxnChg chg="del mod">
          <ac:chgData name="Mahesh Karigoudar" userId="aee392fe-d52f-479c-9f96-f04d75de2987" providerId="ADAL" clId="{B7BB60FE-A10A-46F6-9623-5355C9C8D8D6}" dt="2024-08-05T08:43:08.432" v="918" actId="478"/>
          <ac:cxnSpMkLst>
            <pc:docMk/>
            <pc:sldMk cId="1611911466" sldId="288"/>
            <ac:cxnSpMk id="82" creationId="{04B3E3E7-DAFE-B1F9-AF26-6A2A6A0DE96F}"/>
          </ac:cxnSpMkLst>
        </pc:cxnChg>
        <pc:cxnChg chg="add mod">
          <ac:chgData name="Mahesh Karigoudar" userId="aee392fe-d52f-479c-9f96-f04d75de2987" providerId="ADAL" clId="{B7BB60FE-A10A-46F6-9623-5355C9C8D8D6}" dt="2024-08-05T08:17:26.527" v="816" actId="1076"/>
          <ac:cxnSpMkLst>
            <pc:docMk/>
            <pc:sldMk cId="1611911466" sldId="288"/>
            <ac:cxnSpMk id="87" creationId="{74BEFC6D-B85B-FB51-0711-780DCB2A6761}"/>
          </ac:cxnSpMkLst>
        </pc:cxnChg>
        <pc:cxnChg chg="mod">
          <ac:chgData name="Mahesh Karigoudar" userId="aee392fe-d52f-479c-9f96-f04d75de2987" providerId="ADAL" clId="{B7BB60FE-A10A-46F6-9623-5355C9C8D8D6}" dt="2024-08-05T08:58:21.639" v="1123" actId="14100"/>
          <ac:cxnSpMkLst>
            <pc:docMk/>
            <pc:sldMk cId="1611911466" sldId="288"/>
            <ac:cxnSpMk id="88" creationId="{F3FB5D51-599C-44BD-F707-4759CAADFD84}"/>
          </ac:cxnSpMkLst>
        </pc:cxnChg>
        <pc:cxnChg chg="add mod">
          <ac:chgData name="Mahesh Karigoudar" userId="aee392fe-d52f-479c-9f96-f04d75de2987" providerId="ADAL" clId="{B7BB60FE-A10A-46F6-9623-5355C9C8D8D6}" dt="2024-08-05T08:26:54.799" v="828" actId="1076"/>
          <ac:cxnSpMkLst>
            <pc:docMk/>
            <pc:sldMk cId="1611911466" sldId="288"/>
            <ac:cxnSpMk id="104" creationId="{484DBEDB-C921-0E8B-0899-FC4A0E795D21}"/>
          </ac:cxnSpMkLst>
        </pc:cxnChg>
        <pc:cxnChg chg="mod">
          <ac:chgData name="Mahesh Karigoudar" userId="aee392fe-d52f-479c-9f96-f04d75de2987" providerId="ADAL" clId="{B7BB60FE-A10A-46F6-9623-5355C9C8D8D6}" dt="2024-08-05T08:43:21.797" v="921" actId="1076"/>
          <ac:cxnSpMkLst>
            <pc:docMk/>
            <pc:sldMk cId="1611911466" sldId="288"/>
            <ac:cxnSpMk id="116" creationId="{696485A7-CBFC-AF1A-31E0-C989C8DBF59B}"/>
          </ac:cxnSpMkLst>
        </pc:cxnChg>
        <pc:cxnChg chg="mod">
          <ac:chgData name="Mahesh Karigoudar" userId="aee392fe-d52f-479c-9f96-f04d75de2987" providerId="ADAL" clId="{B7BB60FE-A10A-46F6-9623-5355C9C8D8D6}" dt="2024-08-05T08:27:43.482" v="834" actId="1076"/>
          <ac:cxnSpMkLst>
            <pc:docMk/>
            <pc:sldMk cId="1611911466" sldId="288"/>
            <ac:cxnSpMk id="134" creationId="{83A79ECB-6321-ED7A-AAF4-5D6A5D58C575}"/>
          </ac:cxnSpMkLst>
        </pc:cxnChg>
        <pc:cxnChg chg="mod">
          <ac:chgData name="Mahesh Karigoudar" userId="aee392fe-d52f-479c-9f96-f04d75de2987" providerId="ADAL" clId="{B7BB60FE-A10A-46F6-9623-5355C9C8D8D6}" dt="2024-08-05T08:27:43.482" v="834" actId="1076"/>
          <ac:cxnSpMkLst>
            <pc:docMk/>
            <pc:sldMk cId="1611911466" sldId="288"/>
            <ac:cxnSpMk id="137" creationId="{7E726362-D6BD-A425-2793-969FB97E7363}"/>
          </ac:cxnSpMkLst>
        </pc:cxnChg>
        <pc:cxnChg chg="mod">
          <ac:chgData name="Mahesh Karigoudar" userId="aee392fe-d52f-479c-9f96-f04d75de2987" providerId="ADAL" clId="{B7BB60FE-A10A-46F6-9623-5355C9C8D8D6}" dt="2024-08-05T08:53:53.363" v="1093" actId="1076"/>
          <ac:cxnSpMkLst>
            <pc:docMk/>
            <pc:sldMk cId="1611911466" sldId="288"/>
            <ac:cxnSpMk id="180" creationId="{F6F76111-8A40-0A9E-0D85-E1A662FBDD39}"/>
          </ac:cxnSpMkLst>
        </pc:cxnChg>
        <pc:cxnChg chg="del mod">
          <ac:chgData name="Mahesh Karigoudar" userId="aee392fe-d52f-479c-9f96-f04d75de2987" providerId="ADAL" clId="{B7BB60FE-A10A-46F6-9623-5355C9C8D8D6}" dt="2024-08-05T08:08:54.427" v="760" actId="478"/>
          <ac:cxnSpMkLst>
            <pc:docMk/>
            <pc:sldMk cId="1611911466" sldId="288"/>
            <ac:cxnSpMk id="2058" creationId="{C7EE57B8-C5E3-6B50-5B6B-4B3DE55D82F4}"/>
          </ac:cxnSpMkLst>
        </pc:cxnChg>
        <pc:cxnChg chg="mod">
          <ac:chgData name="Mahesh Karigoudar" userId="aee392fe-d52f-479c-9f96-f04d75de2987" providerId="ADAL" clId="{B7BB60FE-A10A-46F6-9623-5355C9C8D8D6}" dt="2024-08-05T08:15:06.269" v="795" actId="1076"/>
          <ac:cxnSpMkLst>
            <pc:docMk/>
            <pc:sldMk cId="1611911466" sldId="288"/>
            <ac:cxnSpMk id="2061" creationId="{2F3AEA89-5A72-E716-2AEF-B054CEDFBFCF}"/>
          </ac:cxnSpMkLst>
        </pc:cxnChg>
        <pc:cxnChg chg="del">
          <ac:chgData name="Mahesh Karigoudar" userId="aee392fe-d52f-479c-9f96-f04d75de2987" providerId="ADAL" clId="{B7BB60FE-A10A-46F6-9623-5355C9C8D8D6}" dt="2024-08-05T08:08:58.974" v="761" actId="478"/>
          <ac:cxnSpMkLst>
            <pc:docMk/>
            <pc:sldMk cId="1611911466" sldId="288"/>
            <ac:cxnSpMk id="2067" creationId="{2D7A3C3D-983F-9FB5-9683-782C98254889}"/>
          </ac:cxnSpMkLst>
        </pc:cxnChg>
        <pc:cxnChg chg="add del mod">
          <ac:chgData name="Mahesh Karigoudar" userId="aee392fe-d52f-479c-9f96-f04d75de2987" providerId="ADAL" clId="{B7BB60FE-A10A-46F6-9623-5355C9C8D8D6}" dt="2024-08-05T09:38:48.718" v="1127" actId="1076"/>
          <ac:cxnSpMkLst>
            <pc:docMk/>
            <pc:sldMk cId="1611911466" sldId="288"/>
            <ac:cxnSpMk id="2068" creationId="{07CC2FCE-1541-D209-07C0-2FF97C3D76F3}"/>
          </ac:cxnSpMkLst>
        </pc:cxnChg>
        <pc:extLst>
          <p:ext xmlns:p="http://schemas.openxmlformats.org/presentationml/2006/main" uri="{D6D511B9-2390-475A-947B-AFAB55BFBCF1}">
            <pc226:cmChg xmlns:pc226="http://schemas.microsoft.com/office/powerpoint/2022/06/main/command" chg="add">
              <pc226:chgData name="Mahesh Karigoudar" userId="aee392fe-d52f-479c-9f96-f04d75de2987" providerId="ADAL" clId="{B7BB60FE-A10A-46F6-9623-5355C9C8D8D6}" dt="2024-08-05T08:29:05.763" v="838"/>
              <pc2:cmMkLst xmlns:pc2="http://schemas.microsoft.com/office/powerpoint/2019/9/main/command">
                <pc:docMk/>
                <pc:sldMk cId="1611911466" sldId="288"/>
                <pc2:cmMk id="{EFC0DBE0-DBBC-4752-8E3B-A42A179FD290}"/>
              </pc2:cmMkLst>
              <pc226:cmRplyChg chg="add">
                <pc226:chgData name="Mahesh Karigoudar" userId="aee392fe-d52f-479c-9f96-f04d75de2987" providerId="ADAL" clId="{B7BB60FE-A10A-46F6-9623-5355C9C8D8D6}" dt="2024-08-05T08:29:05.763" v="838"/>
                <pc2:cmRplyMkLst xmlns:pc2="http://schemas.microsoft.com/office/powerpoint/2019/9/main/command">
                  <pc:docMk/>
                  <pc:sldMk cId="1611911466" sldId="288"/>
                  <pc2:cmMk id="{EFC0DBE0-DBBC-4752-8E3B-A42A179FD290}"/>
                  <pc2:cmRplyMk id="{81740017-8306-48A8-9B43-EF41A2802DD6}"/>
                </pc2:cmRplyMkLst>
              </pc226:cmRplyChg>
              <pc226:cmRplyChg chg="add">
                <pc226:chgData name="Mahesh Karigoudar" userId="aee392fe-d52f-479c-9f96-f04d75de2987" providerId="ADAL" clId="{B7BB60FE-A10A-46F6-9623-5355C9C8D8D6}" dt="2024-08-05T08:18:38.782" v="819"/>
                <pc2:cmRplyMkLst xmlns:pc2="http://schemas.microsoft.com/office/powerpoint/2019/9/main/command">
                  <pc:docMk/>
                  <pc:sldMk cId="1611911466" sldId="288"/>
                  <pc2:cmMk id="{EFC0DBE0-DBBC-4752-8E3B-A42A179FD290}"/>
                  <pc2:cmRplyMk id="{F6305389-5B7F-4CAD-9F17-85961F0EEAD3}"/>
                </pc2:cmRplyMkLst>
              </pc226:cmRplyChg>
            </pc226:cmChg>
          </p:ext>
        </pc:extLst>
      </pc:sldChg>
      <pc:sldChg chg="addSp delSp modSp mod">
        <pc:chgData name="Mahesh Karigoudar" userId="aee392fe-d52f-479c-9f96-f04d75de2987" providerId="ADAL" clId="{B7BB60FE-A10A-46F6-9623-5355C9C8D8D6}" dt="2024-08-06T07:21:55.126" v="1183" actId="1076"/>
        <pc:sldMkLst>
          <pc:docMk/>
          <pc:sldMk cId="395159546" sldId="289"/>
        </pc:sldMkLst>
        <pc:spChg chg="del">
          <ac:chgData name="Mahesh Karigoudar" userId="aee392fe-d52f-479c-9f96-f04d75de2987" providerId="ADAL" clId="{B7BB60FE-A10A-46F6-9623-5355C9C8D8D6}" dt="2024-08-06T06:19:29.076" v="1154" actId="478"/>
          <ac:spMkLst>
            <pc:docMk/>
            <pc:sldMk cId="395159546" sldId="289"/>
            <ac:spMk id="27" creationId="{D1FC0840-7AC1-6C96-ABC8-0B5C78325BA1}"/>
          </ac:spMkLst>
        </pc:spChg>
        <pc:spChg chg="mod">
          <ac:chgData name="Mahesh Karigoudar" userId="aee392fe-d52f-479c-9f96-f04d75de2987" providerId="ADAL" clId="{B7BB60FE-A10A-46F6-9623-5355C9C8D8D6}" dt="2024-08-06T06:28:01.291" v="1166" actId="1076"/>
          <ac:spMkLst>
            <pc:docMk/>
            <pc:sldMk cId="395159546" sldId="289"/>
            <ac:spMk id="40" creationId="{D0231D0B-9216-B5A7-51D8-2BC299FC3F8F}"/>
          </ac:spMkLst>
        </pc:spChg>
        <pc:spChg chg="mod">
          <ac:chgData name="Mahesh Karigoudar" userId="aee392fe-d52f-479c-9f96-f04d75de2987" providerId="ADAL" clId="{B7BB60FE-A10A-46F6-9623-5355C9C8D8D6}" dt="2024-08-06T06:18:15.862" v="1153" actId="1076"/>
          <ac:spMkLst>
            <pc:docMk/>
            <pc:sldMk cId="395159546" sldId="289"/>
            <ac:spMk id="48" creationId="{D5D2EC3F-ECCF-4A3B-0E10-31DFAD72790D}"/>
          </ac:spMkLst>
        </pc:spChg>
        <pc:spChg chg="mod">
          <ac:chgData name="Mahesh Karigoudar" userId="aee392fe-d52f-479c-9f96-f04d75de2987" providerId="ADAL" clId="{B7BB60FE-A10A-46F6-9623-5355C9C8D8D6}" dt="2024-08-06T06:26:46.862" v="1159" actId="14100"/>
          <ac:spMkLst>
            <pc:docMk/>
            <pc:sldMk cId="395159546" sldId="289"/>
            <ac:spMk id="65" creationId="{6CA6CB57-22EE-9869-2A68-36314244425F}"/>
          </ac:spMkLst>
        </pc:spChg>
        <pc:spChg chg="add mod">
          <ac:chgData name="Mahesh Karigoudar" userId="aee392fe-d52f-479c-9f96-f04d75de2987" providerId="ADAL" clId="{B7BB60FE-A10A-46F6-9623-5355C9C8D8D6}" dt="2024-08-06T06:15:29.994" v="1148" actId="1076"/>
          <ac:spMkLst>
            <pc:docMk/>
            <pc:sldMk cId="395159546" sldId="289"/>
            <ac:spMk id="76" creationId="{D3750B92-F619-3D32-739A-24C0654E1AE9}"/>
          </ac:spMkLst>
        </pc:spChg>
        <pc:spChg chg="add del mod">
          <ac:chgData name="Mahesh Karigoudar" userId="aee392fe-d52f-479c-9f96-f04d75de2987" providerId="ADAL" clId="{B7BB60FE-A10A-46F6-9623-5355C9C8D8D6}" dt="2024-08-06T06:26:33.039" v="1156"/>
          <ac:spMkLst>
            <pc:docMk/>
            <pc:sldMk cId="395159546" sldId="289"/>
            <ac:spMk id="79" creationId="{5A8B753F-9926-223B-0D0F-68ED873CC79C}"/>
          </ac:spMkLst>
        </pc:spChg>
        <pc:spChg chg="add del mod">
          <ac:chgData name="Mahesh Karigoudar" userId="aee392fe-d52f-479c-9f96-f04d75de2987" providerId="ADAL" clId="{B7BB60FE-A10A-46F6-9623-5355C9C8D8D6}" dt="2024-08-06T06:26:40.955" v="1158"/>
          <ac:spMkLst>
            <pc:docMk/>
            <pc:sldMk cId="395159546" sldId="289"/>
            <ac:spMk id="80" creationId="{E2559F4C-2C5A-1A45-7484-44AA0A051994}"/>
          </ac:spMkLst>
        </pc:spChg>
        <pc:spChg chg="add mod">
          <ac:chgData name="Mahesh Karigoudar" userId="aee392fe-d52f-479c-9f96-f04d75de2987" providerId="ADAL" clId="{B7BB60FE-A10A-46F6-9623-5355C9C8D8D6}" dt="2024-08-06T06:27:08.923" v="1163" actId="1076"/>
          <ac:spMkLst>
            <pc:docMk/>
            <pc:sldMk cId="395159546" sldId="289"/>
            <ac:spMk id="81" creationId="{53224099-E415-1E8F-1B8D-00DFE0B0C47B}"/>
          </ac:spMkLst>
        </pc:spChg>
        <pc:spChg chg="add mod">
          <ac:chgData name="Mahesh Karigoudar" userId="aee392fe-d52f-479c-9f96-f04d75de2987" providerId="ADAL" clId="{B7BB60FE-A10A-46F6-9623-5355C9C8D8D6}" dt="2024-08-06T06:33:03.044" v="1181" actId="1076"/>
          <ac:spMkLst>
            <pc:docMk/>
            <pc:sldMk cId="395159546" sldId="289"/>
            <ac:spMk id="83" creationId="{31CC05C4-8FB7-23F6-228A-291034F16ACA}"/>
          </ac:spMkLst>
        </pc:spChg>
        <pc:spChg chg="add mod">
          <ac:chgData name="Mahesh Karigoudar" userId="aee392fe-d52f-479c-9f96-f04d75de2987" providerId="ADAL" clId="{B7BB60FE-A10A-46F6-9623-5355C9C8D8D6}" dt="2024-08-06T06:33:15.547" v="1182" actId="1076"/>
          <ac:spMkLst>
            <pc:docMk/>
            <pc:sldMk cId="395159546" sldId="289"/>
            <ac:spMk id="84" creationId="{0D9F737C-E22E-EF43-2BE4-38D414523C8E}"/>
          </ac:spMkLst>
        </pc:spChg>
        <pc:spChg chg="add mod">
          <ac:chgData name="Mahesh Karigoudar" userId="aee392fe-d52f-479c-9f96-f04d75de2987" providerId="ADAL" clId="{B7BB60FE-A10A-46F6-9623-5355C9C8D8D6}" dt="2024-08-06T07:21:55.126" v="1183" actId="1076"/>
          <ac:spMkLst>
            <pc:docMk/>
            <pc:sldMk cId="395159546" sldId="289"/>
            <ac:spMk id="85" creationId="{1FC2FC75-E1DB-F7AF-CAF5-79102B39224B}"/>
          </ac:spMkLst>
        </pc:spChg>
        <pc:spChg chg="mod">
          <ac:chgData name="Mahesh Karigoudar" userId="aee392fe-d52f-479c-9f96-f04d75de2987" providerId="ADAL" clId="{B7BB60FE-A10A-46F6-9623-5355C9C8D8D6}" dt="2024-08-06T06:32:50.066" v="1180" actId="14100"/>
          <ac:spMkLst>
            <pc:docMk/>
            <pc:sldMk cId="395159546" sldId="289"/>
            <ac:spMk id="135" creationId="{A3262F30-0B4F-AD02-FBD9-8435A1DEF463}"/>
          </ac:spMkLst>
        </pc:spChg>
        <pc:grpChg chg="mod">
          <ac:chgData name="Mahesh Karigoudar" userId="aee392fe-d52f-479c-9f96-f04d75de2987" providerId="ADAL" clId="{B7BB60FE-A10A-46F6-9623-5355C9C8D8D6}" dt="2024-08-06T06:32:24.580" v="1176" actId="1076"/>
          <ac:grpSpMkLst>
            <pc:docMk/>
            <pc:sldMk cId="395159546" sldId="289"/>
            <ac:grpSpMk id="13" creationId="{10504E59-C5D3-EF5A-2BE7-3756FF7D566B}"/>
          </ac:grpSpMkLst>
        </pc:grpChg>
        <pc:picChg chg="add mod">
          <ac:chgData name="Mahesh Karigoudar" userId="aee392fe-d52f-479c-9f96-f04d75de2987" providerId="ADAL" clId="{B7BB60FE-A10A-46F6-9623-5355C9C8D8D6}" dt="2024-08-06T06:15:03.098" v="1144" actId="1076"/>
          <ac:picMkLst>
            <pc:docMk/>
            <pc:sldMk cId="395159546" sldId="289"/>
            <ac:picMk id="71" creationId="{9C63020D-9785-5CF9-35B8-8D072968127B}"/>
          </ac:picMkLst>
        </pc:picChg>
        <pc:picChg chg="del">
          <ac:chgData name="Mahesh Karigoudar" userId="aee392fe-d52f-479c-9f96-f04d75de2987" providerId="ADAL" clId="{B7BB60FE-A10A-46F6-9623-5355C9C8D8D6}" dt="2024-08-06T06:14:30.839" v="1139" actId="478"/>
          <ac:picMkLst>
            <pc:docMk/>
            <pc:sldMk cId="395159546" sldId="289"/>
            <ac:picMk id="72" creationId="{BF110D08-549E-66CD-1ECD-177116BDBCEF}"/>
          </ac:picMkLst>
        </pc:picChg>
        <pc:cxnChg chg="mod">
          <ac:chgData name="Mahesh Karigoudar" userId="aee392fe-d52f-479c-9f96-f04d75de2987" providerId="ADAL" clId="{B7BB60FE-A10A-46F6-9623-5355C9C8D8D6}" dt="2024-08-06T06:28:01.291" v="1166" actId="1076"/>
          <ac:cxnSpMkLst>
            <pc:docMk/>
            <pc:sldMk cId="395159546" sldId="289"/>
            <ac:cxnSpMk id="41" creationId="{AE54E743-84CB-65C9-6CEE-B467EDC38D53}"/>
          </ac:cxnSpMkLst>
        </pc:cxnChg>
        <pc:cxnChg chg="mod">
          <ac:chgData name="Mahesh Karigoudar" userId="aee392fe-d52f-479c-9f96-f04d75de2987" providerId="ADAL" clId="{B7BB60FE-A10A-46F6-9623-5355C9C8D8D6}" dt="2024-08-06T06:14:30.839" v="1139" actId="478"/>
          <ac:cxnSpMkLst>
            <pc:docMk/>
            <pc:sldMk cId="395159546" sldId="289"/>
            <ac:cxnSpMk id="73" creationId="{3D55C69E-FFCD-BBEE-4741-4BCCBCA62DA6}"/>
          </ac:cxnSpMkLst>
        </pc:cxnChg>
        <pc:cxnChg chg="mod">
          <ac:chgData name="Mahesh Karigoudar" userId="aee392fe-d52f-479c-9f96-f04d75de2987" providerId="ADAL" clId="{B7BB60FE-A10A-46F6-9623-5355C9C8D8D6}" dt="2024-08-06T06:14:30.839" v="1139" actId="478"/>
          <ac:cxnSpMkLst>
            <pc:docMk/>
            <pc:sldMk cId="395159546" sldId="289"/>
            <ac:cxnSpMk id="87" creationId="{74BEFC6D-B85B-FB51-0711-780DCB2A6761}"/>
          </ac:cxnSpMkLst>
        </pc:cxnChg>
        <pc:cxnChg chg="del">
          <ac:chgData name="Mahesh Karigoudar" userId="aee392fe-d52f-479c-9f96-f04d75de2987" providerId="ADAL" clId="{B7BB60FE-A10A-46F6-9623-5355C9C8D8D6}" dt="2024-08-06T06:17:16.708" v="1149" actId="478"/>
          <ac:cxnSpMkLst>
            <pc:docMk/>
            <pc:sldMk cId="395159546" sldId="289"/>
            <ac:cxnSpMk id="141" creationId="{9AA8F950-585A-DCAE-68F2-B51964EA9C99}"/>
          </ac:cxnSpMkLst>
        </pc:cxnChg>
        <pc:cxnChg chg="mod">
          <ac:chgData name="Mahesh Karigoudar" userId="aee392fe-d52f-479c-9f96-f04d75de2987" providerId="ADAL" clId="{B7BB60FE-A10A-46F6-9623-5355C9C8D8D6}" dt="2024-08-06T06:32:24.580" v="1176" actId="1076"/>
          <ac:cxnSpMkLst>
            <pc:docMk/>
            <pc:sldMk cId="395159546" sldId="289"/>
            <ac:cxnSpMk id="2068" creationId="{07CC2FCE-1541-D209-07C0-2FF97C3D76F3}"/>
          </ac:cxnSpMkLst>
        </pc:cxnChg>
      </pc:sldChg>
    </pc:docChg>
  </pc:docChgLst>
</pc:chgInfo>
</file>

<file path=ppt/comments/modernComment_120_6013D12A.xml><?xml version="1.0" encoding="utf-8"?>
<p188:cmLst xmlns:a="http://schemas.openxmlformats.org/drawingml/2006/main" xmlns:r="http://schemas.openxmlformats.org/officeDocument/2006/relationships" xmlns:p188="http://schemas.microsoft.com/office/powerpoint/2018/8/main">
  <p188:cm id="{EFC0DBE0-DBBC-4752-8E3B-A42A179FD290}" authorId="{BF8571DD-529D-D6C1-CEE1-3B651040AF86}" created="2024-08-05T08:18:22.407">
    <pc:sldMkLst xmlns:pc="http://schemas.microsoft.com/office/powerpoint/2013/main/command">
      <pc:docMk/>
      <pc:sldMk cId="1611911466" sldId="288"/>
    </pc:sldMkLst>
    <p188:replyLst>
      <p188:reply id="{F6305389-5B7F-4CAD-9F17-85961F0EEAD3}" authorId="{BF8571DD-529D-D6C1-CEE1-3B651040AF86}" created="2024-08-05T08:18:38.687">
        <p188:txBody>
          <a:bodyPr/>
          <a:lstStyle/>
          <a:p>
            <a:r>
              <a:rPr lang="en-US"/>
              <a:t>https://www.geeksforgeeks.org/what-is-api-gateway-system-design/</a:t>
            </a:r>
          </a:p>
        </p188:txBody>
      </p188:reply>
      <p188:reply id="{81740017-8306-48A8-9B43-EF41A2802DD6}" authorId="{BF8571DD-529D-D6C1-CEE1-3B651040AF86}" created="2024-08-05T08:29:05.659">
        <p188:txBody>
          <a:bodyPr/>
          <a:lstStyle/>
          <a:p>
            <a:r>
              <a:rPr lang="en-US"/>
              <a:t>https://learn.microsoft.com/en-us/azure/architecture/reference-architectures/containers/aks-microservices/aks-microservices</a:t>
            </a:r>
          </a:p>
        </p188:txBody>
      </p188:reply>
    </p188:replyLst>
    <p188:txBody>
      <a:bodyPr/>
      <a:lstStyle/>
      <a:p>
        <a:r>
          <a:rPr lang="en-US"/>
          <a:t>https://www.f5.com/glossary/api-gateway</a:t>
        </a:r>
      </a:p>
    </p188:txBody>
  </p188:cm>
</p188:cmLst>
</file>

<file path=ppt/comments/modernComment_121_178DA7FA.xml><?xml version="1.0" encoding="utf-8"?>
<p188:cmLst xmlns:a="http://schemas.openxmlformats.org/drawingml/2006/main" xmlns:r="http://schemas.openxmlformats.org/officeDocument/2006/relationships" xmlns:p188="http://schemas.microsoft.com/office/powerpoint/2018/8/main">
  <p188:cm id="{AC5D57D7-D13A-4797-8B4A-7DD8F9A203F5}" authorId="{BF8571DD-529D-D6C1-CEE1-3B651040AF86}" created="2024-08-05T08:18:22.407">
    <pc:sldMkLst xmlns:pc="http://schemas.microsoft.com/office/powerpoint/2013/main/command">
      <pc:docMk/>
      <pc:sldMk cId="1611911466" sldId="288"/>
    </pc:sldMkLst>
    <p188:replyLst>
      <p188:reply id="{F6305389-5B7F-4CAD-9F17-85961F0EEAD3}" authorId="{BF8571DD-529D-D6C1-CEE1-3B651040AF86}" created="2024-08-05T08:18:38.687">
        <p188:txBody>
          <a:bodyPr/>
          <a:lstStyle/>
          <a:p>
            <a:r>
              <a:rPr lang="en-US"/>
              <a:t>https://www.geeksforgeeks.org/what-is-api-gateway-system-design/</a:t>
            </a:r>
          </a:p>
        </p188:txBody>
      </p188:reply>
      <p188:reply id="{81740017-8306-48A8-9B43-EF41A2802DD6}" authorId="{BF8571DD-529D-D6C1-CEE1-3B651040AF86}" created="2024-08-05T08:29:05.659">
        <p188:txBody>
          <a:bodyPr/>
          <a:lstStyle/>
          <a:p>
            <a:r>
              <a:rPr lang="en-US"/>
              <a:t>https://learn.microsoft.com/en-us/azure/architecture/reference-architectures/containers/aks-microservices/aks-microservices</a:t>
            </a:r>
          </a:p>
        </p188:txBody>
      </p188:reply>
    </p188:replyLst>
    <p188:txBody>
      <a:bodyPr/>
      <a:lstStyle/>
      <a:p>
        <a:r>
          <a:rPr lang="en-US"/>
          <a:t>https://www.f5.com/glossary/api-gatewa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4D6148-7D0C-4B48-B6D2-07C606FFB839}" type="datetimeFigureOut">
              <a:rPr lang="en-US" smtClean="0"/>
              <a:t>6/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D37DEC-22E6-4656-8F21-534E13A6559C}" type="slidenum">
              <a:rPr lang="en-US" smtClean="0"/>
              <a:t>‹#›</a:t>
            </a:fld>
            <a:endParaRPr lang="en-US"/>
          </a:p>
        </p:txBody>
      </p:sp>
    </p:spTree>
    <p:extLst>
      <p:ext uri="{BB962C8B-B14F-4D97-AF65-F5344CB8AC3E}">
        <p14:creationId xmlns:p14="http://schemas.microsoft.com/office/powerpoint/2010/main" val="3765384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2641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2213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391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63090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70A95-0450-F2ED-2084-5386B84E79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31E926-DFBF-5BD8-AE6A-1D472C113E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2852C2-11E0-11E6-25CD-9715EAF5A421}"/>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51B5269C-19DD-59B4-7AE4-FDF7DDC1BC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2F3FC5-58E3-1A08-DFD9-DE3A784FBDEB}"/>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779185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6ECC3-479F-870F-693B-ECD2A6D090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0351DB-A6CF-9F87-71F1-80A051C207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CF3B0B-BB7F-1815-5C7F-29C8A20A5FC5}"/>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AA47E698-94BB-BEA0-E958-FCD784AA8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E9A7A0-CE5B-F406-5AAC-DD48AF1A7772}"/>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2999384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216BF5-1BFD-1F9E-CCD7-718AB5C8FA5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EDFCB53-7FB5-DC36-AA2E-9989143421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395F07-0808-0A1B-2073-1773E8325150}"/>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761E104D-15F5-C424-0E7D-A878C18F26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87771D-F67C-313E-A79F-C5BCC7D5CFF0}"/>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909628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457414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 name="Text Placeholder 2">
            <a:extLst>
              <a:ext uri="{FF2B5EF4-FFF2-40B4-BE49-F238E27FC236}">
                <a16:creationId xmlns:a16="http://schemas.microsoft.com/office/drawing/2014/main" id="{05D4E0B3-C246-4791-A3A8-337F53D95E98}"/>
              </a:ext>
            </a:extLst>
          </p:cNvPr>
          <p:cNvSpPr>
            <a:spLocks noGrp="1"/>
          </p:cNvSpPr>
          <p:nvPr>
            <p:ph type="body" sz="quarter" idx="12"/>
          </p:nvPr>
        </p:nvSpPr>
        <p:spPr>
          <a:xfrm>
            <a:off x="503936" y="5635150"/>
            <a:ext cx="4443984" cy="447040"/>
          </a:xfrm>
        </p:spPr>
        <p:txBody>
          <a:bodyPr vert="horz" lIns="0" tIns="0" rIns="0" bIns="0" rtlCol="0" anchor="t" anchorCtr="0">
            <a:noAutofit/>
          </a:bodyPr>
          <a:lstStyle>
            <a:lvl1pPr>
              <a:lnSpc>
                <a:spcPct val="100000"/>
              </a:lnSpc>
              <a:spcAft>
                <a:spcPts val="0"/>
              </a:spcAft>
              <a:defRPr lang="en-US" sz="2100" dirty="0" smtClean="0">
                <a:solidFill>
                  <a:schemeClr val="bg1"/>
                </a:solidFill>
                <a:latin typeface="Calibri Light" panose="020F0302020204030204" pitchFamily="34" charset="0"/>
                <a:ea typeface="Open Sans" panose="020B0606030504020204" pitchFamily="34" charset="0"/>
              </a:defRPr>
            </a:lvl1pPr>
          </a:lstStyle>
          <a:p>
            <a:pPr lvl="0">
              <a:lnSpc>
                <a:spcPts val="3200"/>
              </a:lnSpc>
              <a:spcBef>
                <a:spcPct val="0"/>
              </a:spcBef>
            </a:pPr>
            <a:r>
              <a:rPr lang="en-US"/>
              <a:t>Click to edit Master text styles</a:t>
            </a:r>
          </a:p>
        </p:txBody>
      </p:sp>
      <p:pic>
        <p:nvPicPr>
          <p:cNvPr id="2" name="Graphic 1">
            <a:extLst>
              <a:ext uri="{FF2B5EF4-FFF2-40B4-BE49-F238E27FC236}">
                <a16:creationId xmlns:a16="http://schemas.microsoft.com/office/drawing/2014/main" id="{016C946D-8FB8-1945-7259-0C915A09EE5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78508"/>
            <a:ext cx="5875092" cy="5700985"/>
          </a:xfrm>
          <a:prstGeom prst="rect">
            <a:avLst/>
          </a:prstGeom>
        </p:spPr>
      </p:pic>
      <p:grpSp>
        <p:nvGrpSpPr>
          <p:cNvPr id="4" name="Group 3">
            <a:extLst>
              <a:ext uri="{FF2B5EF4-FFF2-40B4-BE49-F238E27FC236}">
                <a16:creationId xmlns:a16="http://schemas.microsoft.com/office/drawing/2014/main" id="{68B17D27-D4C8-A0E4-27A9-376944667A6B}"/>
              </a:ext>
            </a:extLst>
          </p:cNvPr>
          <p:cNvGrpSpPr/>
          <p:nvPr userDrawn="1"/>
        </p:nvGrpSpPr>
        <p:grpSpPr>
          <a:xfrm>
            <a:off x="1060759" y="1155301"/>
            <a:ext cx="10629591" cy="4547398"/>
            <a:chOff x="1060759" y="1155301"/>
            <a:chExt cx="10629591" cy="4547398"/>
          </a:xfrm>
        </p:grpSpPr>
        <p:grpSp>
          <p:nvGrpSpPr>
            <p:cNvPr id="5" name="Graphic 3">
              <a:extLst>
                <a:ext uri="{FF2B5EF4-FFF2-40B4-BE49-F238E27FC236}">
                  <a16:creationId xmlns:a16="http://schemas.microsoft.com/office/drawing/2014/main" id="{A2C0F19D-C5FD-71AD-88B7-180FF9672416}"/>
                </a:ext>
              </a:extLst>
            </p:cNvPr>
            <p:cNvGrpSpPr/>
            <p:nvPr/>
          </p:nvGrpSpPr>
          <p:grpSpPr>
            <a:xfrm>
              <a:off x="7535318" y="1543761"/>
              <a:ext cx="3735733" cy="3735731"/>
              <a:chOff x="3967787" y="1390992"/>
              <a:chExt cx="4212464" cy="4212462"/>
            </a:xfrm>
          </p:grpSpPr>
          <p:sp>
            <p:nvSpPr>
              <p:cNvPr id="476" name="Freeform: Shape 475">
                <a:extLst>
                  <a:ext uri="{FF2B5EF4-FFF2-40B4-BE49-F238E27FC236}">
                    <a16:creationId xmlns:a16="http://schemas.microsoft.com/office/drawing/2014/main" id="{BFC39E77-9CF2-CF04-B9F2-08CD8EEAFE68}"/>
                  </a:ext>
                </a:extLst>
              </p:cNvPr>
              <p:cNvSpPr/>
              <p:nvPr/>
            </p:nvSpPr>
            <p:spPr>
              <a:xfrm flipH="1">
                <a:off x="4436096" y="1859301"/>
                <a:ext cx="3275845" cy="3275868"/>
              </a:xfrm>
              <a:custGeom>
                <a:avLst/>
                <a:gdLst>
                  <a:gd name="connsiteX0" fmla="*/ 3275845 w 3275845"/>
                  <a:gd name="connsiteY0" fmla="*/ 1637946 h 3275868"/>
                  <a:gd name="connsiteX1" fmla="*/ 1637923 w 3275845"/>
                  <a:gd name="connsiteY1" fmla="*/ 3275869 h 3275868"/>
                  <a:gd name="connsiteX2" fmla="*/ 0 w 3275845"/>
                  <a:gd name="connsiteY2" fmla="*/ 1637946 h 3275868"/>
                  <a:gd name="connsiteX3" fmla="*/ 1637923 w 3275845"/>
                  <a:gd name="connsiteY3" fmla="*/ 0 h 3275868"/>
                  <a:gd name="connsiteX4" fmla="*/ 3275845 w 3275845"/>
                  <a:gd name="connsiteY4" fmla="*/ 1637923 h 3275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5845" h="3275868">
                    <a:moveTo>
                      <a:pt x="3275845" y="1637946"/>
                    </a:moveTo>
                    <a:cubicBezTo>
                      <a:pt x="3275845" y="2542554"/>
                      <a:pt x="2542530" y="3275869"/>
                      <a:pt x="1637923" y="3275869"/>
                    </a:cubicBezTo>
                    <a:cubicBezTo>
                      <a:pt x="733315" y="3275869"/>
                      <a:pt x="0" y="2542530"/>
                      <a:pt x="0" y="1637946"/>
                    </a:cubicBezTo>
                    <a:cubicBezTo>
                      <a:pt x="0" y="733362"/>
                      <a:pt x="733315" y="0"/>
                      <a:pt x="1637923" y="0"/>
                    </a:cubicBezTo>
                    <a:cubicBezTo>
                      <a:pt x="2542530" y="0"/>
                      <a:pt x="3275845" y="733315"/>
                      <a:pt x="3275845" y="1637923"/>
                    </a:cubicBezTo>
                    <a:close/>
                  </a:path>
                </a:pathLst>
              </a:custGeom>
              <a:noFill/>
              <a:ln w="177333" cap="flat">
                <a:gradFill>
                  <a:gsLst>
                    <a:gs pos="0">
                      <a:srgbClr val="0076A8"/>
                    </a:gs>
                    <a:gs pos="100000">
                      <a:schemeClr val="accent6">
                        <a:lumMod val="50000"/>
                      </a:schemeClr>
                    </a:gs>
                  </a:gsLst>
                  <a:lin ang="10712445" scaled="1"/>
                </a:gradFill>
                <a:prstDash val="solid"/>
                <a:miter/>
              </a:ln>
            </p:spPr>
            <p:txBody>
              <a:bodyPr rtlCol="0" anchor="ctr"/>
              <a:lstStyle/>
              <a:p>
                <a:endParaRPr lang="en-US"/>
              </a:p>
            </p:txBody>
          </p:sp>
          <p:sp>
            <p:nvSpPr>
              <p:cNvPr id="477" name="Freeform: Shape 476">
                <a:extLst>
                  <a:ext uri="{FF2B5EF4-FFF2-40B4-BE49-F238E27FC236}">
                    <a16:creationId xmlns:a16="http://schemas.microsoft.com/office/drawing/2014/main" id="{28684518-05F4-B4B8-CE29-9E0F43B6630A}"/>
                  </a:ext>
                </a:extLst>
              </p:cNvPr>
              <p:cNvSpPr/>
              <p:nvPr/>
            </p:nvSpPr>
            <p:spPr>
              <a:xfrm>
                <a:off x="3967787" y="1390992"/>
                <a:ext cx="4212464" cy="4212462"/>
              </a:xfrm>
              <a:custGeom>
                <a:avLst/>
                <a:gdLst>
                  <a:gd name="connsiteX0" fmla="*/ 1483061 w 4212464"/>
                  <a:gd name="connsiteY0" fmla="*/ 4117599 h 4212462"/>
                  <a:gd name="connsiteX1" fmla="*/ 94889 w 4212464"/>
                  <a:gd name="connsiteY1" fmla="*/ 1483061 h 4212462"/>
                  <a:gd name="connsiteX2" fmla="*/ 2729403 w 4212464"/>
                  <a:gd name="connsiteY2" fmla="*/ 94889 h 4212462"/>
                  <a:gd name="connsiteX3" fmla="*/ 4117575 w 4212464"/>
                  <a:gd name="connsiteY3" fmla="*/ 2729403 h 4212462"/>
                  <a:gd name="connsiteX4" fmla="*/ 1483061 w 4212464"/>
                  <a:gd name="connsiteY4" fmla="*/ 4117575 h 4212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2464" h="4212462">
                    <a:moveTo>
                      <a:pt x="1483061" y="4117599"/>
                    </a:moveTo>
                    <a:cubicBezTo>
                      <a:pt x="372212" y="3773429"/>
                      <a:pt x="-249281" y="2593911"/>
                      <a:pt x="94889" y="1483061"/>
                    </a:cubicBezTo>
                    <a:cubicBezTo>
                      <a:pt x="439059" y="372212"/>
                      <a:pt x="1618554" y="-249281"/>
                      <a:pt x="2729403" y="94889"/>
                    </a:cubicBezTo>
                    <a:cubicBezTo>
                      <a:pt x="3840253" y="439059"/>
                      <a:pt x="4461745" y="1618577"/>
                      <a:pt x="4117575" y="2729403"/>
                    </a:cubicBezTo>
                    <a:cubicBezTo>
                      <a:pt x="3773405" y="3840229"/>
                      <a:pt x="2593887" y="4461745"/>
                      <a:pt x="1483061" y="4117575"/>
                    </a:cubicBezTo>
                    <a:close/>
                  </a:path>
                </a:pathLst>
              </a:custGeom>
              <a:noFill/>
              <a:ln w="141866" cap="flat">
                <a:gradFill>
                  <a:gsLst>
                    <a:gs pos="0">
                      <a:srgbClr val="0076A8">
                        <a:alpha val="38000"/>
                      </a:srgbClr>
                    </a:gs>
                    <a:gs pos="100000">
                      <a:schemeClr val="accent6">
                        <a:lumMod val="50000"/>
                        <a:alpha val="41000"/>
                      </a:schemeClr>
                    </a:gs>
                  </a:gsLst>
                  <a:lin ang="11274777" scaled="1"/>
                </a:gradFill>
                <a:prstDash val="solid"/>
                <a:miter/>
              </a:ln>
            </p:spPr>
            <p:txBody>
              <a:bodyPr rtlCol="0" anchor="ctr"/>
              <a:lstStyle/>
              <a:p>
                <a:endParaRPr lang="en-US"/>
              </a:p>
            </p:txBody>
          </p:sp>
          <p:sp>
            <p:nvSpPr>
              <p:cNvPr id="478" name="Freeform: Shape 477">
                <a:extLst>
                  <a:ext uri="{FF2B5EF4-FFF2-40B4-BE49-F238E27FC236}">
                    <a16:creationId xmlns:a16="http://schemas.microsoft.com/office/drawing/2014/main" id="{4A7EF081-EFDB-AEF5-D3A4-919E25A0913B}"/>
                  </a:ext>
                </a:extLst>
              </p:cNvPr>
              <p:cNvSpPr/>
              <p:nvPr/>
            </p:nvSpPr>
            <p:spPr>
              <a:xfrm>
                <a:off x="4343592" y="1766821"/>
                <a:ext cx="3460852" cy="3460829"/>
              </a:xfrm>
              <a:custGeom>
                <a:avLst/>
                <a:gdLst>
                  <a:gd name="connsiteX0" fmla="*/ 3460829 w 3460852"/>
                  <a:gd name="connsiteY0" fmla="*/ 1730403 h 3460829"/>
                  <a:gd name="connsiteX1" fmla="*/ 1730403 w 3460852"/>
                  <a:gd name="connsiteY1" fmla="*/ 3460829 h 3460829"/>
                  <a:gd name="connsiteX2" fmla="*/ 0 w 3460852"/>
                  <a:gd name="connsiteY2" fmla="*/ 1730403 h 3460829"/>
                  <a:gd name="connsiteX3" fmla="*/ 1730426 w 3460852"/>
                  <a:gd name="connsiteY3" fmla="*/ 0 h 3460829"/>
                  <a:gd name="connsiteX4" fmla="*/ 3460853 w 3460852"/>
                  <a:gd name="connsiteY4" fmla="*/ 1730426 h 3460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0852" h="3460829">
                    <a:moveTo>
                      <a:pt x="3460829" y="1730403"/>
                    </a:moveTo>
                    <a:cubicBezTo>
                      <a:pt x="3460829" y="2686086"/>
                      <a:pt x="2686086" y="3460829"/>
                      <a:pt x="1730403" y="3460829"/>
                    </a:cubicBezTo>
                    <a:cubicBezTo>
                      <a:pt x="774719" y="3460829"/>
                      <a:pt x="0" y="2686110"/>
                      <a:pt x="0" y="1730403"/>
                    </a:cubicBezTo>
                    <a:cubicBezTo>
                      <a:pt x="0" y="774696"/>
                      <a:pt x="774743" y="0"/>
                      <a:pt x="1730426" y="0"/>
                    </a:cubicBezTo>
                    <a:cubicBezTo>
                      <a:pt x="2686110" y="0"/>
                      <a:pt x="3460853" y="774743"/>
                      <a:pt x="3460853" y="1730426"/>
                    </a:cubicBezTo>
                    <a:close/>
                  </a:path>
                </a:pathLst>
              </a:custGeom>
              <a:noFill/>
              <a:ln w="18915" cap="flat">
                <a:solidFill>
                  <a:srgbClr val="17A8F7">
                    <a:alpha val="40000"/>
                  </a:srgbClr>
                </a:solidFill>
                <a:prstDash val="solid"/>
                <a:miter/>
              </a:ln>
            </p:spPr>
            <p:txBody>
              <a:bodyPr rtlCol="0" anchor="ctr"/>
              <a:lstStyle/>
              <a:p>
                <a:endParaRPr lang="en-US"/>
              </a:p>
            </p:txBody>
          </p:sp>
          <p:sp>
            <p:nvSpPr>
              <p:cNvPr id="479" name="Freeform: Shape 478">
                <a:extLst>
                  <a:ext uri="{FF2B5EF4-FFF2-40B4-BE49-F238E27FC236}">
                    <a16:creationId xmlns:a16="http://schemas.microsoft.com/office/drawing/2014/main" id="{42351623-33A5-7E99-D292-DA141925AE0B}"/>
                  </a:ext>
                </a:extLst>
              </p:cNvPr>
              <p:cNvSpPr/>
              <p:nvPr/>
            </p:nvSpPr>
            <p:spPr>
              <a:xfrm>
                <a:off x="4336073" y="1457695"/>
                <a:ext cx="3777464" cy="4079104"/>
              </a:xfrm>
              <a:custGeom>
                <a:avLst/>
                <a:gdLst>
                  <a:gd name="connsiteX0" fmla="*/ 511608 w 3777464"/>
                  <a:gd name="connsiteY0" fmla="*/ 410024 h 4079104"/>
                  <a:gd name="connsiteX1" fmla="*/ 3367450 w 3777464"/>
                  <a:gd name="connsiteY1" fmla="*/ 813215 h 4079104"/>
                  <a:gd name="connsiteX2" fmla="*/ 2964260 w 3777464"/>
                  <a:gd name="connsiteY2" fmla="*/ 3669080 h 4079104"/>
                  <a:gd name="connsiteX3" fmla="*/ 108418 w 3777464"/>
                  <a:gd name="connsiteY3" fmla="*/ 3265890 h 4079104"/>
                  <a:gd name="connsiteX4" fmla="*/ 0 w 3777464"/>
                  <a:gd name="connsiteY4" fmla="*/ 3106704 h 4079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7464" h="4079104">
                    <a:moveTo>
                      <a:pt x="511608" y="410024"/>
                    </a:moveTo>
                    <a:cubicBezTo>
                      <a:pt x="1411558" y="-267273"/>
                      <a:pt x="2690177" y="-86758"/>
                      <a:pt x="3367450" y="813215"/>
                    </a:cubicBezTo>
                    <a:cubicBezTo>
                      <a:pt x="4044724" y="1713188"/>
                      <a:pt x="3864233" y="2991783"/>
                      <a:pt x="2964260" y="3669080"/>
                    </a:cubicBezTo>
                    <a:cubicBezTo>
                      <a:pt x="2064310" y="4346378"/>
                      <a:pt x="785691" y="4165863"/>
                      <a:pt x="108418" y="3265890"/>
                    </a:cubicBezTo>
                    <a:cubicBezTo>
                      <a:pt x="69803" y="3214578"/>
                      <a:pt x="33625" y="3161445"/>
                      <a:pt x="0" y="3106704"/>
                    </a:cubicBezTo>
                  </a:path>
                </a:pathLst>
              </a:custGeom>
              <a:noFill/>
              <a:ln w="18915" cap="flat">
                <a:solidFill>
                  <a:srgbClr val="17A8F7">
                    <a:alpha val="40000"/>
                  </a:srgbClr>
                </a:solidFill>
                <a:prstDash val="solid"/>
                <a:miter/>
              </a:ln>
            </p:spPr>
            <p:txBody>
              <a:bodyPr rtlCol="0" anchor="ctr"/>
              <a:lstStyle/>
              <a:p>
                <a:endParaRPr lang="en-US"/>
              </a:p>
            </p:txBody>
          </p:sp>
          <p:sp>
            <p:nvSpPr>
              <p:cNvPr id="480" name="Freeform: Shape 479">
                <a:extLst>
                  <a:ext uri="{FF2B5EF4-FFF2-40B4-BE49-F238E27FC236}">
                    <a16:creationId xmlns:a16="http://schemas.microsoft.com/office/drawing/2014/main" id="{30624308-3FF9-0080-8528-7BA4AAF288D4}"/>
                  </a:ext>
                </a:extLst>
              </p:cNvPr>
              <p:cNvSpPr/>
              <p:nvPr/>
            </p:nvSpPr>
            <p:spPr>
              <a:xfrm>
                <a:off x="6968687" y="1619631"/>
                <a:ext cx="149460" cy="149499"/>
              </a:xfrm>
              <a:custGeom>
                <a:avLst/>
                <a:gdLst>
                  <a:gd name="connsiteX0" fmla="*/ 59904 w 149460"/>
                  <a:gd name="connsiteY0" fmla="*/ 147994 h 149499"/>
                  <a:gd name="connsiteX1" fmla="*/ 1498 w 149460"/>
                  <a:gd name="connsiteY1" fmla="*/ 59912 h 149499"/>
                  <a:gd name="connsiteX2" fmla="*/ 89556 w 149460"/>
                  <a:gd name="connsiteY2" fmla="*/ 1506 h 149499"/>
                  <a:gd name="connsiteX3" fmla="*/ 147963 w 149460"/>
                  <a:gd name="connsiteY3" fmla="*/ 89588 h 149499"/>
                  <a:gd name="connsiteX4" fmla="*/ 59904 w 149460"/>
                  <a:gd name="connsiteY4" fmla="*/ 147994 h 14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60" h="149499">
                    <a:moveTo>
                      <a:pt x="59904" y="147994"/>
                    </a:moveTo>
                    <a:cubicBezTo>
                      <a:pt x="19469" y="139812"/>
                      <a:pt x="-6683" y="100370"/>
                      <a:pt x="1498" y="59912"/>
                    </a:cubicBezTo>
                    <a:cubicBezTo>
                      <a:pt x="9680" y="19453"/>
                      <a:pt x="49121" y="-6700"/>
                      <a:pt x="89556" y="1506"/>
                    </a:cubicBezTo>
                    <a:cubicBezTo>
                      <a:pt x="129991" y="9687"/>
                      <a:pt x="156144" y="49129"/>
                      <a:pt x="147963" y="89588"/>
                    </a:cubicBezTo>
                    <a:cubicBezTo>
                      <a:pt x="139781" y="130046"/>
                      <a:pt x="100339" y="156199"/>
                      <a:pt x="59904" y="147994"/>
                    </a:cubicBezTo>
                    <a:close/>
                  </a:path>
                </a:pathLst>
              </a:custGeom>
              <a:solidFill>
                <a:srgbClr val="049FE7">
                  <a:alpha val="40000"/>
                </a:srgbClr>
              </a:solidFill>
              <a:ln w="0" cap="flat">
                <a:noFill/>
                <a:prstDash val="solid"/>
                <a:miter/>
              </a:ln>
            </p:spPr>
            <p:txBody>
              <a:bodyPr rtlCol="0" anchor="ctr"/>
              <a:lstStyle/>
              <a:p>
                <a:endParaRPr lang="en-US"/>
              </a:p>
            </p:txBody>
          </p:sp>
          <p:sp>
            <p:nvSpPr>
              <p:cNvPr id="481" name="Freeform: Shape 480">
                <a:extLst>
                  <a:ext uri="{FF2B5EF4-FFF2-40B4-BE49-F238E27FC236}">
                    <a16:creationId xmlns:a16="http://schemas.microsoft.com/office/drawing/2014/main" id="{FC00E910-7AF7-033F-C6D0-A85F710C340A}"/>
                  </a:ext>
                </a:extLst>
              </p:cNvPr>
              <p:cNvSpPr/>
              <p:nvPr/>
            </p:nvSpPr>
            <p:spPr>
              <a:xfrm>
                <a:off x="4971319" y="4810965"/>
                <a:ext cx="149460" cy="149499"/>
              </a:xfrm>
              <a:custGeom>
                <a:avLst/>
                <a:gdLst>
                  <a:gd name="connsiteX0" fmla="*/ 59904 w 149460"/>
                  <a:gd name="connsiteY0" fmla="*/ 147994 h 149499"/>
                  <a:gd name="connsiteX1" fmla="*/ 1498 w 149460"/>
                  <a:gd name="connsiteY1" fmla="*/ 59912 h 149499"/>
                  <a:gd name="connsiteX2" fmla="*/ 89556 w 149460"/>
                  <a:gd name="connsiteY2" fmla="*/ 1506 h 149499"/>
                  <a:gd name="connsiteX3" fmla="*/ 147962 w 149460"/>
                  <a:gd name="connsiteY3" fmla="*/ 89588 h 149499"/>
                  <a:gd name="connsiteX4" fmla="*/ 59904 w 149460"/>
                  <a:gd name="connsiteY4" fmla="*/ 147994 h 14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60" h="149499">
                    <a:moveTo>
                      <a:pt x="59904" y="147994"/>
                    </a:moveTo>
                    <a:cubicBezTo>
                      <a:pt x="19469" y="139812"/>
                      <a:pt x="-6684" y="100370"/>
                      <a:pt x="1498" y="59912"/>
                    </a:cubicBezTo>
                    <a:cubicBezTo>
                      <a:pt x="9680" y="19453"/>
                      <a:pt x="49121" y="-6699"/>
                      <a:pt x="89556" y="1506"/>
                    </a:cubicBezTo>
                    <a:cubicBezTo>
                      <a:pt x="129991" y="9687"/>
                      <a:pt x="156144" y="49129"/>
                      <a:pt x="147962" y="89588"/>
                    </a:cubicBezTo>
                    <a:cubicBezTo>
                      <a:pt x="139781" y="130046"/>
                      <a:pt x="100339" y="156199"/>
                      <a:pt x="59904" y="147994"/>
                    </a:cubicBezTo>
                    <a:close/>
                  </a:path>
                </a:pathLst>
              </a:custGeom>
              <a:solidFill>
                <a:srgbClr val="049FE7">
                  <a:alpha val="40000"/>
                </a:srgbClr>
              </a:solidFill>
              <a:ln w="0" cap="flat">
                <a:noFill/>
                <a:prstDash val="solid"/>
                <a:miter/>
              </a:ln>
            </p:spPr>
            <p:txBody>
              <a:bodyPr rtlCol="0" anchor="ctr"/>
              <a:lstStyle/>
              <a:p>
                <a:endParaRPr lang="en-US"/>
              </a:p>
            </p:txBody>
          </p:sp>
          <p:sp>
            <p:nvSpPr>
              <p:cNvPr id="482" name="Freeform: Shape 481">
                <a:extLst>
                  <a:ext uri="{FF2B5EF4-FFF2-40B4-BE49-F238E27FC236}">
                    <a16:creationId xmlns:a16="http://schemas.microsoft.com/office/drawing/2014/main" id="{8203926A-87C9-929A-0BE3-9BCDF9E24826}"/>
                  </a:ext>
                </a:extLst>
              </p:cNvPr>
              <p:cNvSpPr/>
              <p:nvPr/>
            </p:nvSpPr>
            <p:spPr>
              <a:xfrm>
                <a:off x="7221176" y="5080292"/>
                <a:ext cx="114495" cy="114509"/>
              </a:xfrm>
              <a:custGeom>
                <a:avLst/>
                <a:gdLst>
                  <a:gd name="connsiteX0" fmla="*/ 45886 w 114495"/>
                  <a:gd name="connsiteY0" fmla="*/ 113355 h 114509"/>
                  <a:gd name="connsiteX1" fmla="*/ 1147 w 114495"/>
                  <a:gd name="connsiteY1" fmla="*/ 45893 h 114509"/>
                  <a:gd name="connsiteX2" fmla="*/ 68610 w 114495"/>
                  <a:gd name="connsiteY2" fmla="*/ 1154 h 114509"/>
                  <a:gd name="connsiteX3" fmla="*/ 113349 w 114495"/>
                  <a:gd name="connsiteY3" fmla="*/ 68617 h 114509"/>
                  <a:gd name="connsiteX4" fmla="*/ 45886 w 114495"/>
                  <a:gd name="connsiteY4" fmla="*/ 113355 h 114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5" h="114509">
                    <a:moveTo>
                      <a:pt x="45886" y="113355"/>
                    </a:moveTo>
                    <a:cubicBezTo>
                      <a:pt x="14910" y="107089"/>
                      <a:pt x="-5119" y="76869"/>
                      <a:pt x="1147" y="45893"/>
                    </a:cubicBezTo>
                    <a:cubicBezTo>
                      <a:pt x="7414" y="14916"/>
                      <a:pt x="37634" y="-5136"/>
                      <a:pt x="68610" y="1154"/>
                    </a:cubicBezTo>
                    <a:cubicBezTo>
                      <a:pt x="99586" y="7420"/>
                      <a:pt x="119615" y="37640"/>
                      <a:pt x="113349" y="68617"/>
                    </a:cubicBezTo>
                    <a:cubicBezTo>
                      <a:pt x="107082" y="99593"/>
                      <a:pt x="76862" y="119645"/>
                      <a:pt x="45886" y="113355"/>
                    </a:cubicBezTo>
                    <a:close/>
                  </a:path>
                </a:pathLst>
              </a:custGeom>
              <a:solidFill>
                <a:srgbClr val="049FE7">
                  <a:alpha val="40000"/>
                </a:srgbClr>
              </a:solidFill>
              <a:ln w="0" cap="flat">
                <a:noFill/>
                <a:prstDash val="solid"/>
                <a:miter/>
              </a:ln>
            </p:spPr>
            <p:txBody>
              <a:bodyPr rtlCol="0" anchor="ctr"/>
              <a:lstStyle/>
              <a:p>
                <a:endParaRPr lang="en-US"/>
              </a:p>
            </p:txBody>
          </p:sp>
        </p:grpSp>
        <p:grpSp>
          <p:nvGrpSpPr>
            <p:cNvPr id="6" name="Graphic 3">
              <a:extLst>
                <a:ext uri="{FF2B5EF4-FFF2-40B4-BE49-F238E27FC236}">
                  <a16:creationId xmlns:a16="http://schemas.microsoft.com/office/drawing/2014/main" id="{600B6CAA-2144-BBE9-CDD7-DCF2052805DB}"/>
                </a:ext>
              </a:extLst>
            </p:cNvPr>
            <p:cNvGrpSpPr/>
            <p:nvPr/>
          </p:nvGrpSpPr>
          <p:grpSpPr>
            <a:xfrm>
              <a:off x="10378893" y="3117542"/>
              <a:ext cx="918981" cy="222954"/>
              <a:chOff x="7174241" y="3165610"/>
              <a:chExt cx="1036256" cy="251406"/>
            </a:xfrm>
          </p:grpSpPr>
          <p:sp>
            <p:nvSpPr>
              <p:cNvPr id="469" name="Freeform: Shape 468">
                <a:extLst>
                  <a:ext uri="{FF2B5EF4-FFF2-40B4-BE49-F238E27FC236}">
                    <a16:creationId xmlns:a16="http://schemas.microsoft.com/office/drawing/2014/main" id="{35CFCF1C-ABD1-76E7-97B4-B584A5768036}"/>
                  </a:ext>
                </a:extLst>
              </p:cNvPr>
              <p:cNvSpPr/>
              <p:nvPr/>
            </p:nvSpPr>
            <p:spPr>
              <a:xfrm>
                <a:off x="7566376" y="3243997"/>
                <a:ext cx="94631" cy="94631"/>
              </a:xfrm>
              <a:custGeom>
                <a:avLst/>
                <a:gdLst>
                  <a:gd name="connsiteX0" fmla="*/ 0 w 94631"/>
                  <a:gd name="connsiteY0" fmla="*/ 47316 h 94631"/>
                  <a:gd name="connsiteX1" fmla="*/ 47316 w 94631"/>
                  <a:gd name="connsiteY1" fmla="*/ 0 h 94631"/>
                  <a:gd name="connsiteX2" fmla="*/ 94632 w 94631"/>
                  <a:gd name="connsiteY2" fmla="*/ 47316 h 94631"/>
                  <a:gd name="connsiteX3" fmla="*/ 47316 w 94631"/>
                  <a:gd name="connsiteY3" fmla="*/ 94632 h 94631"/>
                  <a:gd name="connsiteX4" fmla="*/ 0 w 94631"/>
                  <a:gd name="connsiteY4" fmla="*/ 47316 h 94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31" h="94631">
                    <a:moveTo>
                      <a:pt x="0" y="47316"/>
                    </a:moveTo>
                    <a:cubicBezTo>
                      <a:pt x="0" y="21187"/>
                      <a:pt x="21187" y="0"/>
                      <a:pt x="47316" y="0"/>
                    </a:cubicBezTo>
                    <a:cubicBezTo>
                      <a:pt x="73445" y="0"/>
                      <a:pt x="94632" y="21187"/>
                      <a:pt x="94632" y="47316"/>
                    </a:cubicBezTo>
                    <a:cubicBezTo>
                      <a:pt x="94632" y="73445"/>
                      <a:pt x="73445" y="94632"/>
                      <a:pt x="47316" y="94632"/>
                    </a:cubicBezTo>
                    <a:cubicBezTo>
                      <a:pt x="21187" y="94632"/>
                      <a:pt x="0" y="73445"/>
                      <a:pt x="0" y="47316"/>
                    </a:cubicBezTo>
                    <a:close/>
                  </a:path>
                </a:pathLst>
              </a:custGeom>
              <a:solidFill>
                <a:srgbClr val="049FE7"/>
              </a:solidFill>
              <a:ln w="0" cap="flat">
                <a:noFill/>
                <a:prstDash val="solid"/>
                <a:miter/>
              </a:ln>
            </p:spPr>
            <p:txBody>
              <a:bodyPr rtlCol="0" anchor="ctr"/>
              <a:lstStyle/>
              <a:p>
                <a:endParaRPr lang="en-US"/>
              </a:p>
            </p:txBody>
          </p:sp>
          <p:sp>
            <p:nvSpPr>
              <p:cNvPr id="470" name="Freeform: Shape 469">
                <a:extLst>
                  <a:ext uri="{FF2B5EF4-FFF2-40B4-BE49-F238E27FC236}">
                    <a16:creationId xmlns:a16="http://schemas.microsoft.com/office/drawing/2014/main" id="{0A70566A-1705-52B3-AAA4-F7D63A1984C0}"/>
                  </a:ext>
                </a:extLst>
              </p:cNvPr>
              <p:cNvSpPr/>
              <p:nvPr/>
            </p:nvSpPr>
            <p:spPr>
              <a:xfrm>
                <a:off x="7487965" y="3165610"/>
                <a:ext cx="251453" cy="251406"/>
              </a:xfrm>
              <a:custGeom>
                <a:avLst/>
                <a:gdLst>
                  <a:gd name="connsiteX0" fmla="*/ 0 w 251453"/>
                  <a:gd name="connsiteY0" fmla="*/ 125703 h 251406"/>
                  <a:gd name="connsiteX1" fmla="*/ 125727 w 251453"/>
                  <a:gd name="connsiteY1" fmla="*/ 0 h 251406"/>
                  <a:gd name="connsiteX2" fmla="*/ 251454 w 251453"/>
                  <a:gd name="connsiteY2" fmla="*/ 125703 h 251406"/>
                  <a:gd name="connsiteX3" fmla="*/ 125727 w 251453"/>
                  <a:gd name="connsiteY3" fmla="*/ 251406 h 251406"/>
                  <a:gd name="connsiteX4" fmla="*/ 0 w 251453"/>
                  <a:gd name="connsiteY4" fmla="*/ 125703 h 251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53" h="251406">
                    <a:moveTo>
                      <a:pt x="0" y="125703"/>
                    </a:moveTo>
                    <a:cubicBezTo>
                      <a:pt x="0" y="56278"/>
                      <a:pt x="56302" y="0"/>
                      <a:pt x="125727" y="0"/>
                    </a:cubicBezTo>
                    <a:cubicBezTo>
                      <a:pt x="195152" y="0"/>
                      <a:pt x="251454" y="56278"/>
                      <a:pt x="251454" y="125703"/>
                    </a:cubicBezTo>
                    <a:cubicBezTo>
                      <a:pt x="251454" y="195128"/>
                      <a:pt x="195152" y="251406"/>
                      <a:pt x="125727" y="251406"/>
                    </a:cubicBezTo>
                    <a:cubicBezTo>
                      <a:pt x="56302" y="251406"/>
                      <a:pt x="0" y="195128"/>
                      <a:pt x="0" y="125703"/>
                    </a:cubicBezTo>
                    <a:close/>
                  </a:path>
                </a:pathLst>
              </a:custGeom>
              <a:noFill/>
              <a:ln w="9458" cap="flat">
                <a:solidFill>
                  <a:srgbClr val="17A8F7"/>
                </a:solidFill>
                <a:prstDash val="solid"/>
                <a:miter/>
              </a:ln>
            </p:spPr>
            <p:txBody>
              <a:bodyPr rtlCol="0" anchor="ctr"/>
              <a:lstStyle/>
              <a:p>
                <a:endParaRPr lang="en-US"/>
              </a:p>
            </p:txBody>
          </p:sp>
          <p:sp>
            <p:nvSpPr>
              <p:cNvPr id="471" name="Freeform: Shape 470">
                <a:extLst>
                  <a:ext uri="{FF2B5EF4-FFF2-40B4-BE49-F238E27FC236}">
                    <a16:creationId xmlns:a16="http://schemas.microsoft.com/office/drawing/2014/main" id="{8EE7A607-B642-DEE6-6D0C-5B3B2ED93922}"/>
                  </a:ext>
                </a:extLst>
              </p:cNvPr>
              <p:cNvSpPr/>
              <p:nvPr/>
            </p:nvSpPr>
            <p:spPr>
              <a:xfrm>
                <a:off x="7268197" y="3291313"/>
                <a:ext cx="216386" cy="2364"/>
              </a:xfrm>
              <a:custGeom>
                <a:avLst/>
                <a:gdLst>
                  <a:gd name="connsiteX0" fmla="*/ 0 w 216386"/>
                  <a:gd name="connsiteY0" fmla="*/ 0 h 2364"/>
                  <a:gd name="connsiteX1" fmla="*/ 216386 w 216386"/>
                  <a:gd name="connsiteY1" fmla="*/ 0 h 2364"/>
                </a:gdLst>
                <a:ahLst/>
                <a:cxnLst>
                  <a:cxn ang="0">
                    <a:pos x="connsiteX0" y="connsiteY0"/>
                  </a:cxn>
                  <a:cxn ang="0">
                    <a:pos x="connsiteX1" y="connsiteY1"/>
                  </a:cxn>
                </a:cxnLst>
                <a:rect l="l" t="t" r="r" b="b"/>
                <a:pathLst>
                  <a:path w="216386" h="2364">
                    <a:moveTo>
                      <a:pt x="0" y="0"/>
                    </a:moveTo>
                    <a:lnTo>
                      <a:pt x="216386" y="0"/>
                    </a:lnTo>
                  </a:path>
                </a:pathLst>
              </a:custGeom>
              <a:noFill/>
              <a:ln w="9458" cap="flat">
                <a:solidFill>
                  <a:srgbClr val="17A8F7"/>
                </a:solidFill>
                <a:prstDash val="solid"/>
                <a:miter/>
              </a:ln>
            </p:spPr>
            <p:txBody>
              <a:bodyPr rtlCol="0" anchor="ctr"/>
              <a:lstStyle/>
              <a:p>
                <a:endParaRPr lang="en-US"/>
              </a:p>
            </p:txBody>
          </p:sp>
          <p:sp>
            <p:nvSpPr>
              <p:cNvPr id="472" name="Freeform: Shape 471">
                <a:extLst>
                  <a:ext uri="{FF2B5EF4-FFF2-40B4-BE49-F238E27FC236}">
                    <a16:creationId xmlns:a16="http://schemas.microsoft.com/office/drawing/2014/main" id="{A649A9AF-32AA-5E27-9F1D-EC449FE5657D}"/>
                  </a:ext>
                </a:extLst>
              </p:cNvPr>
              <p:cNvSpPr/>
              <p:nvPr/>
            </p:nvSpPr>
            <p:spPr>
              <a:xfrm>
                <a:off x="7740081" y="3291313"/>
                <a:ext cx="439865" cy="2364"/>
              </a:xfrm>
              <a:custGeom>
                <a:avLst/>
                <a:gdLst>
                  <a:gd name="connsiteX0" fmla="*/ 0 w 439865"/>
                  <a:gd name="connsiteY0" fmla="*/ 0 h 2364"/>
                  <a:gd name="connsiteX1" fmla="*/ 439866 w 439865"/>
                  <a:gd name="connsiteY1" fmla="*/ 0 h 2364"/>
                </a:gdLst>
                <a:ahLst/>
                <a:cxnLst>
                  <a:cxn ang="0">
                    <a:pos x="connsiteX0" y="connsiteY0"/>
                  </a:cxn>
                  <a:cxn ang="0">
                    <a:pos x="connsiteX1" y="connsiteY1"/>
                  </a:cxn>
                </a:cxnLst>
                <a:rect l="l" t="t" r="r" b="b"/>
                <a:pathLst>
                  <a:path w="439865" h="2364">
                    <a:moveTo>
                      <a:pt x="0" y="0"/>
                    </a:moveTo>
                    <a:lnTo>
                      <a:pt x="439866" y="0"/>
                    </a:lnTo>
                  </a:path>
                </a:pathLst>
              </a:custGeom>
              <a:noFill/>
              <a:ln w="9458" cap="flat">
                <a:solidFill>
                  <a:srgbClr val="17A8F7"/>
                </a:solidFill>
                <a:prstDash val="solid"/>
                <a:miter/>
              </a:ln>
            </p:spPr>
            <p:txBody>
              <a:bodyPr rtlCol="0" anchor="ctr"/>
              <a:lstStyle/>
              <a:p>
                <a:endParaRPr lang="en-US"/>
              </a:p>
            </p:txBody>
          </p:sp>
          <p:sp>
            <p:nvSpPr>
              <p:cNvPr id="473" name="Freeform: Shape 472">
                <a:extLst>
                  <a:ext uri="{FF2B5EF4-FFF2-40B4-BE49-F238E27FC236}">
                    <a16:creationId xmlns:a16="http://schemas.microsoft.com/office/drawing/2014/main" id="{81BC4529-F8CE-36D3-D133-29CB35FC2924}"/>
                  </a:ext>
                </a:extLst>
              </p:cNvPr>
              <p:cNvSpPr/>
              <p:nvPr/>
            </p:nvSpPr>
            <p:spPr>
              <a:xfrm>
                <a:off x="7174241" y="3231261"/>
                <a:ext cx="120096" cy="120108"/>
              </a:xfrm>
              <a:custGeom>
                <a:avLst/>
                <a:gdLst>
                  <a:gd name="connsiteX0" fmla="*/ 62365 w 120096"/>
                  <a:gd name="connsiteY0" fmla="*/ 120066 h 120108"/>
                  <a:gd name="connsiteX1" fmla="*/ 97764 w 120096"/>
                  <a:gd name="connsiteY1" fmla="*/ 106730 h 120108"/>
                  <a:gd name="connsiteX2" fmla="*/ 106773 w 120096"/>
                  <a:gd name="connsiteY2" fmla="*/ 22290 h 120108"/>
                  <a:gd name="connsiteX3" fmla="*/ 22332 w 120096"/>
                  <a:gd name="connsiteY3" fmla="*/ 13351 h 120108"/>
                  <a:gd name="connsiteX4" fmla="*/ 13323 w 120096"/>
                  <a:gd name="connsiteY4" fmla="*/ 97792 h 120108"/>
                  <a:gd name="connsiteX5" fmla="*/ 62342 w 120096"/>
                  <a:gd name="connsiteY5" fmla="*/ 120066 h 120108"/>
                  <a:gd name="connsiteX6" fmla="*/ 62342 w 120096"/>
                  <a:gd name="connsiteY6" fmla="*/ 120066 h 120108"/>
                  <a:gd name="connsiteX7" fmla="*/ 59859 w 120096"/>
                  <a:gd name="connsiteY7" fmla="*/ 79348 h 120108"/>
                  <a:gd name="connsiteX8" fmla="*/ 45056 w 120096"/>
                  <a:gd name="connsiteY8" fmla="*/ 72159 h 120108"/>
                  <a:gd name="connsiteX9" fmla="*/ 47918 w 120096"/>
                  <a:gd name="connsiteY9" fmla="*/ 44990 h 120108"/>
                  <a:gd name="connsiteX10" fmla="*/ 75087 w 120096"/>
                  <a:gd name="connsiteY10" fmla="*/ 47922 h 120108"/>
                  <a:gd name="connsiteX11" fmla="*/ 72226 w 120096"/>
                  <a:gd name="connsiteY11" fmla="*/ 75092 h 120108"/>
                  <a:gd name="connsiteX12" fmla="*/ 59859 w 120096"/>
                  <a:gd name="connsiteY12" fmla="*/ 79348 h 12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96" h="120108">
                    <a:moveTo>
                      <a:pt x="62365" y="120066"/>
                    </a:moveTo>
                    <a:cubicBezTo>
                      <a:pt x="74874" y="119594"/>
                      <a:pt x="87289" y="115195"/>
                      <a:pt x="97764" y="106730"/>
                    </a:cubicBezTo>
                    <a:cubicBezTo>
                      <a:pt x="123562" y="85898"/>
                      <a:pt x="127605" y="48088"/>
                      <a:pt x="106773" y="22290"/>
                    </a:cubicBezTo>
                    <a:cubicBezTo>
                      <a:pt x="85941" y="-3508"/>
                      <a:pt x="48130" y="-7481"/>
                      <a:pt x="22332" y="13351"/>
                    </a:cubicBezTo>
                    <a:cubicBezTo>
                      <a:pt x="-3465" y="34184"/>
                      <a:pt x="-7509" y="71994"/>
                      <a:pt x="13323" y="97792"/>
                    </a:cubicBezTo>
                    <a:cubicBezTo>
                      <a:pt x="25690" y="113114"/>
                      <a:pt x="44087" y="120752"/>
                      <a:pt x="62342" y="120066"/>
                    </a:cubicBezTo>
                    <a:lnTo>
                      <a:pt x="62342" y="120066"/>
                    </a:lnTo>
                    <a:close/>
                    <a:moveTo>
                      <a:pt x="59859" y="79348"/>
                    </a:moveTo>
                    <a:cubicBezTo>
                      <a:pt x="54278" y="79301"/>
                      <a:pt x="48816" y="76818"/>
                      <a:pt x="45056" y="72159"/>
                    </a:cubicBezTo>
                    <a:cubicBezTo>
                      <a:pt x="38341" y="63860"/>
                      <a:pt x="39618" y="51705"/>
                      <a:pt x="47918" y="44990"/>
                    </a:cubicBezTo>
                    <a:cubicBezTo>
                      <a:pt x="56217" y="38274"/>
                      <a:pt x="68372" y="39622"/>
                      <a:pt x="75087" y="47922"/>
                    </a:cubicBezTo>
                    <a:cubicBezTo>
                      <a:pt x="81802" y="56222"/>
                      <a:pt x="80525" y="68376"/>
                      <a:pt x="72226" y="75092"/>
                    </a:cubicBezTo>
                    <a:cubicBezTo>
                      <a:pt x="68584" y="78024"/>
                      <a:pt x="64186" y="79395"/>
                      <a:pt x="59859" y="79348"/>
                    </a:cubicBezTo>
                    <a:close/>
                  </a:path>
                </a:pathLst>
              </a:custGeom>
              <a:solidFill>
                <a:srgbClr val="049FE7"/>
              </a:solidFill>
              <a:ln w="0" cap="flat">
                <a:noFill/>
                <a:prstDash val="solid"/>
                <a:miter/>
              </a:ln>
            </p:spPr>
            <p:txBody>
              <a:bodyPr rtlCol="0" anchor="ctr"/>
              <a:lstStyle/>
              <a:p>
                <a:endParaRPr lang="en-US"/>
              </a:p>
            </p:txBody>
          </p:sp>
          <p:sp>
            <p:nvSpPr>
              <p:cNvPr id="474" name="Freeform: Shape 473">
                <a:extLst>
                  <a:ext uri="{FF2B5EF4-FFF2-40B4-BE49-F238E27FC236}">
                    <a16:creationId xmlns:a16="http://schemas.microsoft.com/office/drawing/2014/main" id="{BC322CEA-CC5D-5C15-81F5-03D8E3E1B901}"/>
                  </a:ext>
                </a:extLst>
              </p:cNvPr>
              <p:cNvSpPr/>
              <p:nvPr/>
            </p:nvSpPr>
            <p:spPr>
              <a:xfrm>
                <a:off x="8145281" y="3258729"/>
                <a:ext cx="65216" cy="65168"/>
              </a:xfrm>
              <a:custGeom>
                <a:avLst/>
                <a:gdLst>
                  <a:gd name="connsiteX0" fmla="*/ 0 w 65216"/>
                  <a:gd name="connsiteY0" fmla="*/ 32584 h 65168"/>
                  <a:gd name="connsiteX1" fmla="*/ 32608 w 65216"/>
                  <a:gd name="connsiteY1" fmla="*/ 0 h 65168"/>
                  <a:gd name="connsiteX2" fmla="*/ 65216 w 65216"/>
                  <a:gd name="connsiteY2" fmla="*/ 32584 h 65168"/>
                  <a:gd name="connsiteX3" fmla="*/ 32608 w 65216"/>
                  <a:gd name="connsiteY3" fmla="*/ 65169 h 65168"/>
                  <a:gd name="connsiteX4" fmla="*/ 0 w 65216"/>
                  <a:gd name="connsiteY4" fmla="*/ 32584 h 6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6" h="65168">
                    <a:moveTo>
                      <a:pt x="0" y="32584"/>
                    </a:moveTo>
                    <a:cubicBezTo>
                      <a:pt x="0" y="14590"/>
                      <a:pt x="14589" y="0"/>
                      <a:pt x="32608" y="0"/>
                    </a:cubicBezTo>
                    <a:cubicBezTo>
                      <a:pt x="50626" y="0"/>
                      <a:pt x="65216" y="14590"/>
                      <a:pt x="65216" y="32584"/>
                    </a:cubicBezTo>
                    <a:cubicBezTo>
                      <a:pt x="65216" y="50579"/>
                      <a:pt x="50626" y="65169"/>
                      <a:pt x="32608" y="65169"/>
                    </a:cubicBezTo>
                    <a:cubicBezTo>
                      <a:pt x="14589" y="65169"/>
                      <a:pt x="0" y="50579"/>
                      <a:pt x="0" y="32584"/>
                    </a:cubicBezTo>
                    <a:close/>
                  </a:path>
                </a:pathLst>
              </a:custGeom>
              <a:solidFill>
                <a:srgbClr val="049FE7"/>
              </a:solidFill>
              <a:ln w="0" cap="flat">
                <a:noFill/>
                <a:prstDash val="solid"/>
                <a:miter/>
              </a:ln>
            </p:spPr>
            <p:txBody>
              <a:bodyPr rtlCol="0" anchor="ctr"/>
              <a:lstStyle/>
              <a:p>
                <a:endParaRPr lang="en-US"/>
              </a:p>
            </p:txBody>
          </p:sp>
          <p:sp>
            <p:nvSpPr>
              <p:cNvPr id="475" name="Freeform: Shape 474">
                <a:extLst>
                  <a:ext uri="{FF2B5EF4-FFF2-40B4-BE49-F238E27FC236}">
                    <a16:creationId xmlns:a16="http://schemas.microsoft.com/office/drawing/2014/main" id="{7E4BA06F-D4FD-1C12-DD3B-AC8D5812A2DA}"/>
                  </a:ext>
                </a:extLst>
              </p:cNvPr>
              <p:cNvSpPr/>
              <p:nvPr/>
            </p:nvSpPr>
            <p:spPr>
              <a:xfrm>
                <a:off x="7956939" y="3242555"/>
                <a:ext cx="97564" cy="97516"/>
              </a:xfrm>
              <a:custGeom>
                <a:avLst/>
                <a:gdLst>
                  <a:gd name="connsiteX0" fmla="*/ 0 w 97564"/>
                  <a:gd name="connsiteY0" fmla="*/ 48758 h 97516"/>
                  <a:gd name="connsiteX1" fmla="*/ 48782 w 97564"/>
                  <a:gd name="connsiteY1" fmla="*/ 0 h 97516"/>
                  <a:gd name="connsiteX2" fmla="*/ 97564 w 97564"/>
                  <a:gd name="connsiteY2" fmla="*/ 48758 h 97516"/>
                  <a:gd name="connsiteX3" fmla="*/ 48782 w 97564"/>
                  <a:gd name="connsiteY3" fmla="*/ 97517 h 97516"/>
                  <a:gd name="connsiteX4" fmla="*/ 0 w 97564"/>
                  <a:gd name="connsiteY4" fmla="*/ 48758 h 97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64" h="97516">
                    <a:moveTo>
                      <a:pt x="0" y="48758"/>
                    </a:moveTo>
                    <a:cubicBezTo>
                      <a:pt x="0" y="21826"/>
                      <a:pt x="21849" y="0"/>
                      <a:pt x="48782" y="0"/>
                    </a:cubicBezTo>
                    <a:cubicBezTo>
                      <a:pt x="75715" y="0"/>
                      <a:pt x="97564" y="21826"/>
                      <a:pt x="97564" y="48758"/>
                    </a:cubicBezTo>
                    <a:cubicBezTo>
                      <a:pt x="97564" y="75691"/>
                      <a:pt x="75715" y="97517"/>
                      <a:pt x="48782" y="97517"/>
                    </a:cubicBezTo>
                    <a:cubicBezTo>
                      <a:pt x="21849" y="97517"/>
                      <a:pt x="0" y="75691"/>
                      <a:pt x="0" y="48758"/>
                    </a:cubicBezTo>
                    <a:close/>
                  </a:path>
                </a:pathLst>
              </a:custGeom>
              <a:solidFill>
                <a:srgbClr val="049FE7"/>
              </a:solidFill>
              <a:ln w="0" cap="flat">
                <a:noFill/>
                <a:prstDash val="solid"/>
                <a:miter/>
              </a:ln>
            </p:spPr>
            <p:txBody>
              <a:bodyPr rtlCol="0" anchor="ctr"/>
              <a:lstStyle/>
              <a:p>
                <a:endParaRPr lang="en-US"/>
              </a:p>
            </p:txBody>
          </p:sp>
        </p:grpSp>
        <p:sp>
          <p:nvSpPr>
            <p:cNvPr id="7" name="Freeform: Shape 6">
              <a:extLst>
                <a:ext uri="{FF2B5EF4-FFF2-40B4-BE49-F238E27FC236}">
                  <a16:creationId xmlns:a16="http://schemas.microsoft.com/office/drawing/2014/main" id="{6D2EC7FC-6861-4758-BF44-47B81F794899}"/>
                </a:ext>
              </a:extLst>
            </p:cNvPr>
            <p:cNvSpPr/>
            <p:nvPr/>
          </p:nvSpPr>
          <p:spPr>
            <a:xfrm>
              <a:off x="9996407" y="4038926"/>
              <a:ext cx="953237" cy="305220"/>
            </a:xfrm>
            <a:custGeom>
              <a:avLst/>
              <a:gdLst>
                <a:gd name="connsiteX0" fmla="*/ 0 w 1074883"/>
                <a:gd name="connsiteY0" fmla="*/ 0 h 344170"/>
                <a:gd name="connsiteX1" fmla="*/ 405106 w 1074883"/>
                <a:gd name="connsiteY1" fmla="*/ 344170 h 344170"/>
                <a:gd name="connsiteX2" fmla="*/ 1074884 w 1074883"/>
                <a:gd name="connsiteY2" fmla="*/ 344170 h 344170"/>
              </a:gdLst>
              <a:ahLst/>
              <a:cxnLst>
                <a:cxn ang="0">
                  <a:pos x="connsiteX0" y="connsiteY0"/>
                </a:cxn>
                <a:cxn ang="0">
                  <a:pos x="connsiteX1" y="connsiteY1"/>
                </a:cxn>
                <a:cxn ang="0">
                  <a:pos x="connsiteX2" y="connsiteY2"/>
                </a:cxn>
              </a:cxnLst>
              <a:rect l="l" t="t" r="r" b="b"/>
              <a:pathLst>
                <a:path w="1074883" h="344170">
                  <a:moveTo>
                    <a:pt x="0" y="0"/>
                  </a:moveTo>
                  <a:lnTo>
                    <a:pt x="405106" y="344170"/>
                  </a:lnTo>
                  <a:lnTo>
                    <a:pt x="1074884" y="344170"/>
                  </a:lnTo>
                </a:path>
              </a:pathLst>
            </a:custGeom>
            <a:noFill/>
            <a:ln w="14187" cap="flat">
              <a:solidFill>
                <a:srgbClr val="17A8F7"/>
              </a:solid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14CC0CE6-834C-BAA1-6010-3250AEF19B03}"/>
                </a:ext>
              </a:extLst>
            </p:cNvPr>
            <p:cNvSpPr/>
            <p:nvPr/>
          </p:nvSpPr>
          <p:spPr>
            <a:xfrm>
              <a:off x="10838566" y="4235186"/>
              <a:ext cx="222996" cy="222953"/>
            </a:xfrm>
            <a:custGeom>
              <a:avLst/>
              <a:gdLst>
                <a:gd name="connsiteX0" fmla="*/ 251454 w 251453"/>
                <a:gd name="connsiteY0" fmla="*/ 125703 h 251405"/>
                <a:gd name="connsiteX1" fmla="*/ 125727 w 251453"/>
                <a:gd name="connsiteY1" fmla="*/ 0 h 251405"/>
                <a:gd name="connsiteX2" fmla="*/ 0 w 251453"/>
                <a:gd name="connsiteY2" fmla="*/ 125703 h 251405"/>
                <a:gd name="connsiteX3" fmla="*/ 125727 w 251453"/>
                <a:gd name="connsiteY3" fmla="*/ 251406 h 251405"/>
                <a:gd name="connsiteX4" fmla="*/ 251454 w 251453"/>
                <a:gd name="connsiteY4" fmla="*/ 125703 h 251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53" h="251405">
                  <a:moveTo>
                    <a:pt x="251454" y="125703"/>
                  </a:moveTo>
                  <a:cubicBezTo>
                    <a:pt x="251454" y="56278"/>
                    <a:pt x="195152" y="0"/>
                    <a:pt x="125727" y="0"/>
                  </a:cubicBezTo>
                  <a:cubicBezTo>
                    <a:pt x="56302" y="0"/>
                    <a:pt x="0" y="56278"/>
                    <a:pt x="0" y="125703"/>
                  </a:cubicBezTo>
                  <a:cubicBezTo>
                    <a:pt x="0" y="195128"/>
                    <a:pt x="56302" y="251406"/>
                    <a:pt x="125727" y="251406"/>
                  </a:cubicBezTo>
                  <a:cubicBezTo>
                    <a:pt x="195152" y="251406"/>
                    <a:pt x="251454" y="195128"/>
                    <a:pt x="251454" y="125703"/>
                  </a:cubicBezTo>
                  <a:close/>
                </a:path>
              </a:pathLst>
            </a:custGeom>
            <a:noFill/>
            <a:ln w="14187" cap="flat">
              <a:solidFill>
                <a:srgbClr val="17A8F7"/>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812DF938-251F-6439-FB20-6F14486A8132}"/>
                </a:ext>
              </a:extLst>
            </p:cNvPr>
            <p:cNvSpPr/>
            <p:nvPr/>
          </p:nvSpPr>
          <p:spPr>
            <a:xfrm>
              <a:off x="10909801" y="4306400"/>
              <a:ext cx="80525" cy="80525"/>
            </a:xfrm>
            <a:custGeom>
              <a:avLst/>
              <a:gdLst>
                <a:gd name="connsiteX0" fmla="*/ 90801 w 90801"/>
                <a:gd name="connsiteY0" fmla="*/ 45401 h 90801"/>
                <a:gd name="connsiteX1" fmla="*/ 45401 w 90801"/>
                <a:gd name="connsiteY1" fmla="*/ 0 h 90801"/>
                <a:gd name="connsiteX2" fmla="*/ 0 w 90801"/>
                <a:gd name="connsiteY2" fmla="*/ 45401 h 90801"/>
                <a:gd name="connsiteX3" fmla="*/ 45401 w 90801"/>
                <a:gd name="connsiteY3" fmla="*/ 90801 h 90801"/>
                <a:gd name="connsiteX4" fmla="*/ 90801 w 90801"/>
                <a:gd name="connsiteY4" fmla="*/ 45401 h 90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1" h="90801">
                  <a:moveTo>
                    <a:pt x="90801" y="45401"/>
                  </a:moveTo>
                  <a:cubicBezTo>
                    <a:pt x="90801" y="20336"/>
                    <a:pt x="70466" y="0"/>
                    <a:pt x="45401" y="0"/>
                  </a:cubicBezTo>
                  <a:cubicBezTo>
                    <a:pt x="20336" y="0"/>
                    <a:pt x="0" y="20336"/>
                    <a:pt x="0" y="45401"/>
                  </a:cubicBezTo>
                  <a:cubicBezTo>
                    <a:pt x="0" y="70466"/>
                    <a:pt x="20336" y="90801"/>
                    <a:pt x="45401" y="90801"/>
                  </a:cubicBezTo>
                  <a:cubicBezTo>
                    <a:pt x="70466" y="90801"/>
                    <a:pt x="90801" y="70466"/>
                    <a:pt x="90801" y="45401"/>
                  </a:cubicBezTo>
                  <a:close/>
                </a:path>
              </a:pathLst>
            </a:custGeom>
            <a:solidFill>
              <a:srgbClr val="049FE7"/>
            </a:solidFill>
            <a:ln w="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097BEE3-598F-6150-E65C-C8B93CC93146}"/>
                </a:ext>
              </a:extLst>
            </p:cNvPr>
            <p:cNvSpPr/>
            <p:nvPr/>
          </p:nvSpPr>
          <p:spPr>
            <a:xfrm>
              <a:off x="10776096" y="4172737"/>
              <a:ext cx="347935" cy="347851"/>
            </a:xfrm>
            <a:custGeom>
              <a:avLst/>
              <a:gdLst>
                <a:gd name="connsiteX0" fmla="*/ 392337 w 392336"/>
                <a:gd name="connsiteY0" fmla="*/ 196121 h 392242"/>
                <a:gd name="connsiteX1" fmla="*/ 196169 w 392336"/>
                <a:gd name="connsiteY1" fmla="*/ 0 h 392242"/>
                <a:gd name="connsiteX2" fmla="*/ 0 w 392336"/>
                <a:gd name="connsiteY2" fmla="*/ 196121 h 392242"/>
                <a:gd name="connsiteX3" fmla="*/ 196169 w 392336"/>
                <a:gd name="connsiteY3" fmla="*/ 392243 h 392242"/>
                <a:gd name="connsiteX4" fmla="*/ 392337 w 392336"/>
                <a:gd name="connsiteY4" fmla="*/ 196121 h 392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36" h="392242">
                  <a:moveTo>
                    <a:pt x="392337" y="196121"/>
                  </a:moveTo>
                  <a:cubicBezTo>
                    <a:pt x="392337" y="87798"/>
                    <a:pt x="304515" y="0"/>
                    <a:pt x="196169" y="0"/>
                  </a:cubicBezTo>
                  <a:cubicBezTo>
                    <a:pt x="87822" y="0"/>
                    <a:pt x="0" y="87798"/>
                    <a:pt x="0" y="196121"/>
                  </a:cubicBezTo>
                  <a:cubicBezTo>
                    <a:pt x="0" y="304444"/>
                    <a:pt x="87822" y="392243"/>
                    <a:pt x="196169" y="392243"/>
                  </a:cubicBezTo>
                  <a:cubicBezTo>
                    <a:pt x="304515" y="392243"/>
                    <a:pt x="392337" y="304444"/>
                    <a:pt x="392337" y="196121"/>
                  </a:cubicBezTo>
                  <a:close/>
                </a:path>
              </a:pathLst>
            </a:custGeom>
            <a:noFill/>
            <a:ln w="9458" cap="flat">
              <a:solidFill>
                <a:srgbClr val="17A8F7"/>
              </a:solidFill>
              <a:custDash>
                <a:ds d="0" sp="0"/>
                <a:ds d="900000" sp="900000"/>
              </a:custDash>
              <a:miter/>
            </a:ln>
          </p:spPr>
          <p:txBody>
            <a:bodyPr rtlCol="0" anchor="ctr"/>
            <a:lstStyle/>
            <a:p>
              <a:endParaRPr lang="en-US"/>
            </a:p>
          </p:txBody>
        </p:sp>
        <p:sp>
          <p:nvSpPr>
            <p:cNvPr id="11" name="Freeform: Shape 10">
              <a:extLst>
                <a:ext uri="{FF2B5EF4-FFF2-40B4-BE49-F238E27FC236}">
                  <a16:creationId xmlns:a16="http://schemas.microsoft.com/office/drawing/2014/main" id="{8A54218F-6D27-4E9D-170F-65689E589A41}"/>
                </a:ext>
              </a:extLst>
            </p:cNvPr>
            <p:cNvSpPr/>
            <p:nvPr/>
          </p:nvSpPr>
          <p:spPr>
            <a:xfrm>
              <a:off x="7897196" y="2164641"/>
              <a:ext cx="83921" cy="83922"/>
            </a:xfrm>
            <a:custGeom>
              <a:avLst/>
              <a:gdLst>
                <a:gd name="connsiteX0" fmla="*/ 94632 w 94631"/>
                <a:gd name="connsiteY0" fmla="*/ 47316 h 94632"/>
                <a:gd name="connsiteX1" fmla="*/ 47316 w 94631"/>
                <a:gd name="connsiteY1" fmla="*/ 94632 h 94632"/>
                <a:gd name="connsiteX2" fmla="*/ 0 w 94631"/>
                <a:gd name="connsiteY2" fmla="*/ 47316 h 94632"/>
                <a:gd name="connsiteX3" fmla="*/ 47316 w 94631"/>
                <a:gd name="connsiteY3" fmla="*/ 0 h 94632"/>
                <a:gd name="connsiteX4" fmla="*/ 94632 w 94631"/>
                <a:gd name="connsiteY4" fmla="*/ 47316 h 9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31" h="94632">
                  <a:moveTo>
                    <a:pt x="94632" y="47316"/>
                  </a:moveTo>
                  <a:cubicBezTo>
                    <a:pt x="94632" y="73445"/>
                    <a:pt x="73445" y="94632"/>
                    <a:pt x="47316" y="94632"/>
                  </a:cubicBezTo>
                  <a:cubicBezTo>
                    <a:pt x="21187" y="94632"/>
                    <a:pt x="0" y="73445"/>
                    <a:pt x="0" y="47316"/>
                  </a:cubicBezTo>
                  <a:cubicBezTo>
                    <a:pt x="0" y="21187"/>
                    <a:pt x="21187" y="0"/>
                    <a:pt x="47316" y="0"/>
                  </a:cubicBezTo>
                  <a:cubicBezTo>
                    <a:pt x="73445" y="0"/>
                    <a:pt x="94632" y="21187"/>
                    <a:pt x="94632" y="47316"/>
                  </a:cubicBezTo>
                  <a:close/>
                </a:path>
              </a:pathLst>
            </a:custGeom>
            <a:solidFill>
              <a:srgbClr val="049FE7"/>
            </a:solidFill>
            <a:ln w="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67E4F29-28B8-A084-404E-DE615FFF37A1}"/>
                </a:ext>
              </a:extLst>
            </p:cNvPr>
            <p:cNvSpPr/>
            <p:nvPr/>
          </p:nvSpPr>
          <p:spPr>
            <a:xfrm>
              <a:off x="7827681" y="2095125"/>
              <a:ext cx="222996" cy="222954"/>
            </a:xfrm>
            <a:custGeom>
              <a:avLst/>
              <a:gdLst>
                <a:gd name="connsiteX0" fmla="*/ 251453 w 251453"/>
                <a:gd name="connsiteY0" fmla="*/ 125703 h 251406"/>
                <a:gd name="connsiteX1" fmla="*/ 125727 w 251453"/>
                <a:gd name="connsiteY1" fmla="*/ 251406 h 251406"/>
                <a:gd name="connsiteX2" fmla="*/ 0 w 251453"/>
                <a:gd name="connsiteY2" fmla="*/ 125703 h 251406"/>
                <a:gd name="connsiteX3" fmla="*/ 125727 w 251453"/>
                <a:gd name="connsiteY3" fmla="*/ 0 h 251406"/>
                <a:gd name="connsiteX4" fmla="*/ 251453 w 251453"/>
                <a:gd name="connsiteY4" fmla="*/ 125703 h 251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53" h="251406">
                  <a:moveTo>
                    <a:pt x="251453" y="125703"/>
                  </a:moveTo>
                  <a:cubicBezTo>
                    <a:pt x="251453" y="195128"/>
                    <a:pt x="195152" y="251406"/>
                    <a:pt x="125727" y="251406"/>
                  </a:cubicBezTo>
                  <a:cubicBezTo>
                    <a:pt x="56302" y="251406"/>
                    <a:pt x="0" y="195128"/>
                    <a:pt x="0" y="125703"/>
                  </a:cubicBezTo>
                  <a:cubicBezTo>
                    <a:pt x="0" y="56278"/>
                    <a:pt x="56302" y="0"/>
                    <a:pt x="125727" y="0"/>
                  </a:cubicBezTo>
                  <a:cubicBezTo>
                    <a:pt x="195152" y="0"/>
                    <a:pt x="251453" y="56278"/>
                    <a:pt x="251453" y="125703"/>
                  </a:cubicBezTo>
                  <a:close/>
                </a:path>
              </a:pathLst>
            </a:custGeom>
            <a:noFill/>
            <a:ln w="9458" cap="flat">
              <a:solidFill>
                <a:srgbClr val="17A8F7"/>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487983FB-F0B2-A4F4-A4A3-F14E1BEC2F0F}"/>
                </a:ext>
              </a:extLst>
            </p:cNvPr>
            <p:cNvSpPr/>
            <p:nvPr/>
          </p:nvSpPr>
          <p:spPr>
            <a:xfrm>
              <a:off x="10834498" y="1660478"/>
              <a:ext cx="2096" cy="501961"/>
            </a:xfrm>
            <a:custGeom>
              <a:avLst/>
              <a:gdLst>
                <a:gd name="connsiteX0" fmla="*/ 0 w 2364"/>
                <a:gd name="connsiteY0" fmla="*/ 0 h 566018"/>
                <a:gd name="connsiteX1" fmla="*/ 0 w 2364"/>
                <a:gd name="connsiteY1" fmla="*/ 566018 h 566018"/>
              </a:gdLst>
              <a:ahLst/>
              <a:cxnLst>
                <a:cxn ang="0">
                  <a:pos x="connsiteX0" y="connsiteY0"/>
                </a:cxn>
                <a:cxn ang="0">
                  <a:pos x="connsiteX1" y="connsiteY1"/>
                </a:cxn>
              </a:cxnLst>
              <a:rect l="l" t="t" r="r" b="b"/>
              <a:pathLst>
                <a:path w="2364" h="566018">
                  <a:moveTo>
                    <a:pt x="0" y="0"/>
                  </a:moveTo>
                  <a:lnTo>
                    <a:pt x="0" y="566018"/>
                  </a:lnTo>
                </a:path>
              </a:pathLst>
            </a:custGeom>
            <a:noFill/>
            <a:ln w="14187" cap="flat">
              <a:solidFill>
                <a:srgbClr val="17A8F7"/>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1934548E-D212-1F3A-9F6D-854D354932F4}"/>
                </a:ext>
              </a:extLst>
            </p:cNvPr>
            <p:cNvSpPr/>
            <p:nvPr/>
          </p:nvSpPr>
          <p:spPr>
            <a:xfrm>
              <a:off x="9678249" y="2395081"/>
              <a:ext cx="1031770" cy="637071"/>
            </a:xfrm>
            <a:custGeom>
              <a:avLst/>
              <a:gdLst>
                <a:gd name="connsiteX0" fmla="*/ 0 w 1163438"/>
                <a:gd name="connsiteY0" fmla="*/ 718371 h 718370"/>
                <a:gd name="connsiteX1" fmla="*/ 1163439 w 1163438"/>
                <a:gd name="connsiteY1" fmla="*/ 0 h 718370"/>
              </a:gdLst>
              <a:ahLst/>
              <a:cxnLst>
                <a:cxn ang="0">
                  <a:pos x="connsiteX0" y="connsiteY0"/>
                </a:cxn>
                <a:cxn ang="0">
                  <a:pos x="connsiteX1" y="connsiteY1"/>
                </a:cxn>
              </a:cxnLst>
              <a:rect l="l" t="t" r="r" b="b"/>
              <a:pathLst>
                <a:path w="1163438" h="718370">
                  <a:moveTo>
                    <a:pt x="0" y="718371"/>
                  </a:moveTo>
                  <a:lnTo>
                    <a:pt x="1163439" y="0"/>
                  </a:lnTo>
                </a:path>
              </a:pathLst>
            </a:custGeom>
            <a:noFill/>
            <a:ln w="14187" cap="flat">
              <a:solidFill>
                <a:srgbClr val="17A8F7"/>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55DC9C7-9B0B-9D73-F1F3-4B3758262914}"/>
                </a:ext>
              </a:extLst>
            </p:cNvPr>
            <p:cNvSpPr/>
            <p:nvPr/>
          </p:nvSpPr>
          <p:spPr>
            <a:xfrm>
              <a:off x="10683073" y="2169065"/>
              <a:ext cx="302850" cy="302808"/>
            </a:xfrm>
            <a:custGeom>
              <a:avLst/>
              <a:gdLst>
                <a:gd name="connsiteX0" fmla="*/ 341498 w 341498"/>
                <a:gd name="connsiteY0" fmla="*/ 170725 h 341450"/>
                <a:gd name="connsiteX1" fmla="*/ 170749 w 341498"/>
                <a:gd name="connsiteY1" fmla="*/ 341451 h 341450"/>
                <a:gd name="connsiteX2" fmla="*/ 0 w 341498"/>
                <a:gd name="connsiteY2" fmla="*/ 170725 h 341450"/>
                <a:gd name="connsiteX3" fmla="*/ 170749 w 341498"/>
                <a:gd name="connsiteY3" fmla="*/ 0 h 341450"/>
                <a:gd name="connsiteX4" fmla="*/ 341498 w 341498"/>
                <a:gd name="connsiteY4" fmla="*/ 170725 h 3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498" h="341450">
                  <a:moveTo>
                    <a:pt x="341498" y="170725"/>
                  </a:moveTo>
                  <a:cubicBezTo>
                    <a:pt x="341498" y="265003"/>
                    <a:pt x="265050" y="341451"/>
                    <a:pt x="170749" y="341451"/>
                  </a:cubicBezTo>
                  <a:cubicBezTo>
                    <a:pt x="76448" y="341451"/>
                    <a:pt x="0" y="265026"/>
                    <a:pt x="0" y="170725"/>
                  </a:cubicBezTo>
                  <a:cubicBezTo>
                    <a:pt x="0" y="76424"/>
                    <a:pt x="76448" y="0"/>
                    <a:pt x="170749" y="0"/>
                  </a:cubicBezTo>
                  <a:cubicBezTo>
                    <a:pt x="265050" y="0"/>
                    <a:pt x="341498" y="76424"/>
                    <a:pt x="341498" y="170725"/>
                  </a:cubicBezTo>
                  <a:close/>
                </a:path>
              </a:pathLst>
            </a:custGeom>
            <a:noFill/>
            <a:ln w="18915" cap="flat">
              <a:solidFill>
                <a:srgbClr val="17A8F7"/>
              </a:solid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01B99186-4672-7EA0-DD61-5A8411D19310}"/>
                </a:ext>
              </a:extLst>
            </p:cNvPr>
            <p:cNvSpPr/>
            <p:nvPr/>
          </p:nvSpPr>
          <p:spPr>
            <a:xfrm>
              <a:off x="10794990" y="2280983"/>
              <a:ext cx="79015" cy="78973"/>
            </a:xfrm>
            <a:custGeom>
              <a:avLst/>
              <a:gdLst>
                <a:gd name="connsiteX0" fmla="*/ 89099 w 89098"/>
                <a:gd name="connsiteY0" fmla="*/ 44526 h 89051"/>
                <a:gd name="connsiteX1" fmla="*/ 44550 w 89098"/>
                <a:gd name="connsiteY1" fmla="*/ 89051 h 89051"/>
                <a:gd name="connsiteX2" fmla="*/ 0 w 89098"/>
                <a:gd name="connsiteY2" fmla="*/ 44526 h 89051"/>
                <a:gd name="connsiteX3" fmla="*/ 44550 w 89098"/>
                <a:gd name="connsiteY3" fmla="*/ 0 h 89051"/>
                <a:gd name="connsiteX4" fmla="*/ 89099 w 89098"/>
                <a:gd name="connsiteY4" fmla="*/ 44526 h 89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98" h="89051">
                  <a:moveTo>
                    <a:pt x="89099" y="44526"/>
                  </a:moveTo>
                  <a:cubicBezTo>
                    <a:pt x="89099" y="69118"/>
                    <a:pt x="69165" y="89051"/>
                    <a:pt x="44550" y="89051"/>
                  </a:cubicBezTo>
                  <a:cubicBezTo>
                    <a:pt x="19934" y="89051"/>
                    <a:pt x="0" y="69118"/>
                    <a:pt x="0" y="44526"/>
                  </a:cubicBezTo>
                  <a:cubicBezTo>
                    <a:pt x="0" y="19934"/>
                    <a:pt x="19934" y="0"/>
                    <a:pt x="44550" y="0"/>
                  </a:cubicBezTo>
                  <a:cubicBezTo>
                    <a:pt x="69165" y="0"/>
                    <a:pt x="89099" y="19934"/>
                    <a:pt x="89099" y="44526"/>
                  </a:cubicBezTo>
                  <a:close/>
                </a:path>
              </a:pathLst>
            </a:custGeom>
            <a:solidFill>
              <a:srgbClr val="049FE7"/>
            </a:solidFill>
            <a:ln w="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A3F62FE-83BB-1160-9B1B-E49E36BE27A3}"/>
                </a:ext>
              </a:extLst>
            </p:cNvPr>
            <p:cNvSpPr/>
            <p:nvPr/>
          </p:nvSpPr>
          <p:spPr>
            <a:xfrm>
              <a:off x="10802477" y="1626904"/>
              <a:ext cx="64042" cy="64001"/>
            </a:xfrm>
            <a:custGeom>
              <a:avLst/>
              <a:gdLst>
                <a:gd name="connsiteX0" fmla="*/ 72215 w 72215"/>
                <a:gd name="connsiteY0" fmla="*/ 36084 h 72168"/>
                <a:gd name="connsiteX1" fmla="*/ 36108 w 72215"/>
                <a:gd name="connsiteY1" fmla="*/ 72168 h 72168"/>
                <a:gd name="connsiteX2" fmla="*/ 0 w 72215"/>
                <a:gd name="connsiteY2" fmla="*/ 36084 h 72168"/>
                <a:gd name="connsiteX3" fmla="*/ 36108 w 72215"/>
                <a:gd name="connsiteY3" fmla="*/ 0 h 72168"/>
                <a:gd name="connsiteX4" fmla="*/ 72215 w 72215"/>
                <a:gd name="connsiteY4" fmla="*/ 36084 h 7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5" h="72168">
                  <a:moveTo>
                    <a:pt x="72215" y="36084"/>
                  </a:moveTo>
                  <a:cubicBezTo>
                    <a:pt x="72215" y="56018"/>
                    <a:pt x="56041" y="72168"/>
                    <a:pt x="36108" y="72168"/>
                  </a:cubicBezTo>
                  <a:cubicBezTo>
                    <a:pt x="16174" y="72168"/>
                    <a:pt x="0" y="56018"/>
                    <a:pt x="0" y="36084"/>
                  </a:cubicBezTo>
                  <a:cubicBezTo>
                    <a:pt x="0" y="16150"/>
                    <a:pt x="16174" y="0"/>
                    <a:pt x="36108" y="0"/>
                  </a:cubicBezTo>
                  <a:cubicBezTo>
                    <a:pt x="56041" y="0"/>
                    <a:pt x="72215" y="16150"/>
                    <a:pt x="72215" y="36084"/>
                  </a:cubicBezTo>
                  <a:close/>
                </a:path>
              </a:pathLst>
            </a:custGeom>
            <a:solidFill>
              <a:srgbClr val="049FE7"/>
            </a:solidFill>
            <a:ln w="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C7F29A8-B94B-7BBE-2D17-3474E44E1BFE}"/>
                </a:ext>
              </a:extLst>
            </p:cNvPr>
            <p:cNvSpPr/>
            <p:nvPr/>
          </p:nvSpPr>
          <p:spPr>
            <a:xfrm>
              <a:off x="10740258" y="1564686"/>
              <a:ext cx="188479" cy="188437"/>
            </a:xfrm>
            <a:custGeom>
              <a:avLst/>
              <a:gdLst>
                <a:gd name="connsiteX0" fmla="*/ 212532 w 212531"/>
                <a:gd name="connsiteY0" fmla="*/ 106242 h 212484"/>
                <a:gd name="connsiteX1" fmla="*/ 106266 w 212531"/>
                <a:gd name="connsiteY1" fmla="*/ 212484 h 212484"/>
                <a:gd name="connsiteX2" fmla="*/ 0 w 212531"/>
                <a:gd name="connsiteY2" fmla="*/ 106242 h 212484"/>
                <a:gd name="connsiteX3" fmla="*/ 106266 w 212531"/>
                <a:gd name="connsiteY3" fmla="*/ 0 h 212484"/>
                <a:gd name="connsiteX4" fmla="*/ 212532 w 212531"/>
                <a:gd name="connsiteY4" fmla="*/ 106242 h 212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31" h="212484">
                  <a:moveTo>
                    <a:pt x="212532" y="106242"/>
                  </a:moveTo>
                  <a:cubicBezTo>
                    <a:pt x="212532" y="164932"/>
                    <a:pt x="164956" y="212484"/>
                    <a:pt x="106266" y="212484"/>
                  </a:cubicBezTo>
                  <a:cubicBezTo>
                    <a:pt x="47576" y="212484"/>
                    <a:pt x="0" y="164908"/>
                    <a:pt x="0" y="106242"/>
                  </a:cubicBezTo>
                  <a:cubicBezTo>
                    <a:pt x="0" y="47576"/>
                    <a:pt x="47576" y="0"/>
                    <a:pt x="106266" y="0"/>
                  </a:cubicBezTo>
                  <a:cubicBezTo>
                    <a:pt x="164956" y="0"/>
                    <a:pt x="212532" y="47576"/>
                    <a:pt x="212532" y="106242"/>
                  </a:cubicBezTo>
                  <a:close/>
                </a:path>
              </a:pathLst>
            </a:custGeom>
            <a:noFill/>
            <a:ln w="9458" cap="flat">
              <a:solidFill>
                <a:srgbClr val="17A8F7"/>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75CCA5A-6C8F-1701-FDF7-33F73E7398F3}"/>
                </a:ext>
              </a:extLst>
            </p:cNvPr>
            <p:cNvSpPr/>
            <p:nvPr/>
          </p:nvSpPr>
          <p:spPr>
            <a:xfrm>
              <a:off x="10688484" y="1512912"/>
              <a:ext cx="292029" cy="291987"/>
            </a:xfrm>
            <a:custGeom>
              <a:avLst/>
              <a:gdLst>
                <a:gd name="connsiteX0" fmla="*/ 329297 w 329296"/>
                <a:gd name="connsiteY0" fmla="*/ 164625 h 329249"/>
                <a:gd name="connsiteX1" fmla="*/ 164648 w 329296"/>
                <a:gd name="connsiteY1" fmla="*/ 329249 h 329249"/>
                <a:gd name="connsiteX2" fmla="*/ 0 w 329296"/>
                <a:gd name="connsiteY2" fmla="*/ 164625 h 329249"/>
                <a:gd name="connsiteX3" fmla="*/ 164648 w 329296"/>
                <a:gd name="connsiteY3" fmla="*/ 0 h 329249"/>
                <a:gd name="connsiteX4" fmla="*/ 329297 w 329296"/>
                <a:gd name="connsiteY4" fmla="*/ 164625 h 329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96" h="329249">
                  <a:moveTo>
                    <a:pt x="329297" y="164625"/>
                  </a:moveTo>
                  <a:cubicBezTo>
                    <a:pt x="329297" y="255544"/>
                    <a:pt x="255568" y="329249"/>
                    <a:pt x="164648" y="329249"/>
                  </a:cubicBezTo>
                  <a:cubicBezTo>
                    <a:pt x="73729" y="329249"/>
                    <a:pt x="0" y="255544"/>
                    <a:pt x="0" y="164625"/>
                  </a:cubicBezTo>
                  <a:cubicBezTo>
                    <a:pt x="0" y="73705"/>
                    <a:pt x="73729" y="0"/>
                    <a:pt x="164648" y="0"/>
                  </a:cubicBezTo>
                  <a:cubicBezTo>
                    <a:pt x="255568" y="0"/>
                    <a:pt x="329297" y="73705"/>
                    <a:pt x="329297" y="164625"/>
                  </a:cubicBezTo>
                  <a:close/>
                </a:path>
              </a:pathLst>
            </a:custGeom>
            <a:noFill/>
            <a:ln w="9458" cap="flat">
              <a:solidFill>
                <a:srgbClr val="17A8F7"/>
              </a:solidFill>
              <a:custDash>
                <a:ds d="0" sp="0"/>
                <a:ds d="900000" sp="900000"/>
              </a:custDash>
              <a:miter/>
            </a:ln>
          </p:spPr>
          <p:txBody>
            <a:bodyPr rtlCol="0" anchor="ctr"/>
            <a:lstStyle/>
            <a:p>
              <a:endParaRPr lang="en-US"/>
            </a:p>
          </p:txBody>
        </p:sp>
        <p:sp>
          <p:nvSpPr>
            <p:cNvPr id="20" name="Freeform: Shape 19">
              <a:extLst>
                <a:ext uri="{FF2B5EF4-FFF2-40B4-BE49-F238E27FC236}">
                  <a16:creationId xmlns:a16="http://schemas.microsoft.com/office/drawing/2014/main" id="{F256A367-28C4-DB9A-9C45-9703388F142A}"/>
                </a:ext>
              </a:extLst>
            </p:cNvPr>
            <p:cNvSpPr/>
            <p:nvPr/>
          </p:nvSpPr>
          <p:spPr>
            <a:xfrm>
              <a:off x="10326153" y="3604486"/>
              <a:ext cx="358145" cy="356140"/>
            </a:xfrm>
            <a:custGeom>
              <a:avLst/>
              <a:gdLst>
                <a:gd name="connsiteX0" fmla="*/ 152693 w 403849"/>
                <a:gd name="connsiteY0" fmla="*/ 6104 h 401588"/>
                <a:gd name="connsiteX1" fmla="*/ 397715 w 403849"/>
                <a:gd name="connsiteY1" fmla="*/ 151859 h 401588"/>
                <a:gd name="connsiteX2" fmla="*/ 251109 w 403849"/>
                <a:gd name="connsiteY2" fmla="*/ 395485 h 401588"/>
                <a:gd name="connsiteX3" fmla="*/ 6087 w 403849"/>
                <a:gd name="connsiteY3" fmla="*/ 249730 h 401588"/>
                <a:gd name="connsiteX4" fmla="*/ 17887 w 403849"/>
                <a:gd name="connsiteY4" fmla="*/ 118186 h 401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49" h="401588">
                  <a:moveTo>
                    <a:pt x="152693" y="6104"/>
                  </a:moveTo>
                  <a:cubicBezTo>
                    <a:pt x="260828" y="-20924"/>
                    <a:pt x="370546" y="44339"/>
                    <a:pt x="397715" y="151859"/>
                  </a:cubicBezTo>
                  <a:cubicBezTo>
                    <a:pt x="424885" y="259378"/>
                    <a:pt x="359267" y="368457"/>
                    <a:pt x="251109" y="395485"/>
                  </a:cubicBezTo>
                  <a:cubicBezTo>
                    <a:pt x="142975" y="422512"/>
                    <a:pt x="33257" y="357249"/>
                    <a:pt x="6087" y="249730"/>
                  </a:cubicBezTo>
                  <a:cubicBezTo>
                    <a:pt x="-5003" y="205819"/>
                    <a:pt x="-865" y="159449"/>
                    <a:pt x="17887" y="118186"/>
                  </a:cubicBezTo>
                </a:path>
              </a:pathLst>
            </a:custGeom>
            <a:noFill/>
            <a:ln w="14139" cap="flat">
              <a:solidFill>
                <a:srgbClr val="17A8F7"/>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595C979-28C3-822C-A211-D7A39A3DB836}"/>
                </a:ext>
              </a:extLst>
            </p:cNvPr>
            <p:cNvSpPr/>
            <p:nvPr/>
          </p:nvSpPr>
          <p:spPr>
            <a:xfrm>
              <a:off x="10375001" y="3897022"/>
              <a:ext cx="56116" cy="55780"/>
            </a:xfrm>
            <a:custGeom>
              <a:avLst/>
              <a:gdLst>
                <a:gd name="connsiteX0" fmla="*/ 63277 w 63277"/>
                <a:gd name="connsiteY0" fmla="*/ 31449 h 62898"/>
                <a:gd name="connsiteX1" fmla="*/ 31639 w 63277"/>
                <a:gd name="connsiteY1" fmla="*/ 62899 h 62898"/>
                <a:gd name="connsiteX2" fmla="*/ 0 w 63277"/>
                <a:gd name="connsiteY2" fmla="*/ 31449 h 62898"/>
                <a:gd name="connsiteX3" fmla="*/ 31639 w 63277"/>
                <a:gd name="connsiteY3" fmla="*/ 0 h 62898"/>
                <a:gd name="connsiteX4" fmla="*/ 63277 w 63277"/>
                <a:gd name="connsiteY4" fmla="*/ 31449 h 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77" h="62898">
                  <a:moveTo>
                    <a:pt x="63277" y="31449"/>
                  </a:moveTo>
                  <a:cubicBezTo>
                    <a:pt x="63277" y="48829"/>
                    <a:pt x="49113" y="62899"/>
                    <a:pt x="31639" y="62899"/>
                  </a:cubicBezTo>
                  <a:cubicBezTo>
                    <a:pt x="14164" y="62899"/>
                    <a:pt x="0" y="48806"/>
                    <a:pt x="0" y="31449"/>
                  </a:cubicBezTo>
                  <a:cubicBezTo>
                    <a:pt x="0" y="14093"/>
                    <a:pt x="14164" y="0"/>
                    <a:pt x="31639" y="0"/>
                  </a:cubicBezTo>
                  <a:cubicBezTo>
                    <a:pt x="49113" y="0"/>
                    <a:pt x="63277" y="14093"/>
                    <a:pt x="63277" y="31449"/>
                  </a:cubicBezTo>
                  <a:close/>
                </a:path>
              </a:pathLst>
            </a:custGeom>
            <a:solidFill>
              <a:srgbClr val="049FE7"/>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E32CE71B-5DB5-E426-5636-5F147AB3CC97}"/>
                </a:ext>
              </a:extLst>
            </p:cNvPr>
            <p:cNvSpPr/>
            <p:nvPr/>
          </p:nvSpPr>
          <p:spPr>
            <a:xfrm>
              <a:off x="10402388" y="3680338"/>
              <a:ext cx="205674" cy="204417"/>
            </a:xfrm>
            <a:custGeom>
              <a:avLst/>
              <a:gdLst>
                <a:gd name="connsiteX0" fmla="*/ 231922 w 231921"/>
                <a:gd name="connsiteY0" fmla="*/ 115252 h 230503"/>
                <a:gd name="connsiteX1" fmla="*/ 115961 w 231921"/>
                <a:gd name="connsiteY1" fmla="*/ 230503 h 230503"/>
                <a:gd name="connsiteX2" fmla="*/ 0 w 231921"/>
                <a:gd name="connsiteY2" fmla="*/ 115252 h 230503"/>
                <a:gd name="connsiteX3" fmla="*/ 115961 w 231921"/>
                <a:gd name="connsiteY3" fmla="*/ 0 h 230503"/>
                <a:gd name="connsiteX4" fmla="*/ 231922 w 231921"/>
                <a:gd name="connsiteY4" fmla="*/ 115252 h 230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21" h="230503">
                  <a:moveTo>
                    <a:pt x="231922" y="115252"/>
                  </a:moveTo>
                  <a:cubicBezTo>
                    <a:pt x="231922" y="178907"/>
                    <a:pt x="179995" y="230503"/>
                    <a:pt x="115961" y="230503"/>
                  </a:cubicBezTo>
                  <a:cubicBezTo>
                    <a:pt x="51927" y="230503"/>
                    <a:pt x="0" y="178907"/>
                    <a:pt x="0" y="115252"/>
                  </a:cubicBezTo>
                  <a:cubicBezTo>
                    <a:pt x="0" y="51596"/>
                    <a:pt x="51927" y="0"/>
                    <a:pt x="115961" y="0"/>
                  </a:cubicBezTo>
                  <a:cubicBezTo>
                    <a:pt x="179995" y="0"/>
                    <a:pt x="231922" y="51596"/>
                    <a:pt x="231922" y="115252"/>
                  </a:cubicBezTo>
                  <a:close/>
                </a:path>
              </a:pathLst>
            </a:custGeom>
            <a:noFill/>
            <a:ln w="14234" cap="flat">
              <a:solidFill>
                <a:srgbClr val="17A8F7"/>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4D94828-DA66-A9E5-4E97-D3CE4838F64D}"/>
                </a:ext>
              </a:extLst>
            </p:cNvPr>
            <p:cNvSpPr/>
            <p:nvPr/>
          </p:nvSpPr>
          <p:spPr>
            <a:xfrm>
              <a:off x="10687708" y="3782546"/>
              <a:ext cx="481410" cy="2096"/>
            </a:xfrm>
            <a:custGeom>
              <a:avLst/>
              <a:gdLst>
                <a:gd name="connsiteX0" fmla="*/ 0 w 542844"/>
                <a:gd name="connsiteY0" fmla="*/ 0 h 2364"/>
                <a:gd name="connsiteX1" fmla="*/ 542845 w 542844"/>
                <a:gd name="connsiteY1" fmla="*/ 0 h 2364"/>
              </a:gdLst>
              <a:ahLst/>
              <a:cxnLst>
                <a:cxn ang="0">
                  <a:pos x="connsiteX0" y="connsiteY0"/>
                </a:cxn>
                <a:cxn ang="0">
                  <a:pos x="connsiteX1" y="connsiteY1"/>
                </a:cxn>
              </a:cxnLst>
              <a:rect l="l" t="t" r="r" b="b"/>
              <a:pathLst>
                <a:path w="542844" h="2364">
                  <a:moveTo>
                    <a:pt x="0" y="0"/>
                  </a:moveTo>
                  <a:lnTo>
                    <a:pt x="542845" y="0"/>
                  </a:lnTo>
                </a:path>
              </a:pathLst>
            </a:custGeom>
            <a:noFill/>
            <a:ln w="14187" cap="flat">
              <a:solidFill>
                <a:srgbClr val="17A8F7"/>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3701FDE3-4EA6-DE27-7C11-E06F8576E97C}"/>
                </a:ext>
              </a:extLst>
            </p:cNvPr>
            <p:cNvSpPr/>
            <p:nvPr/>
          </p:nvSpPr>
          <p:spPr>
            <a:xfrm>
              <a:off x="11062002" y="3671908"/>
              <a:ext cx="222660" cy="221276"/>
            </a:xfrm>
            <a:custGeom>
              <a:avLst/>
              <a:gdLst>
                <a:gd name="connsiteX0" fmla="*/ 251075 w 251074"/>
                <a:gd name="connsiteY0" fmla="*/ 124757 h 249514"/>
                <a:gd name="connsiteX1" fmla="*/ 125537 w 251074"/>
                <a:gd name="connsiteY1" fmla="*/ 249514 h 249514"/>
                <a:gd name="connsiteX2" fmla="*/ 0 w 251074"/>
                <a:gd name="connsiteY2" fmla="*/ 124757 h 249514"/>
                <a:gd name="connsiteX3" fmla="*/ 125537 w 251074"/>
                <a:gd name="connsiteY3" fmla="*/ 0 h 249514"/>
                <a:gd name="connsiteX4" fmla="*/ 251075 w 251074"/>
                <a:gd name="connsiteY4" fmla="*/ 124757 h 249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074" h="249514">
                  <a:moveTo>
                    <a:pt x="251075" y="124757"/>
                  </a:moveTo>
                  <a:cubicBezTo>
                    <a:pt x="251075" y="193662"/>
                    <a:pt x="194868" y="249514"/>
                    <a:pt x="125537" y="249514"/>
                  </a:cubicBezTo>
                  <a:cubicBezTo>
                    <a:pt x="56207" y="249514"/>
                    <a:pt x="0" y="193662"/>
                    <a:pt x="0" y="124757"/>
                  </a:cubicBezTo>
                  <a:cubicBezTo>
                    <a:pt x="0" y="55852"/>
                    <a:pt x="56207" y="0"/>
                    <a:pt x="125537" y="0"/>
                  </a:cubicBezTo>
                  <a:cubicBezTo>
                    <a:pt x="194868" y="0"/>
                    <a:pt x="251075" y="55852"/>
                    <a:pt x="251075" y="124757"/>
                  </a:cubicBezTo>
                  <a:close/>
                </a:path>
              </a:pathLst>
            </a:custGeom>
            <a:noFill/>
            <a:ln w="18963" cap="flat">
              <a:solidFill>
                <a:srgbClr val="17A8F7"/>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4CE0010-A341-7F37-A597-0FC5D32B2F3B}"/>
                </a:ext>
              </a:extLst>
            </p:cNvPr>
            <p:cNvSpPr/>
            <p:nvPr/>
          </p:nvSpPr>
          <p:spPr>
            <a:xfrm>
              <a:off x="11144289" y="3753691"/>
              <a:ext cx="58086" cy="57709"/>
            </a:xfrm>
            <a:custGeom>
              <a:avLst/>
              <a:gdLst>
                <a:gd name="connsiteX0" fmla="*/ 65500 w 65499"/>
                <a:gd name="connsiteY0" fmla="*/ 32537 h 65074"/>
                <a:gd name="connsiteX1" fmla="*/ 32750 w 65499"/>
                <a:gd name="connsiteY1" fmla="*/ 65074 h 65074"/>
                <a:gd name="connsiteX2" fmla="*/ 0 w 65499"/>
                <a:gd name="connsiteY2" fmla="*/ 32537 h 65074"/>
                <a:gd name="connsiteX3" fmla="*/ 32750 w 65499"/>
                <a:gd name="connsiteY3" fmla="*/ 0 h 65074"/>
                <a:gd name="connsiteX4" fmla="*/ 65500 w 65499"/>
                <a:gd name="connsiteY4" fmla="*/ 32537 h 6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99" h="65074">
                  <a:moveTo>
                    <a:pt x="65500" y="32537"/>
                  </a:moveTo>
                  <a:cubicBezTo>
                    <a:pt x="65500" y="50508"/>
                    <a:pt x="50839" y="65074"/>
                    <a:pt x="32750" y="65074"/>
                  </a:cubicBezTo>
                  <a:cubicBezTo>
                    <a:pt x="14661" y="65074"/>
                    <a:pt x="0" y="50508"/>
                    <a:pt x="0" y="32537"/>
                  </a:cubicBezTo>
                  <a:cubicBezTo>
                    <a:pt x="0" y="14566"/>
                    <a:pt x="14661" y="0"/>
                    <a:pt x="32750" y="0"/>
                  </a:cubicBezTo>
                  <a:cubicBezTo>
                    <a:pt x="50839" y="0"/>
                    <a:pt x="65500" y="14566"/>
                    <a:pt x="65500" y="32537"/>
                  </a:cubicBezTo>
                  <a:close/>
                </a:path>
              </a:pathLst>
            </a:custGeom>
            <a:solidFill>
              <a:srgbClr val="049FE7"/>
            </a:solidFill>
            <a:ln w="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3174B006-73CD-8E78-42B5-A3F1177D548C}"/>
                </a:ext>
              </a:extLst>
            </p:cNvPr>
            <p:cNvSpPr/>
            <p:nvPr/>
          </p:nvSpPr>
          <p:spPr>
            <a:xfrm>
              <a:off x="8825815" y="4012336"/>
              <a:ext cx="305219" cy="1107850"/>
            </a:xfrm>
            <a:custGeom>
              <a:avLst/>
              <a:gdLst>
                <a:gd name="connsiteX0" fmla="*/ 344170 w 344169"/>
                <a:gd name="connsiteY0" fmla="*/ 0 h 1249227"/>
                <a:gd name="connsiteX1" fmla="*/ 0 w 344169"/>
                <a:gd name="connsiteY1" fmla="*/ 315724 h 1249227"/>
                <a:gd name="connsiteX2" fmla="*/ 0 w 344169"/>
                <a:gd name="connsiteY2" fmla="*/ 1249227 h 1249227"/>
              </a:gdLst>
              <a:ahLst/>
              <a:cxnLst>
                <a:cxn ang="0">
                  <a:pos x="connsiteX0" y="connsiteY0"/>
                </a:cxn>
                <a:cxn ang="0">
                  <a:pos x="connsiteX1" y="connsiteY1"/>
                </a:cxn>
                <a:cxn ang="0">
                  <a:pos x="connsiteX2" y="connsiteY2"/>
                </a:cxn>
              </a:cxnLst>
              <a:rect l="l" t="t" r="r" b="b"/>
              <a:pathLst>
                <a:path w="344169" h="1249227">
                  <a:moveTo>
                    <a:pt x="344170" y="0"/>
                  </a:moveTo>
                  <a:lnTo>
                    <a:pt x="0" y="315724"/>
                  </a:lnTo>
                  <a:lnTo>
                    <a:pt x="0" y="1249227"/>
                  </a:lnTo>
                </a:path>
              </a:pathLst>
            </a:custGeom>
            <a:noFill/>
            <a:ln w="14187" cap="flat">
              <a:solidFill>
                <a:srgbClr val="17A8F7"/>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C1F38168-6530-DF58-98B8-182CE767D4B9}"/>
                </a:ext>
              </a:extLst>
            </p:cNvPr>
            <p:cNvSpPr/>
            <p:nvPr/>
          </p:nvSpPr>
          <p:spPr>
            <a:xfrm>
              <a:off x="8794087" y="5092988"/>
              <a:ext cx="64042" cy="64001"/>
            </a:xfrm>
            <a:custGeom>
              <a:avLst/>
              <a:gdLst>
                <a:gd name="connsiteX0" fmla="*/ 72215 w 72215"/>
                <a:gd name="connsiteY0" fmla="*/ 36084 h 72168"/>
                <a:gd name="connsiteX1" fmla="*/ 36108 w 72215"/>
                <a:gd name="connsiteY1" fmla="*/ 72168 h 72168"/>
                <a:gd name="connsiteX2" fmla="*/ 0 w 72215"/>
                <a:gd name="connsiteY2" fmla="*/ 36084 h 72168"/>
                <a:gd name="connsiteX3" fmla="*/ 36108 w 72215"/>
                <a:gd name="connsiteY3" fmla="*/ 0 h 72168"/>
                <a:gd name="connsiteX4" fmla="*/ 72215 w 72215"/>
                <a:gd name="connsiteY4" fmla="*/ 36084 h 7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5" h="72168">
                  <a:moveTo>
                    <a:pt x="72215" y="36084"/>
                  </a:moveTo>
                  <a:cubicBezTo>
                    <a:pt x="72215" y="56018"/>
                    <a:pt x="56041" y="72168"/>
                    <a:pt x="36108" y="72168"/>
                  </a:cubicBezTo>
                  <a:cubicBezTo>
                    <a:pt x="16174" y="72168"/>
                    <a:pt x="0" y="56018"/>
                    <a:pt x="0" y="36084"/>
                  </a:cubicBezTo>
                  <a:cubicBezTo>
                    <a:pt x="0" y="16151"/>
                    <a:pt x="16174" y="0"/>
                    <a:pt x="36108" y="0"/>
                  </a:cubicBezTo>
                  <a:cubicBezTo>
                    <a:pt x="56041" y="0"/>
                    <a:pt x="72215" y="16151"/>
                    <a:pt x="72215" y="36084"/>
                  </a:cubicBezTo>
                  <a:close/>
                </a:path>
              </a:pathLst>
            </a:custGeom>
            <a:solidFill>
              <a:srgbClr val="049FE7"/>
            </a:solidFill>
            <a:ln w="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406F0D06-EACC-6A83-C5D5-511797EDDD13}"/>
                </a:ext>
              </a:extLst>
            </p:cNvPr>
            <p:cNvSpPr/>
            <p:nvPr/>
          </p:nvSpPr>
          <p:spPr>
            <a:xfrm>
              <a:off x="8731869" y="5030770"/>
              <a:ext cx="188479" cy="188437"/>
            </a:xfrm>
            <a:custGeom>
              <a:avLst/>
              <a:gdLst>
                <a:gd name="connsiteX0" fmla="*/ 212532 w 212531"/>
                <a:gd name="connsiteY0" fmla="*/ 106242 h 212484"/>
                <a:gd name="connsiteX1" fmla="*/ 106266 w 212531"/>
                <a:gd name="connsiteY1" fmla="*/ 212484 h 212484"/>
                <a:gd name="connsiteX2" fmla="*/ 0 w 212531"/>
                <a:gd name="connsiteY2" fmla="*/ 106242 h 212484"/>
                <a:gd name="connsiteX3" fmla="*/ 106266 w 212531"/>
                <a:gd name="connsiteY3" fmla="*/ 0 h 212484"/>
                <a:gd name="connsiteX4" fmla="*/ 212532 w 212531"/>
                <a:gd name="connsiteY4" fmla="*/ 106242 h 212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31" h="212484">
                  <a:moveTo>
                    <a:pt x="212532" y="106242"/>
                  </a:moveTo>
                  <a:cubicBezTo>
                    <a:pt x="212532" y="164932"/>
                    <a:pt x="164956" y="212484"/>
                    <a:pt x="106266" y="212484"/>
                  </a:cubicBezTo>
                  <a:cubicBezTo>
                    <a:pt x="47576" y="212484"/>
                    <a:pt x="0" y="164908"/>
                    <a:pt x="0" y="106242"/>
                  </a:cubicBezTo>
                  <a:cubicBezTo>
                    <a:pt x="0" y="47576"/>
                    <a:pt x="47576" y="0"/>
                    <a:pt x="106266" y="0"/>
                  </a:cubicBezTo>
                  <a:cubicBezTo>
                    <a:pt x="164956" y="0"/>
                    <a:pt x="212532" y="47576"/>
                    <a:pt x="212532" y="106242"/>
                  </a:cubicBezTo>
                  <a:close/>
                </a:path>
              </a:pathLst>
            </a:custGeom>
            <a:noFill/>
            <a:ln w="9458" cap="flat">
              <a:solidFill>
                <a:srgbClr val="17A8F7"/>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A89AC4ED-4B11-047C-85D6-D8F277A9EC39}"/>
                </a:ext>
              </a:extLst>
            </p:cNvPr>
            <p:cNvSpPr/>
            <p:nvPr/>
          </p:nvSpPr>
          <p:spPr>
            <a:xfrm>
              <a:off x="8680094" y="4978994"/>
              <a:ext cx="292029" cy="291987"/>
            </a:xfrm>
            <a:custGeom>
              <a:avLst/>
              <a:gdLst>
                <a:gd name="connsiteX0" fmla="*/ 329297 w 329296"/>
                <a:gd name="connsiteY0" fmla="*/ 164625 h 329249"/>
                <a:gd name="connsiteX1" fmla="*/ 164648 w 329296"/>
                <a:gd name="connsiteY1" fmla="*/ 329249 h 329249"/>
                <a:gd name="connsiteX2" fmla="*/ 0 w 329296"/>
                <a:gd name="connsiteY2" fmla="*/ 164625 h 329249"/>
                <a:gd name="connsiteX3" fmla="*/ 164648 w 329296"/>
                <a:gd name="connsiteY3" fmla="*/ 0 h 329249"/>
                <a:gd name="connsiteX4" fmla="*/ 329297 w 329296"/>
                <a:gd name="connsiteY4" fmla="*/ 164625 h 329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296" h="329249">
                  <a:moveTo>
                    <a:pt x="329297" y="164625"/>
                  </a:moveTo>
                  <a:cubicBezTo>
                    <a:pt x="329297" y="255544"/>
                    <a:pt x="255568" y="329249"/>
                    <a:pt x="164648" y="329249"/>
                  </a:cubicBezTo>
                  <a:cubicBezTo>
                    <a:pt x="73729" y="329249"/>
                    <a:pt x="0" y="255544"/>
                    <a:pt x="0" y="164625"/>
                  </a:cubicBezTo>
                  <a:cubicBezTo>
                    <a:pt x="0" y="73705"/>
                    <a:pt x="73729" y="0"/>
                    <a:pt x="164648" y="0"/>
                  </a:cubicBezTo>
                  <a:cubicBezTo>
                    <a:pt x="255568" y="0"/>
                    <a:pt x="329297" y="73705"/>
                    <a:pt x="329297" y="164625"/>
                  </a:cubicBezTo>
                  <a:close/>
                </a:path>
              </a:pathLst>
            </a:custGeom>
            <a:noFill/>
            <a:ln w="9458" cap="flat">
              <a:solidFill>
                <a:srgbClr val="17A8F7"/>
              </a:solidFill>
              <a:custDash>
                <a:ds d="0" sp="0"/>
                <a:ds d="900000" sp="900000"/>
              </a:custDash>
              <a:miter/>
            </a:ln>
          </p:spPr>
          <p:txBody>
            <a:bodyPr rtlCol="0" anchor="ctr"/>
            <a:lstStyle/>
            <a:p>
              <a:endParaRPr lang="en-US"/>
            </a:p>
          </p:txBody>
        </p:sp>
        <p:sp>
          <p:nvSpPr>
            <p:cNvPr id="44" name="Freeform: Shape 43">
              <a:extLst>
                <a:ext uri="{FF2B5EF4-FFF2-40B4-BE49-F238E27FC236}">
                  <a16:creationId xmlns:a16="http://schemas.microsoft.com/office/drawing/2014/main" id="{F6BFAEC4-0E65-2805-E8E6-09B7034EAE54}"/>
                </a:ext>
              </a:extLst>
            </p:cNvPr>
            <p:cNvSpPr/>
            <p:nvPr/>
          </p:nvSpPr>
          <p:spPr>
            <a:xfrm>
              <a:off x="8466744" y="1606500"/>
              <a:ext cx="305219" cy="1107849"/>
            </a:xfrm>
            <a:custGeom>
              <a:avLst/>
              <a:gdLst>
                <a:gd name="connsiteX0" fmla="*/ 344170 w 344169"/>
                <a:gd name="connsiteY0" fmla="*/ 1249227 h 1249226"/>
                <a:gd name="connsiteX1" fmla="*/ 0 w 344169"/>
                <a:gd name="connsiteY1" fmla="*/ 933503 h 1249226"/>
                <a:gd name="connsiteX2" fmla="*/ 0 w 344169"/>
                <a:gd name="connsiteY2" fmla="*/ 0 h 1249226"/>
              </a:gdLst>
              <a:ahLst/>
              <a:cxnLst>
                <a:cxn ang="0">
                  <a:pos x="connsiteX0" y="connsiteY0"/>
                </a:cxn>
                <a:cxn ang="0">
                  <a:pos x="connsiteX1" y="connsiteY1"/>
                </a:cxn>
                <a:cxn ang="0">
                  <a:pos x="connsiteX2" y="connsiteY2"/>
                </a:cxn>
              </a:cxnLst>
              <a:rect l="l" t="t" r="r" b="b"/>
              <a:pathLst>
                <a:path w="344169" h="1249226">
                  <a:moveTo>
                    <a:pt x="344170" y="1249227"/>
                  </a:moveTo>
                  <a:lnTo>
                    <a:pt x="0" y="933503"/>
                  </a:lnTo>
                  <a:lnTo>
                    <a:pt x="0" y="0"/>
                  </a:lnTo>
                </a:path>
              </a:pathLst>
            </a:custGeom>
            <a:noFill/>
            <a:ln w="14187" cap="flat">
              <a:solidFill>
                <a:srgbClr val="17A8F7"/>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3F2DB9D2-4476-1FA7-8D98-EB907311FB18}"/>
                </a:ext>
              </a:extLst>
            </p:cNvPr>
            <p:cNvSpPr/>
            <p:nvPr/>
          </p:nvSpPr>
          <p:spPr>
            <a:xfrm>
              <a:off x="8427572" y="1683587"/>
              <a:ext cx="75030" cy="75030"/>
            </a:xfrm>
            <a:custGeom>
              <a:avLst/>
              <a:gdLst>
                <a:gd name="connsiteX0" fmla="*/ 0 w 84605"/>
                <a:gd name="connsiteY0" fmla="*/ 42303 h 84605"/>
                <a:gd name="connsiteX1" fmla="*/ 42303 w 84605"/>
                <a:gd name="connsiteY1" fmla="*/ 0 h 84605"/>
                <a:gd name="connsiteX2" fmla="*/ 84606 w 84605"/>
                <a:gd name="connsiteY2" fmla="*/ 42303 h 84605"/>
                <a:gd name="connsiteX3" fmla="*/ 42303 w 84605"/>
                <a:gd name="connsiteY3" fmla="*/ 84606 h 84605"/>
                <a:gd name="connsiteX4" fmla="*/ 0 w 84605"/>
                <a:gd name="connsiteY4" fmla="*/ 42303 h 84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05" h="84605">
                  <a:moveTo>
                    <a:pt x="0" y="42303"/>
                  </a:moveTo>
                  <a:cubicBezTo>
                    <a:pt x="0" y="18941"/>
                    <a:pt x="18941" y="0"/>
                    <a:pt x="42303" y="0"/>
                  </a:cubicBezTo>
                  <a:cubicBezTo>
                    <a:pt x="65665" y="0"/>
                    <a:pt x="84606" y="18941"/>
                    <a:pt x="84606" y="42303"/>
                  </a:cubicBezTo>
                  <a:cubicBezTo>
                    <a:pt x="84606" y="65665"/>
                    <a:pt x="65665" y="84606"/>
                    <a:pt x="42303" y="84606"/>
                  </a:cubicBezTo>
                  <a:cubicBezTo>
                    <a:pt x="18941" y="84606"/>
                    <a:pt x="0" y="65665"/>
                    <a:pt x="0" y="42303"/>
                  </a:cubicBezTo>
                  <a:close/>
                </a:path>
              </a:pathLst>
            </a:custGeom>
            <a:solidFill>
              <a:srgbClr val="049FE7"/>
            </a:solidFill>
            <a:ln w="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6E31946E-37BD-D0CE-E8F8-A16367A419B4}"/>
                </a:ext>
              </a:extLst>
            </p:cNvPr>
            <p:cNvSpPr/>
            <p:nvPr/>
          </p:nvSpPr>
          <p:spPr>
            <a:xfrm>
              <a:off x="8436190" y="1571628"/>
              <a:ext cx="57835" cy="57793"/>
            </a:xfrm>
            <a:custGeom>
              <a:avLst/>
              <a:gdLst>
                <a:gd name="connsiteX0" fmla="*/ 0 w 65216"/>
                <a:gd name="connsiteY0" fmla="*/ 32584 h 65168"/>
                <a:gd name="connsiteX1" fmla="*/ 32608 w 65216"/>
                <a:gd name="connsiteY1" fmla="*/ 0 h 65168"/>
                <a:gd name="connsiteX2" fmla="*/ 65216 w 65216"/>
                <a:gd name="connsiteY2" fmla="*/ 32584 h 65168"/>
                <a:gd name="connsiteX3" fmla="*/ 32608 w 65216"/>
                <a:gd name="connsiteY3" fmla="*/ 65169 h 65168"/>
                <a:gd name="connsiteX4" fmla="*/ 0 w 65216"/>
                <a:gd name="connsiteY4" fmla="*/ 32584 h 65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16" h="65168">
                  <a:moveTo>
                    <a:pt x="0" y="32584"/>
                  </a:moveTo>
                  <a:cubicBezTo>
                    <a:pt x="0" y="14590"/>
                    <a:pt x="14590" y="0"/>
                    <a:pt x="32608" y="0"/>
                  </a:cubicBezTo>
                  <a:cubicBezTo>
                    <a:pt x="50626" y="0"/>
                    <a:pt x="65216" y="14590"/>
                    <a:pt x="65216" y="32584"/>
                  </a:cubicBezTo>
                  <a:cubicBezTo>
                    <a:pt x="65216" y="50579"/>
                    <a:pt x="50626" y="65169"/>
                    <a:pt x="32608" y="65169"/>
                  </a:cubicBezTo>
                  <a:cubicBezTo>
                    <a:pt x="14590" y="65169"/>
                    <a:pt x="0" y="50579"/>
                    <a:pt x="0" y="32584"/>
                  </a:cubicBezTo>
                  <a:close/>
                </a:path>
              </a:pathLst>
            </a:custGeom>
            <a:solidFill>
              <a:srgbClr val="049FE7"/>
            </a:solidFill>
            <a:ln w="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BDE1D56-4FF8-1FE2-4A86-05A6DC34D040}"/>
                </a:ext>
              </a:extLst>
            </p:cNvPr>
            <p:cNvSpPr/>
            <p:nvPr/>
          </p:nvSpPr>
          <p:spPr>
            <a:xfrm>
              <a:off x="8414655" y="1812784"/>
              <a:ext cx="100908" cy="100866"/>
            </a:xfrm>
            <a:custGeom>
              <a:avLst/>
              <a:gdLst>
                <a:gd name="connsiteX0" fmla="*/ 0 w 113785"/>
                <a:gd name="connsiteY0" fmla="*/ 56869 h 113738"/>
                <a:gd name="connsiteX1" fmla="*/ 56893 w 113785"/>
                <a:gd name="connsiteY1" fmla="*/ 0 h 113738"/>
                <a:gd name="connsiteX2" fmla="*/ 113785 w 113785"/>
                <a:gd name="connsiteY2" fmla="*/ 56869 h 113738"/>
                <a:gd name="connsiteX3" fmla="*/ 56893 w 113785"/>
                <a:gd name="connsiteY3" fmla="*/ 113738 h 113738"/>
                <a:gd name="connsiteX4" fmla="*/ 0 w 113785"/>
                <a:gd name="connsiteY4" fmla="*/ 56869 h 113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85" h="113738">
                  <a:moveTo>
                    <a:pt x="0" y="56869"/>
                  </a:moveTo>
                  <a:cubicBezTo>
                    <a:pt x="0" y="25467"/>
                    <a:pt x="25467" y="0"/>
                    <a:pt x="56893" y="0"/>
                  </a:cubicBezTo>
                  <a:cubicBezTo>
                    <a:pt x="88318" y="0"/>
                    <a:pt x="113785" y="25467"/>
                    <a:pt x="113785" y="56869"/>
                  </a:cubicBezTo>
                  <a:cubicBezTo>
                    <a:pt x="113785" y="88271"/>
                    <a:pt x="88318" y="113738"/>
                    <a:pt x="56893" y="113738"/>
                  </a:cubicBezTo>
                  <a:cubicBezTo>
                    <a:pt x="25467" y="113738"/>
                    <a:pt x="0" y="88271"/>
                    <a:pt x="0" y="56869"/>
                  </a:cubicBezTo>
                  <a:close/>
                </a:path>
              </a:pathLst>
            </a:custGeom>
            <a:solidFill>
              <a:srgbClr val="049FE7"/>
            </a:solidFill>
            <a:ln w="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1A9238B3-8E30-3B85-D08D-4B6272249A2B}"/>
                </a:ext>
              </a:extLst>
            </p:cNvPr>
            <p:cNvSpPr/>
            <p:nvPr/>
          </p:nvSpPr>
          <p:spPr>
            <a:xfrm>
              <a:off x="8440490" y="2178837"/>
              <a:ext cx="49195" cy="49195"/>
            </a:xfrm>
            <a:custGeom>
              <a:avLst/>
              <a:gdLst>
                <a:gd name="connsiteX0" fmla="*/ 0 w 55473"/>
                <a:gd name="connsiteY0" fmla="*/ 27737 h 55473"/>
                <a:gd name="connsiteX1" fmla="*/ 27737 w 55473"/>
                <a:gd name="connsiteY1" fmla="*/ 0 h 55473"/>
                <a:gd name="connsiteX2" fmla="*/ 55474 w 55473"/>
                <a:gd name="connsiteY2" fmla="*/ 27737 h 55473"/>
                <a:gd name="connsiteX3" fmla="*/ 27737 w 55473"/>
                <a:gd name="connsiteY3" fmla="*/ 55474 h 55473"/>
                <a:gd name="connsiteX4" fmla="*/ 0 w 55473"/>
                <a:gd name="connsiteY4" fmla="*/ 27737 h 55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73" h="55473">
                  <a:moveTo>
                    <a:pt x="0" y="27737"/>
                  </a:moveTo>
                  <a:cubicBezTo>
                    <a:pt x="0" y="12414"/>
                    <a:pt x="12414" y="0"/>
                    <a:pt x="27737" y="0"/>
                  </a:cubicBezTo>
                  <a:cubicBezTo>
                    <a:pt x="43060" y="0"/>
                    <a:pt x="55474" y="12414"/>
                    <a:pt x="55474" y="27737"/>
                  </a:cubicBezTo>
                  <a:cubicBezTo>
                    <a:pt x="55474" y="43060"/>
                    <a:pt x="43060" y="55474"/>
                    <a:pt x="27737" y="55474"/>
                  </a:cubicBezTo>
                  <a:cubicBezTo>
                    <a:pt x="12414" y="55474"/>
                    <a:pt x="0" y="43060"/>
                    <a:pt x="0" y="27737"/>
                  </a:cubicBezTo>
                  <a:close/>
                </a:path>
              </a:pathLst>
            </a:custGeom>
            <a:solidFill>
              <a:srgbClr val="049FE7"/>
            </a:solidFill>
            <a:ln w="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3135C4D-7644-7A5A-36B0-4539B3CB09F9}"/>
                </a:ext>
              </a:extLst>
            </p:cNvPr>
            <p:cNvSpPr/>
            <p:nvPr/>
          </p:nvSpPr>
          <p:spPr>
            <a:xfrm>
              <a:off x="8362187" y="2100556"/>
              <a:ext cx="205800" cy="205758"/>
            </a:xfrm>
            <a:custGeom>
              <a:avLst/>
              <a:gdLst>
                <a:gd name="connsiteX0" fmla="*/ 232064 w 232063"/>
                <a:gd name="connsiteY0" fmla="*/ 116008 h 232016"/>
                <a:gd name="connsiteX1" fmla="*/ 116032 w 232063"/>
                <a:gd name="connsiteY1" fmla="*/ 232016 h 232016"/>
                <a:gd name="connsiteX2" fmla="*/ 0 w 232063"/>
                <a:gd name="connsiteY2" fmla="*/ 116008 h 232016"/>
                <a:gd name="connsiteX3" fmla="*/ 116032 w 232063"/>
                <a:gd name="connsiteY3" fmla="*/ 0 h 232016"/>
                <a:gd name="connsiteX4" fmla="*/ 232064 w 232063"/>
                <a:gd name="connsiteY4" fmla="*/ 116008 h 232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63" h="232016">
                  <a:moveTo>
                    <a:pt x="232064" y="116008"/>
                  </a:moveTo>
                  <a:cubicBezTo>
                    <a:pt x="232064" y="180066"/>
                    <a:pt x="180113" y="232016"/>
                    <a:pt x="116032" y="232016"/>
                  </a:cubicBezTo>
                  <a:cubicBezTo>
                    <a:pt x="51951" y="232016"/>
                    <a:pt x="0" y="180089"/>
                    <a:pt x="0" y="116008"/>
                  </a:cubicBezTo>
                  <a:cubicBezTo>
                    <a:pt x="0" y="51927"/>
                    <a:pt x="51951" y="0"/>
                    <a:pt x="116032" y="0"/>
                  </a:cubicBezTo>
                  <a:cubicBezTo>
                    <a:pt x="180113" y="0"/>
                    <a:pt x="232064" y="51927"/>
                    <a:pt x="232064" y="116008"/>
                  </a:cubicBezTo>
                  <a:close/>
                </a:path>
              </a:pathLst>
            </a:custGeom>
            <a:noFill/>
            <a:ln w="9458" cap="flat">
              <a:solidFill>
                <a:srgbClr val="17A8F7"/>
              </a:solidFill>
              <a:custDash>
                <a:ds d="0" sp="0"/>
                <a:ds d="900000" sp="900000"/>
              </a:custDash>
              <a:miter/>
            </a:ln>
          </p:spPr>
          <p:txBody>
            <a:bodyPr rtlCol="0" anchor="ctr"/>
            <a:lstStyle/>
            <a:p>
              <a:endParaRPr lang="en-US"/>
            </a:p>
          </p:txBody>
        </p:sp>
        <p:grpSp>
          <p:nvGrpSpPr>
            <p:cNvPr id="50" name="Graphic 3">
              <a:extLst>
                <a:ext uri="{FF2B5EF4-FFF2-40B4-BE49-F238E27FC236}">
                  <a16:creationId xmlns:a16="http://schemas.microsoft.com/office/drawing/2014/main" id="{4E3DFD5F-3126-69FF-1636-F8AA13032AF9}"/>
                </a:ext>
              </a:extLst>
            </p:cNvPr>
            <p:cNvGrpSpPr/>
            <p:nvPr/>
          </p:nvGrpSpPr>
          <p:grpSpPr>
            <a:xfrm>
              <a:off x="10345475" y="2825136"/>
              <a:ext cx="249942" cy="206135"/>
              <a:chOff x="7136559" y="2835888"/>
              <a:chExt cx="281838" cy="232441"/>
            </a:xfrm>
            <a:noFill/>
          </p:grpSpPr>
          <p:sp>
            <p:nvSpPr>
              <p:cNvPr id="466" name="Freeform: Shape 465">
                <a:extLst>
                  <a:ext uri="{FF2B5EF4-FFF2-40B4-BE49-F238E27FC236}">
                    <a16:creationId xmlns:a16="http://schemas.microsoft.com/office/drawing/2014/main" id="{5636BDD7-A31A-B702-42F4-DB603CB601D0}"/>
                  </a:ext>
                </a:extLst>
              </p:cNvPr>
              <p:cNvSpPr/>
              <p:nvPr/>
            </p:nvSpPr>
            <p:spPr>
              <a:xfrm>
                <a:off x="7232965" y="2835888"/>
                <a:ext cx="89051" cy="232441"/>
              </a:xfrm>
              <a:custGeom>
                <a:avLst/>
                <a:gdLst>
                  <a:gd name="connsiteX0" fmla="*/ 0 w 89051"/>
                  <a:gd name="connsiteY0" fmla="*/ 0 h 232441"/>
                  <a:gd name="connsiteX1" fmla="*/ 89052 w 89051"/>
                  <a:gd name="connsiteY1" fmla="*/ 116221 h 232441"/>
                  <a:gd name="connsiteX2" fmla="*/ 0 w 89051"/>
                  <a:gd name="connsiteY2" fmla="*/ 232442 h 232441"/>
                </a:gdLst>
                <a:ahLst/>
                <a:cxnLst>
                  <a:cxn ang="0">
                    <a:pos x="connsiteX0" y="connsiteY0"/>
                  </a:cxn>
                  <a:cxn ang="0">
                    <a:pos x="connsiteX1" y="connsiteY1"/>
                  </a:cxn>
                  <a:cxn ang="0">
                    <a:pos x="connsiteX2" y="connsiteY2"/>
                  </a:cxn>
                </a:cxnLst>
                <a:rect l="l" t="t" r="r" b="b"/>
                <a:pathLst>
                  <a:path w="89051" h="232441">
                    <a:moveTo>
                      <a:pt x="0" y="0"/>
                    </a:moveTo>
                    <a:lnTo>
                      <a:pt x="89052" y="116221"/>
                    </a:lnTo>
                    <a:lnTo>
                      <a:pt x="0" y="232442"/>
                    </a:lnTo>
                  </a:path>
                </a:pathLst>
              </a:custGeom>
              <a:noFill/>
              <a:ln w="23219" cap="flat">
                <a:solidFill>
                  <a:srgbClr val="17A8F7"/>
                </a:solidFill>
                <a:prstDash val="solid"/>
                <a:miter/>
              </a:ln>
            </p:spPr>
            <p:txBody>
              <a:bodyPr rtlCol="0" anchor="ctr"/>
              <a:lstStyle/>
              <a:p>
                <a:endParaRPr lang="en-US"/>
              </a:p>
            </p:txBody>
          </p:sp>
          <p:sp>
            <p:nvSpPr>
              <p:cNvPr id="467" name="Freeform: Shape 466">
                <a:extLst>
                  <a:ext uri="{FF2B5EF4-FFF2-40B4-BE49-F238E27FC236}">
                    <a16:creationId xmlns:a16="http://schemas.microsoft.com/office/drawing/2014/main" id="{5F8A9E28-6536-4564-50B5-3C2A4AFD6751}"/>
                  </a:ext>
                </a:extLst>
              </p:cNvPr>
              <p:cNvSpPr/>
              <p:nvPr/>
            </p:nvSpPr>
            <p:spPr>
              <a:xfrm>
                <a:off x="7136559" y="2835888"/>
                <a:ext cx="89051" cy="232441"/>
              </a:xfrm>
              <a:custGeom>
                <a:avLst/>
                <a:gdLst>
                  <a:gd name="connsiteX0" fmla="*/ 0 w 89051"/>
                  <a:gd name="connsiteY0" fmla="*/ 0 h 232441"/>
                  <a:gd name="connsiteX1" fmla="*/ 89052 w 89051"/>
                  <a:gd name="connsiteY1" fmla="*/ 116221 h 232441"/>
                  <a:gd name="connsiteX2" fmla="*/ 0 w 89051"/>
                  <a:gd name="connsiteY2" fmla="*/ 232442 h 232441"/>
                </a:gdLst>
                <a:ahLst/>
                <a:cxnLst>
                  <a:cxn ang="0">
                    <a:pos x="connsiteX0" y="connsiteY0"/>
                  </a:cxn>
                  <a:cxn ang="0">
                    <a:pos x="connsiteX1" y="connsiteY1"/>
                  </a:cxn>
                  <a:cxn ang="0">
                    <a:pos x="connsiteX2" y="connsiteY2"/>
                  </a:cxn>
                </a:cxnLst>
                <a:rect l="l" t="t" r="r" b="b"/>
                <a:pathLst>
                  <a:path w="89051" h="232441">
                    <a:moveTo>
                      <a:pt x="0" y="0"/>
                    </a:moveTo>
                    <a:lnTo>
                      <a:pt x="89052" y="116221"/>
                    </a:lnTo>
                    <a:lnTo>
                      <a:pt x="0" y="232442"/>
                    </a:lnTo>
                  </a:path>
                </a:pathLst>
              </a:custGeom>
              <a:noFill/>
              <a:ln w="23219" cap="flat">
                <a:solidFill>
                  <a:srgbClr val="17A8F7"/>
                </a:solidFill>
                <a:prstDash val="solid"/>
                <a:miter/>
              </a:ln>
            </p:spPr>
            <p:txBody>
              <a:bodyPr rtlCol="0" anchor="ctr"/>
              <a:lstStyle/>
              <a:p>
                <a:endParaRPr lang="en-US"/>
              </a:p>
            </p:txBody>
          </p:sp>
          <p:sp>
            <p:nvSpPr>
              <p:cNvPr id="468" name="Freeform: Shape 467">
                <a:extLst>
                  <a:ext uri="{FF2B5EF4-FFF2-40B4-BE49-F238E27FC236}">
                    <a16:creationId xmlns:a16="http://schemas.microsoft.com/office/drawing/2014/main" id="{99B8BE0E-2E5F-F17F-2668-4530F114EE94}"/>
                  </a:ext>
                </a:extLst>
              </p:cNvPr>
              <p:cNvSpPr/>
              <p:nvPr/>
            </p:nvSpPr>
            <p:spPr>
              <a:xfrm>
                <a:off x="7329346" y="2835888"/>
                <a:ext cx="89051" cy="232441"/>
              </a:xfrm>
              <a:custGeom>
                <a:avLst/>
                <a:gdLst>
                  <a:gd name="connsiteX0" fmla="*/ 0 w 89051"/>
                  <a:gd name="connsiteY0" fmla="*/ 0 h 232441"/>
                  <a:gd name="connsiteX1" fmla="*/ 89052 w 89051"/>
                  <a:gd name="connsiteY1" fmla="*/ 116221 h 232441"/>
                  <a:gd name="connsiteX2" fmla="*/ 0 w 89051"/>
                  <a:gd name="connsiteY2" fmla="*/ 232442 h 232441"/>
                </a:gdLst>
                <a:ahLst/>
                <a:cxnLst>
                  <a:cxn ang="0">
                    <a:pos x="connsiteX0" y="connsiteY0"/>
                  </a:cxn>
                  <a:cxn ang="0">
                    <a:pos x="connsiteX1" y="connsiteY1"/>
                  </a:cxn>
                  <a:cxn ang="0">
                    <a:pos x="connsiteX2" y="connsiteY2"/>
                  </a:cxn>
                </a:cxnLst>
                <a:rect l="l" t="t" r="r" b="b"/>
                <a:pathLst>
                  <a:path w="89051" h="232441">
                    <a:moveTo>
                      <a:pt x="0" y="0"/>
                    </a:moveTo>
                    <a:lnTo>
                      <a:pt x="89052" y="116221"/>
                    </a:lnTo>
                    <a:lnTo>
                      <a:pt x="0" y="232442"/>
                    </a:lnTo>
                  </a:path>
                </a:pathLst>
              </a:custGeom>
              <a:noFill/>
              <a:ln w="23219" cap="flat">
                <a:solidFill>
                  <a:srgbClr val="17A8F7"/>
                </a:solidFill>
                <a:prstDash val="solid"/>
                <a:miter/>
              </a:ln>
            </p:spPr>
            <p:txBody>
              <a:bodyPr rtlCol="0" anchor="ctr"/>
              <a:lstStyle/>
              <a:p>
                <a:endParaRPr lang="en-US"/>
              </a:p>
            </p:txBody>
          </p:sp>
        </p:grpSp>
        <p:sp>
          <p:nvSpPr>
            <p:cNvPr id="51" name="Freeform: Shape 50">
              <a:extLst>
                <a:ext uri="{FF2B5EF4-FFF2-40B4-BE49-F238E27FC236}">
                  <a16:creationId xmlns:a16="http://schemas.microsoft.com/office/drawing/2014/main" id="{6505CE0E-5346-C996-8152-6B251D0B212C}"/>
                </a:ext>
              </a:extLst>
            </p:cNvPr>
            <p:cNvSpPr/>
            <p:nvPr/>
          </p:nvSpPr>
          <p:spPr>
            <a:xfrm>
              <a:off x="10164713" y="4664401"/>
              <a:ext cx="83921" cy="83922"/>
            </a:xfrm>
            <a:custGeom>
              <a:avLst/>
              <a:gdLst>
                <a:gd name="connsiteX0" fmla="*/ 47316 w 94631"/>
                <a:gd name="connsiteY0" fmla="*/ 0 h 94632"/>
                <a:gd name="connsiteX1" fmla="*/ 0 w 94631"/>
                <a:gd name="connsiteY1" fmla="*/ 47316 h 94632"/>
                <a:gd name="connsiteX2" fmla="*/ 47316 w 94631"/>
                <a:gd name="connsiteY2" fmla="*/ 94632 h 94632"/>
                <a:gd name="connsiteX3" fmla="*/ 94632 w 94631"/>
                <a:gd name="connsiteY3" fmla="*/ 47316 h 94632"/>
                <a:gd name="connsiteX4" fmla="*/ 47316 w 94631"/>
                <a:gd name="connsiteY4" fmla="*/ 0 h 94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31" h="94632">
                  <a:moveTo>
                    <a:pt x="47316" y="0"/>
                  </a:moveTo>
                  <a:cubicBezTo>
                    <a:pt x="21187" y="0"/>
                    <a:pt x="0" y="21187"/>
                    <a:pt x="0" y="47316"/>
                  </a:cubicBezTo>
                  <a:cubicBezTo>
                    <a:pt x="0" y="73445"/>
                    <a:pt x="21187" y="94632"/>
                    <a:pt x="47316" y="94632"/>
                  </a:cubicBezTo>
                  <a:cubicBezTo>
                    <a:pt x="73445" y="94632"/>
                    <a:pt x="94632" y="73445"/>
                    <a:pt x="94632" y="47316"/>
                  </a:cubicBezTo>
                  <a:cubicBezTo>
                    <a:pt x="94632" y="21187"/>
                    <a:pt x="73445" y="0"/>
                    <a:pt x="47316" y="0"/>
                  </a:cubicBezTo>
                  <a:close/>
                </a:path>
              </a:pathLst>
            </a:custGeom>
            <a:solidFill>
              <a:srgbClr val="049FE7"/>
            </a:solidFill>
            <a:ln w="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E5B92B23-12DD-4B5B-36CD-FDFFF95AF1B6}"/>
                </a:ext>
              </a:extLst>
            </p:cNvPr>
            <p:cNvSpPr/>
            <p:nvPr/>
          </p:nvSpPr>
          <p:spPr>
            <a:xfrm>
              <a:off x="10095197" y="4594864"/>
              <a:ext cx="222954" cy="223037"/>
            </a:xfrm>
            <a:custGeom>
              <a:avLst/>
              <a:gdLst>
                <a:gd name="connsiteX0" fmla="*/ 125703 w 251406"/>
                <a:gd name="connsiteY0" fmla="*/ 0 h 251500"/>
                <a:gd name="connsiteX1" fmla="*/ 0 w 251406"/>
                <a:gd name="connsiteY1" fmla="*/ 125750 h 251500"/>
                <a:gd name="connsiteX2" fmla="*/ 125703 w 251406"/>
                <a:gd name="connsiteY2" fmla="*/ 251501 h 251500"/>
                <a:gd name="connsiteX3" fmla="*/ 251406 w 251406"/>
                <a:gd name="connsiteY3" fmla="*/ 125750 h 251500"/>
                <a:gd name="connsiteX4" fmla="*/ 125703 w 251406"/>
                <a:gd name="connsiteY4" fmla="*/ 0 h 25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06" h="251500">
                  <a:moveTo>
                    <a:pt x="125703" y="0"/>
                  </a:moveTo>
                  <a:cubicBezTo>
                    <a:pt x="56278" y="0"/>
                    <a:pt x="0" y="56301"/>
                    <a:pt x="0" y="125750"/>
                  </a:cubicBezTo>
                  <a:cubicBezTo>
                    <a:pt x="0" y="195199"/>
                    <a:pt x="56278" y="251501"/>
                    <a:pt x="125703" y="251501"/>
                  </a:cubicBezTo>
                  <a:cubicBezTo>
                    <a:pt x="195128" y="251501"/>
                    <a:pt x="251406" y="195199"/>
                    <a:pt x="251406" y="125750"/>
                  </a:cubicBezTo>
                  <a:cubicBezTo>
                    <a:pt x="251406" y="56301"/>
                    <a:pt x="195128" y="0"/>
                    <a:pt x="125703" y="0"/>
                  </a:cubicBezTo>
                  <a:close/>
                </a:path>
              </a:pathLst>
            </a:custGeom>
            <a:noFill/>
            <a:ln w="9458" cap="flat">
              <a:solidFill>
                <a:srgbClr val="17A8F7"/>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008BDD7-9BBB-4002-B356-5F30DBC47EBE}"/>
                </a:ext>
              </a:extLst>
            </p:cNvPr>
            <p:cNvSpPr/>
            <p:nvPr/>
          </p:nvSpPr>
          <p:spPr>
            <a:xfrm>
              <a:off x="10206674" y="4818447"/>
              <a:ext cx="2096" cy="390085"/>
            </a:xfrm>
            <a:custGeom>
              <a:avLst/>
              <a:gdLst>
                <a:gd name="connsiteX0" fmla="*/ 0 w 2364"/>
                <a:gd name="connsiteY0" fmla="*/ 0 h 439865"/>
                <a:gd name="connsiteX1" fmla="*/ 0 w 2364"/>
                <a:gd name="connsiteY1" fmla="*/ 439866 h 439865"/>
              </a:gdLst>
              <a:ahLst/>
              <a:cxnLst>
                <a:cxn ang="0">
                  <a:pos x="connsiteX0" y="connsiteY0"/>
                </a:cxn>
                <a:cxn ang="0">
                  <a:pos x="connsiteX1" y="connsiteY1"/>
                </a:cxn>
              </a:cxnLst>
              <a:rect l="l" t="t" r="r" b="b"/>
              <a:pathLst>
                <a:path w="2364" h="439865">
                  <a:moveTo>
                    <a:pt x="0" y="0"/>
                  </a:moveTo>
                  <a:lnTo>
                    <a:pt x="0" y="439866"/>
                  </a:lnTo>
                </a:path>
              </a:pathLst>
            </a:custGeom>
            <a:noFill/>
            <a:ln w="9458" cap="flat">
              <a:solidFill>
                <a:srgbClr val="17A8F7"/>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AA468248-7769-89B4-8612-5892B34B4486}"/>
                </a:ext>
              </a:extLst>
            </p:cNvPr>
            <p:cNvSpPr/>
            <p:nvPr/>
          </p:nvSpPr>
          <p:spPr>
            <a:xfrm>
              <a:off x="10177778" y="5161958"/>
              <a:ext cx="57793" cy="57835"/>
            </a:xfrm>
            <a:custGeom>
              <a:avLst/>
              <a:gdLst>
                <a:gd name="connsiteX0" fmla="*/ 32584 w 65168"/>
                <a:gd name="connsiteY0" fmla="*/ 0 h 65216"/>
                <a:gd name="connsiteX1" fmla="*/ 0 w 65168"/>
                <a:gd name="connsiteY1" fmla="*/ 32608 h 65216"/>
                <a:gd name="connsiteX2" fmla="*/ 32584 w 65168"/>
                <a:gd name="connsiteY2" fmla="*/ 65216 h 65216"/>
                <a:gd name="connsiteX3" fmla="*/ 65169 w 65168"/>
                <a:gd name="connsiteY3" fmla="*/ 32608 h 65216"/>
                <a:gd name="connsiteX4" fmla="*/ 32584 w 65168"/>
                <a:gd name="connsiteY4" fmla="*/ 0 h 6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68" h="65216">
                  <a:moveTo>
                    <a:pt x="32584" y="0"/>
                  </a:moveTo>
                  <a:cubicBezTo>
                    <a:pt x="14590" y="0"/>
                    <a:pt x="0" y="14590"/>
                    <a:pt x="0" y="32608"/>
                  </a:cubicBezTo>
                  <a:cubicBezTo>
                    <a:pt x="0" y="50627"/>
                    <a:pt x="14590" y="65216"/>
                    <a:pt x="32584" y="65216"/>
                  </a:cubicBezTo>
                  <a:cubicBezTo>
                    <a:pt x="50579" y="65216"/>
                    <a:pt x="65169" y="50627"/>
                    <a:pt x="65169" y="32608"/>
                  </a:cubicBezTo>
                  <a:cubicBezTo>
                    <a:pt x="65169" y="14590"/>
                    <a:pt x="50579" y="0"/>
                    <a:pt x="32584" y="0"/>
                  </a:cubicBezTo>
                  <a:close/>
                </a:path>
              </a:pathLst>
            </a:custGeom>
            <a:solidFill>
              <a:srgbClr val="049FE7"/>
            </a:solidFill>
            <a:ln w="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6C9FE0A-B328-F5F0-AE42-77B02079B96E}"/>
                </a:ext>
              </a:extLst>
            </p:cNvPr>
            <p:cNvSpPr/>
            <p:nvPr/>
          </p:nvSpPr>
          <p:spPr>
            <a:xfrm>
              <a:off x="10163434" y="4994931"/>
              <a:ext cx="86480" cy="86523"/>
            </a:xfrm>
            <a:custGeom>
              <a:avLst/>
              <a:gdLst>
                <a:gd name="connsiteX0" fmla="*/ 48758 w 97516"/>
                <a:gd name="connsiteY0" fmla="*/ 0 h 97564"/>
                <a:gd name="connsiteX1" fmla="*/ 0 w 97516"/>
                <a:gd name="connsiteY1" fmla="*/ 48782 h 97564"/>
                <a:gd name="connsiteX2" fmla="*/ 48758 w 97516"/>
                <a:gd name="connsiteY2" fmla="*/ 97564 h 97564"/>
                <a:gd name="connsiteX3" fmla="*/ 97517 w 97516"/>
                <a:gd name="connsiteY3" fmla="*/ 48782 h 97564"/>
                <a:gd name="connsiteX4" fmla="*/ 48758 w 97516"/>
                <a:gd name="connsiteY4" fmla="*/ 0 h 97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16" h="97564">
                  <a:moveTo>
                    <a:pt x="48758" y="0"/>
                  </a:moveTo>
                  <a:cubicBezTo>
                    <a:pt x="21825" y="0"/>
                    <a:pt x="0" y="21849"/>
                    <a:pt x="0" y="48782"/>
                  </a:cubicBezTo>
                  <a:cubicBezTo>
                    <a:pt x="0" y="75715"/>
                    <a:pt x="21825" y="97564"/>
                    <a:pt x="48758" y="97564"/>
                  </a:cubicBezTo>
                  <a:cubicBezTo>
                    <a:pt x="75691" y="97564"/>
                    <a:pt x="97517" y="75715"/>
                    <a:pt x="97517" y="48782"/>
                  </a:cubicBezTo>
                  <a:cubicBezTo>
                    <a:pt x="97517" y="21849"/>
                    <a:pt x="75691" y="0"/>
                    <a:pt x="48758" y="0"/>
                  </a:cubicBezTo>
                  <a:close/>
                </a:path>
              </a:pathLst>
            </a:custGeom>
            <a:solidFill>
              <a:srgbClr val="049FE7"/>
            </a:solidFill>
            <a:ln w="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7B73377A-E571-4949-7A2B-38E82BDC6CFA}"/>
                </a:ext>
              </a:extLst>
            </p:cNvPr>
            <p:cNvSpPr/>
            <p:nvPr/>
          </p:nvSpPr>
          <p:spPr>
            <a:xfrm>
              <a:off x="8411194" y="2366100"/>
              <a:ext cx="1941117" cy="2193995"/>
            </a:xfrm>
            <a:custGeom>
              <a:avLst/>
              <a:gdLst>
                <a:gd name="connsiteX0" fmla="*/ 864007 w 2188830"/>
                <a:gd name="connsiteY0" fmla="*/ 2237897 h 2473979"/>
                <a:gd name="connsiteX1" fmla="*/ 852492 w 2188830"/>
                <a:gd name="connsiteY1" fmla="*/ 2001743 h 2473979"/>
                <a:gd name="connsiteX2" fmla="*/ 380159 w 2188830"/>
                <a:gd name="connsiteY2" fmla="*/ 1124588 h 2473979"/>
                <a:gd name="connsiteX3" fmla="*/ 184322 w 2188830"/>
                <a:gd name="connsiteY3" fmla="*/ 1102101 h 2473979"/>
                <a:gd name="connsiteX4" fmla="*/ 149751 w 2188830"/>
                <a:gd name="connsiteY4" fmla="*/ 955920 h 2473979"/>
                <a:gd name="connsiteX5" fmla="*/ 23031 w 2188830"/>
                <a:gd name="connsiteY5" fmla="*/ 944664 h 2473979"/>
                <a:gd name="connsiteX6" fmla="*/ 0 w 2188830"/>
                <a:gd name="connsiteY6" fmla="*/ 539818 h 2473979"/>
                <a:gd name="connsiteX7" fmla="*/ 161291 w 2188830"/>
                <a:gd name="connsiteY7" fmla="*/ 517331 h 2473979"/>
                <a:gd name="connsiteX8" fmla="*/ 207377 w 2188830"/>
                <a:gd name="connsiteY8" fmla="*/ 337407 h 2473979"/>
                <a:gd name="connsiteX9" fmla="*/ 449301 w 2188830"/>
                <a:gd name="connsiteY9" fmla="*/ 326152 h 2473979"/>
                <a:gd name="connsiteX10" fmla="*/ 449301 w 2188830"/>
                <a:gd name="connsiteY10" fmla="*/ 157460 h 2473979"/>
                <a:gd name="connsiteX11" fmla="*/ 495387 w 2188830"/>
                <a:gd name="connsiteY11" fmla="*/ 146204 h 2473979"/>
                <a:gd name="connsiteX12" fmla="*/ 506903 w 2188830"/>
                <a:gd name="connsiteY12" fmla="*/ 326128 h 2473979"/>
                <a:gd name="connsiteX13" fmla="*/ 668193 w 2188830"/>
                <a:gd name="connsiteY13" fmla="*/ 314872 h 2473979"/>
                <a:gd name="connsiteX14" fmla="*/ 679709 w 2188830"/>
                <a:gd name="connsiteY14" fmla="*/ 22488 h 2473979"/>
                <a:gd name="connsiteX15" fmla="*/ 725795 w 2188830"/>
                <a:gd name="connsiteY15" fmla="*/ 0 h 2473979"/>
                <a:gd name="connsiteX16" fmla="*/ 737311 w 2188830"/>
                <a:gd name="connsiteY16" fmla="*/ 314872 h 2473979"/>
                <a:gd name="connsiteX17" fmla="*/ 864031 w 2188830"/>
                <a:gd name="connsiteY17" fmla="*/ 314872 h 2473979"/>
                <a:gd name="connsiteX18" fmla="*/ 875547 w 2188830"/>
                <a:gd name="connsiteY18" fmla="*/ 123693 h 2473979"/>
                <a:gd name="connsiteX19" fmla="*/ 921633 w 2188830"/>
                <a:gd name="connsiteY19" fmla="*/ 89950 h 2473979"/>
                <a:gd name="connsiteX20" fmla="*/ 921633 w 2188830"/>
                <a:gd name="connsiteY20" fmla="*/ 314849 h 2473979"/>
                <a:gd name="connsiteX21" fmla="*/ 1221159 w 2188830"/>
                <a:gd name="connsiteY21" fmla="*/ 326104 h 2473979"/>
                <a:gd name="connsiteX22" fmla="*/ 1301792 w 2188830"/>
                <a:gd name="connsiteY22" fmla="*/ 236131 h 2473979"/>
                <a:gd name="connsiteX23" fmla="*/ 1843242 w 2188830"/>
                <a:gd name="connsiteY23" fmla="*/ 236131 h 2473979"/>
                <a:gd name="connsiteX24" fmla="*/ 1981478 w 2188830"/>
                <a:gd name="connsiteY24" fmla="*/ 528515 h 2473979"/>
                <a:gd name="connsiteX25" fmla="*/ 2050596 w 2188830"/>
                <a:gd name="connsiteY25" fmla="*/ 787157 h 2473979"/>
                <a:gd name="connsiteX26" fmla="*/ 1969962 w 2188830"/>
                <a:gd name="connsiteY26" fmla="*/ 1000824 h 2473979"/>
                <a:gd name="connsiteX27" fmla="*/ 2188831 w 2188830"/>
                <a:gd name="connsiteY27" fmla="*/ 1371927 h 2473979"/>
                <a:gd name="connsiteX28" fmla="*/ 2050596 w 2188830"/>
                <a:gd name="connsiteY28" fmla="*/ 1461900 h 2473979"/>
                <a:gd name="connsiteX29" fmla="*/ 2108198 w 2188830"/>
                <a:gd name="connsiteY29" fmla="*/ 1641824 h 2473979"/>
                <a:gd name="connsiteX30" fmla="*/ 2027564 w 2188830"/>
                <a:gd name="connsiteY30" fmla="*/ 1709287 h 2473979"/>
                <a:gd name="connsiteX31" fmla="*/ 2096682 w 2188830"/>
                <a:gd name="connsiteY31" fmla="*/ 1776749 h 2473979"/>
                <a:gd name="connsiteX32" fmla="*/ 2027564 w 2188830"/>
                <a:gd name="connsiteY32" fmla="*/ 1832980 h 2473979"/>
                <a:gd name="connsiteX33" fmla="*/ 2004533 w 2188830"/>
                <a:gd name="connsiteY33" fmla="*/ 2046647 h 2473979"/>
                <a:gd name="connsiteX34" fmla="*/ 1877813 w 2188830"/>
                <a:gd name="connsiteY34" fmla="*/ 2136620 h 2473979"/>
                <a:gd name="connsiteX35" fmla="*/ 1751093 w 2188830"/>
                <a:gd name="connsiteY35" fmla="*/ 2136620 h 2473979"/>
                <a:gd name="connsiteX36" fmla="*/ 1336363 w 2188830"/>
                <a:gd name="connsiteY36" fmla="*/ 1979184 h 2473979"/>
                <a:gd name="connsiteX37" fmla="*/ 1324847 w 2188830"/>
                <a:gd name="connsiteY37" fmla="*/ 2473980 h 2473979"/>
                <a:gd name="connsiteX38" fmla="*/ 864055 w 2188830"/>
                <a:gd name="connsiteY38" fmla="*/ 2237826 h 24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88830" h="2473979">
                  <a:moveTo>
                    <a:pt x="864007" y="2237897"/>
                  </a:moveTo>
                  <a:lnTo>
                    <a:pt x="852492" y="2001743"/>
                  </a:lnTo>
                  <a:lnTo>
                    <a:pt x="380159" y="1124588"/>
                  </a:lnTo>
                  <a:lnTo>
                    <a:pt x="184322" y="1102101"/>
                  </a:lnTo>
                  <a:lnTo>
                    <a:pt x="149751" y="955920"/>
                  </a:lnTo>
                  <a:lnTo>
                    <a:pt x="23031" y="944664"/>
                  </a:lnTo>
                  <a:lnTo>
                    <a:pt x="0" y="539818"/>
                  </a:lnTo>
                  <a:lnTo>
                    <a:pt x="161291" y="517331"/>
                  </a:lnTo>
                  <a:lnTo>
                    <a:pt x="207377" y="337407"/>
                  </a:lnTo>
                  <a:lnTo>
                    <a:pt x="449301" y="326152"/>
                  </a:lnTo>
                  <a:lnTo>
                    <a:pt x="449301" y="157460"/>
                  </a:lnTo>
                  <a:lnTo>
                    <a:pt x="495387" y="146204"/>
                  </a:lnTo>
                  <a:lnTo>
                    <a:pt x="506903" y="326128"/>
                  </a:lnTo>
                  <a:lnTo>
                    <a:pt x="668193" y="314872"/>
                  </a:lnTo>
                  <a:lnTo>
                    <a:pt x="679709" y="22488"/>
                  </a:lnTo>
                  <a:lnTo>
                    <a:pt x="725795" y="0"/>
                  </a:lnTo>
                  <a:lnTo>
                    <a:pt x="737311" y="314872"/>
                  </a:lnTo>
                  <a:lnTo>
                    <a:pt x="864031" y="314872"/>
                  </a:lnTo>
                  <a:lnTo>
                    <a:pt x="875547" y="123693"/>
                  </a:lnTo>
                  <a:lnTo>
                    <a:pt x="921633" y="89950"/>
                  </a:lnTo>
                  <a:lnTo>
                    <a:pt x="921633" y="314849"/>
                  </a:lnTo>
                  <a:lnTo>
                    <a:pt x="1221159" y="326104"/>
                  </a:lnTo>
                  <a:lnTo>
                    <a:pt x="1301792" y="236131"/>
                  </a:lnTo>
                  <a:lnTo>
                    <a:pt x="1843242" y="236131"/>
                  </a:lnTo>
                  <a:lnTo>
                    <a:pt x="1981478" y="528515"/>
                  </a:lnTo>
                  <a:lnTo>
                    <a:pt x="2050596" y="787157"/>
                  </a:lnTo>
                  <a:lnTo>
                    <a:pt x="1969962" y="1000824"/>
                  </a:lnTo>
                  <a:lnTo>
                    <a:pt x="2188831" y="1371927"/>
                  </a:lnTo>
                  <a:lnTo>
                    <a:pt x="2050596" y="1461900"/>
                  </a:lnTo>
                  <a:lnTo>
                    <a:pt x="2108198" y="1641824"/>
                  </a:lnTo>
                  <a:lnTo>
                    <a:pt x="2027564" y="1709287"/>
                  </a:lnTo>
                  <a:lnTo>
                    <a:pt x="2096682" y="1776749"/>
                  </a:lnTo>
                  <a:lnTo>
                    <a:pt x="2027564" y="1832980"/>
                  </a:lnTo>
                  <a:lnTo>
                    <a:pt x="2004533" y="2046647"/>
                  </a:lnTo>
                  <a:lnTo>
                    <a:pt x="1877813" y="2136620"/>
                  </a:lnTo>
                  <a:lnTo>
                    <a:pt x="1751093" y="2136620"/>
                  </a:lnTo>
                  <a:lnTo>
                    <a:pt x="1336363" y="1979184"/>
                  </a:lnTo>
                  <a:lnTo>
                    <a:pt x="1324847" y="2473980"/>
                  </a:lnTo>
                  <a:lnTo>
                    <a:pt x="864055" y="2237826"/>
                  </a:lnTo>
                  <a:close/>
                </a:path>
              </a:pathLst>
            </a:custGeom>
            <a:solidFill>
              <a:srgbClr val="000000">
                <a:alpha val="15000"/>
              </a:srgbClr>
            </a:solidFill>
            <a:ln w="0" cap="flat">
              <a:noFill/>
              <a:prstDash val="solid"/>
              <a:miter/>
            </a:ln>
          </p:spPr>
          <p:txBody>
            <a:bodyPr rtlCol="0" anchor="ctr"/>
            <a:lstStyle/>
            <a:p>
              <a:endParaRPr lang="en-US"/>
            </a:p>
          </p:txBody>
        </p:sp>
        <p:grpSp>
          <p:nvGrpSpPr>
            <p:cNvPr id="57" name="Graphic 3">
              <a:extLst>
                <a:ext uri="{FF2B5EF4-FFF2-40B4-BE49-F238E27FC236}">
                  <a16:creationId xmlns:a16="http://schemas.microsoft.com/office/drawing/2014/main" id="{0D36C1E3-17D2-93C8-1A74-CAB4104D34A9}"/>
                </a:ext>
              </a:extLst>
            </p:cNvPr>
            <p:cNvGrpSpPr/>
            <p:nvPr/>
          </p:nvGrpSpPr>
          <p:grpSpPr>
            <a:xfrm>
              <a:off x="7565177" y="1485419"/>
              <a:ext cx="2412357" cy="3887162"/>
              <a:chOff x="4001456" y="1325205"/>
              <a:chExt cx="2720207" cy="4383218"/>
            </a:xfrm>
          </p:grpSpPr>
          <p:sp>
            <p:nvSpPr>
              <p:cNvPr id="433" name="Freeform: Shape 432">
                <a:extLst>
                  <a:ext uri="{FF2B5EF4-FFF2-40B4-BE49-F238E27FC236}">
                    <a16:creationId xmlns:a16="http://schemas.microsoft.com/office/drawing/2014/main" id="{298A0297-FF74-E4F2-CAAC-88B244231947}"/>
                  </a:ext>
                </a:extLst>
              </p:cNvPr>
              <p:cNvSpPr/>
              <p:nvPr/>
            </p:nvSpPr>
            <p:spPr>
              <a:xfrm>
                <a:off x="6463377" y="1433765"/>
                <a:ext cx="207306" cy="1245892"/>
              </a:xfrm>
              <a:custGeom>
                <a:avLst/>
                <a:gdLst>
                  <a:gd name="connsiteX0" fmla="*/ 0 w 207306"/>
                  <a:gd name="connsiteY0" fmla="*/ 1245893 h 1245892"/>
                  <a:gd name="connsiteX1" fmla="*/ 0 w 207306"/>
                  <a:gd name="connsiteY1" fmla="*/ 786590 h 1245892"/>
                  <a:gd name="connsiteX2" fmla="*/ 207306 w 207306"/>
                  <a:gd name="connsiteY2" fmla="*/ 579284 h 1245892"/>
                  <a:gd name="connsiteX3" fmla="*/ 207306 w 207306"/>
                  <a:gd name="connsiteY3" fmla="*/ 0 h 1245892"/>
                </a:gdLst>
                <a:ahLst/>
                <a:cxnLst>
                  <a:cxn ang="0">
                    <a:pos x="connsiteX0" y="connsiteY0"/>
                  </a:cxn>
                  <a:cxn ang="0">
                    <a:pos x="connsiteX1" y="connsiteY1"/>
                  </a:cxn>
                  <a:cxn ang="0">
                    <a:pos x="connsiteX2" y="connsiteY2"/>
                  </a:cxn>
                  <a:cxn ang="0">
                    <a:pos x="connsiteX3" y="connsiteY3"/>
                  </a:cxn>
                </a:cxnLst>
                <a:rect l="l" t="t" r="r" b="b"/>
                <a:pathLst>
                  <a:path w="207306" h="1245892">
                    <a:moveTo>
                      <a:pt x="0" y="1245893"/>
                    </a:moveTo>
                    <a:lnTo>
                      <a:pt x="0" y="786590"/>
                    </a:lnTo>
                    <a:lnTo>
                      <a:pt x="207306" y="579284"/>
                    </a:lnTo>
                    <a:lnTo>
                      <a:pt x="207306" y="0"/>
                    </a:lnTo>
                  </a:path>
                </a:pathLst>
              </a:custGeom>
              <a:noFill/>
              <a:ln w="14187" cap="flat">
                <a:solidFill>
                  <a:srgbClr val="00CCFF"/>
                </a:solidFill>
                <a:prstDash val="solid"/>
                <a:miter/>
              </a:ln>
            </p:spPr>
            <p:txBody>
              <a:bodyPr rtlCol="0" anchor="ctr"/>
              <a:lstStyle/>
              <a:p>
                <a:endParaRPr lang="en-US"/>
              </a:p>
            </p:txBody>
          </p:sp>
          <p:sp>
            <p:nvSpPr>
              <p:cNvPr id="434" name="Freeform: Shape 433">
                <a:extLst>
                  <a:ext uri="{FF2B5EF4-FFF2-40B4-BE49-F238E27FC236}">
                    <a16:creationId xmlns:a16="http://schemas.microsoft.com/office/drawing/2014/main" id="{45645329-7928-0B61-8D3E-7425159220BB}"/>
                  </a:ext>
                </a:extLst>
              </p:cNvPr>
              <p:cNvSpPr/>
              <p:nvPr/>
            </p:nvSpPr>
            <p:spPr>
              <a:xfrm>
                <a:off x="6612891" y="1325205"/>
                <a:ext cx="108772" cy="108772"/>
              </a:xfrm>
              <a:custGeom>
                <a:avLst/>
                <a:gdLst>
                  <a:gd name="connsiteX0" fmla="*/ 108772 w 108772"/>
                  <a:gd name="connsiteY0" fmla="*/ 54386 h 108772"/>
                  <a:gd name="connsiteX1" fmla="*/ 54386 w 108772"/>
                  <a:gd name="connsiteY1" fmla="*/ 108772 h 108772"/>
                  <a:gd name="connsiteX2" fmla="*/ 0 w 108772"/>
                  <a:gd name="connsiteY2" fmla="*/ 54386 h 108772"/>
                  <a:gd name="connsiteX3" fmla="*/ 54386 w 108772"/>
                  <a:gd name="connsiteY3" fmla="*/ 0 h 108772"/>
                  <a:gd name="connsiteX4" fmla="*/ 108772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108772" y="54386"/>
                    </a:moveTo>
                    <a:cubicBezTo>
                      <a:pt x="108772" y="84417"/>
                      <a:pt x="84417" y="108772"/>
                      <a:pt x="54386" y="108772"/>
                    </a:cubicBezTo>
                    <a:cubicBezTo>
                      <a:pt x="24356" y="108772"/>
                      <a:pt x="0" y="84417"/>
                      <a:pt x="0" y="54386"/>
                    </a:cubicBezTo>
                    <a:cubicBezTo>
                      <a:pt x="0" y="24356"/>
                      <a:pt x="24356" y="0"/>
                      <a:pt x="54386" y="0"/>
                    </a:cubicBezTo>
                    <a:cubicBezTo>
                      <a:pt x="84417" y="0"/>
                      <a:pt x="108772" y="24356"/>
                      <a:pt x="108772" y="54386"/>
                    </a:cubicBezTo>
                    <a:close/>
                  </a:path>
                </a:pathLst>
              </a:custGeom>
              <a:noFill/>
              <a:ln w="37831" cap="flat">
                <a:solidFill>
                  <a:srgbClr val="00CCFF"/>
                </a:solidFill>
                <a:prstDash val="solid"/>
                <a:miter/>
              </a:ln>
            </p:spPr>
            <p:txBody>
              <a:bodyPr rtlCol="0" anchor="ctr"/>
              <a:lstStyle/>
              <a:p>
                <a:endParaRPr lang="en-US"/>
              </a:p>
            </p:txBody>
          </p:sp>
          <p:sp>
            <p:nvSpPr>
              <p:cNvPr id="435" name="Freeform: Shape 434">
                <a:extLst>
                  <a:ext uri="{FF2B5EF4-FFF2-40B4-BE49-F238E27FC236}">
                    <a16:creationId xmlns:a16="http://schemas.microsoft.com/office/drawing/2014/main" id="{62370CC5-6204-9158-26B9-D5021495E932}"/>
                  </a:ext>
                </a:extLst>
              </p:cNvPr>
              <p:cNvSpPr/>
              <p:nvPr/>
            </p:nvSpPr>
            <p:spPr>
              <a:xfrm>
                <a:off x="5425121" y="1717401"/>
                <a:ext cx="207305" cy="1111795"/>
              </a:xfrm>
              <a:custGeom>
                <a:avLst/>
                <a:gdLst>
                  <a:gd name="connsiteX0" fmla="*/ 207306 w 207305"/>
                  <a:gd name="connsiteY0" fmla="*/ 1111795 h 1111795"/>
                  <a:gd name="connsiteX1" fmla="*/ 207306 w 207305"/>
                  <a:gd name="connsiteY1" fmla="*/ 384298 h 1111795"/>
                  <a:gd name="connsiteX2" fmla="*/ 0 w 207305"/>
                  <a:gd name="connsiteY2" fmla="*/ 176992 h 1111795"/>
                  <a:gd name="connsiteX3" fmla="*/ 0 w 207305"/>
                  <a:gd name="connsiteY3" fmla="*/ 0 h 1111795"/>
                </a:gdLst>
                <a:ahLst/>
                <a:cxnLst>
                  <a:cxn ang="0">
                    <a:pos x="connsiteX0" y="connsiteY0"/>
                  </a:cxn>
                  <a:cxn ang="0">
                    <a:pos x="connsiteX1" y="connsiteY1"/>
                  </a:cxn>
                  <a:cxn ang="0">
                    <a:pos x="connsiteX2" y="connsiteY2"/>
                  </a:cxn>
                  <a:cxn ang="0">
                    <a:pos x="connsiteX3" y="connsiteY3"/>
                  </a:cxn>
                </a:cxnLst>
                <a:rect l="l" t="t" r="r" b="b"/>
                <a:pathLst>
                  <a:path w="207305" h="1111795">
                    <a:moveTo>
                      <a:pt x="207306" y="1111795"/>
                    </a:moveTo>
                    <a:lnTo>
                      <a:pt x="207306" y="384298"/>
                    </a:lnTo>
                    <a:lnTo>
                      <a:pt x="0" y="176992"/>
                    </a:lnTo>
                    <a:lnTo>
                      <a:pt x="0" y="0"/>
                    </a:lnTo>
                  </a:path>
                </a:pathLst>
              </a:custGeom>
              <a:noFill/>
              <a:ln w="14187" cap="flat">
                <a:solidFill>
                  <a:srgbClr val="00CCFF"/>
                </a:solidFill>
                <a:prstDash val="solid"/>
                <a:miter/>
              </a:ln>
            </p:spPr>
            <p:txBody>
              <a:bodyPr rtlCol="0" anchor="ctr"/>
              <a:lstStyle/>
              <a:p>
                <a:endParaRPr lang="en-US"/>
              </a:p>
            </p:txBody>
          </p:sp>
          <p:sp>
            <p:nvSpPr>
              <p:cNvPr id="436" name="Freeform: Shape 435">
                <a:extLst>
                  <a:ext uri="{FF2B5EF4-FFF2-40B4-BE49-F238E27FC236}">
                    <a16:creationId xmlns:a16="http://schemas.microsoft.com/office/drawing/2014/main" id="{50B5834C-33F9-2142-3F0C-F51A57F63F5D}"/>
                  </a:ext>
                </a:extLst>
              </p:cNvPr>
              <p:cNvSpPr/>
              <p:nvPr/>
            </p:nvSpPr>
            <p:spPr>
              <a:xfrm>
                <a:off x="5836848" y="1474011"/>
                <a:ext cx="207305" cy="1205647"/>
              </a:xfrm>
              <a:custGeom>
                <a:avLst/>
                <a:gdLst>
                  <a:gd name="connsiteX0" fmla="*/ 207306 w 207305"/>
                  <a:gd name="connsiteY0" fmla="*/ 1205647 h 1205647"/>
                  <a:gd name="connsiteX1" fmla="*/ 207306 w 207305"/>
                  <a:gd name="connsiteY1" fmla="*/ 648000 h 1205647"/>
                  <a:gd name="connsiteX2" fmla="*/ 0 w 207305"/>
                  <a:gd name="connsiteY2" fmla="*/ 445163 h 1205647"/>
                  <a:gd name="connsiteX3" fmla="*/ 0 w 207305"/>
                  <a:gd name="connsiteY3" fmla="*/ 0 h 1205647"/>
                </a:gdLst>
                <a:ahLst/>
                <a:cxnLst>
                  <a:cxn ang="0">
                    <a:pos x="connsiteX0" y="connsiteY0"/>
                  </a:cxn>
                  <a:cxn ang="0">
                    <a:pos x="connsiteX1" y="connsiteY1"/>
                  </a:cxn>
                  <a:cxn ang="0">
                    <a:pos x="connsiteX2" y="connsiteY2"/>
                  </a:cxn>
                  <a:cxn ang="0">
                    <a:pos x="connsiteX3" y="connsiteY3"/>
                  </a:cxn>
                </a:cxnLst>
                <a:rect l="l" t="t" r="r" b="b"/>
                <a:pathLst>
                  <a:path w="207305" h="1205647">
                    <a:moveTo>
                      <a:pt x="207306" y="1205647"/>
                    </a:moveTo>
                    <a:lnTo>
                      <a:pt x="207306" y="648000"/>
                    </a:lnTo>
                    <a:lnTo>
                      <a:pt x="0" y="445163"/>
                    </a:lnTo>
                    <a:lnTo>
                      <a:pt x="0" y="0"/>
                    </a:lnTo>
                  </a:path>
                </a:pathLst>
              </a:custGeom>
              <a:noFill/>
              <a:ln w="14187" cap="flat">
                <a:solidFill>
                  <a:srgbClr val="00CCFF"/>
                </a:solidFill>
                <a:prstDash val="solid"/>
                <a:miter/>
              </a:ln>
            </p:spPr>
            <p:txBody>
              <a:bodyPr rtlCol="0" anchor="ctr"/>
              <a:lstStyle/>
              <a:p>
                <a:endParaRPr lang="en-US"/>
              </a:p>
            </p:txBody>
          </p:sp>
          <p:sp>
            <p:nvSpPr>
              <p:cNvPr id="437" name="Freeform: Shape 436">
                <a:extLst>
                  <a:ext uri="{FF2B5EF4-FFF2-40B4-BE49-F238E27FC236}">
                    <a16:creationId xmlns:a16="http://schemas.microsoft.com/office/drawing/2014/main" id="{DB75483A-9026-9FBE-EEED-BBB9FD9BA105}"/>
                  </a:ext>
                </a:extLst>
              </p:cNvPr>
              <p:cNvSpPr/>
              <p:nvPr/>
            </p:nvSpPr>
            <p:spPr>
              <a:xfrm>
                <a:off x="5370735" y="1619340"/>
                <a:ext cx="108772" cy="108772"/>
              </a:xfrm>
              <a:custGeom>
                <a:avLst/>
                <a:gdLst>
                  <a:gd name="connsiteX0" fmla="*/ 108772 w 108772"/>
                  <a:gd name="connsiteY0" fmla="*/ 54386 h 108772"/>
                  <a:gd name="connsiteX1" fmla="*/ 54386 w 108772"/>
                  <a:gd name="connsiteY1" fmla="*/ 108772 h 108772"/>
                  <a:gd name="connsiteX2" fmla="*/ 0 w 108772"/>
                  <a:gd name="connsiteY2" fmla="*/ 54386 h 108772"/>
                  <a:gd name="connsiteX3" fmla="*/ 54386 w 108772"/>
                  <a:gd name="connsiteY3" fmla="*/ 0 h 108772"/>
                  <a:gd name="connsiteX4" fmla="*/ 108772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108772" y="54386"/>
                    </a:moveTo>
                    <a:cubicBezTo>
                      <a:pt x="108772" y="84417"/>
                      <a:pt x="84417" y="108772"/>
                      <a:pt x="54386" y="108772"/>
                    </a:cubicBezTo>
                    <a:cubicBezTo>
                      <a:pt x="24356" y="108772"/>
                      <a:pt x="0" y="84417"/>
                      <a:pt x="0" y="54386"/>
                    </a:cubicBezTo>
                    <a:cubicBezTo>
                      <a:pt x="0" y="24356"/>
                      <a:pt x="24356" y="0"/>
                      <a:pt x="54386" y="0"/>
                    </a:cubicBezTo>
                    <a:cubicBezTo>
                      <a:pt x="84417" y="0"/>
                      <a:pt x="108772" y="24356"/>
                      <a:pt x="108772" y="54386"/>
                    </a:cubicBezTo>
                    <a:close/>
                  </a:path>
                </a:pathLst>
              </a:custGeom>
              <a:noFill/>
              <a:ln w="37831" cap="flat">
                <a:solidFill>
                  <a:srgbClr val="00CCFF"/>
                </a:solidFill>
                <a:prstDash val="solid"/>
                <a:miter/>
              </a:ln>
            </p:spPr>
            <p:txBody>
              <a:bodyPr rtlCol="0" anchor="ctr"/>
              <a:lstStyle/>
              <a:p>
                <a:endParaRPr lang="en-US"/>
              </a:p>
            </p:txBody>
          </p:sp>
          <p:sp>
            <p:nvSpPr>
              <p:cNvPr id="438" name="Freeform: Shape 437">
                <a:extLst>
                  <a:ext uri="{FF2B5EF4-FFF2-40B4-BE49-F238E27FC236}">
                    <a16:creationId xmlns:a16="http://schemas.microsoft.com/office/drawing/2014/main" id="{996B3038-627D-D3BA-DA50-1DA0611B5F63}"/>
                  </a:ext>
                </a:extLst>
              </p:cNvPr>
              <p:cNvSpPr/>
              <p:nvPr/>
            </p:nvSpPr>
            <p:spPr>
              <a:xfrm>
                <a:off x="6135901" y="1612554"/>
                <a:ext cx="207305" cy="1067104"/>
              </a:xfrm>
              <a:custGeom>
                <a:avLst/>
                <a:gdLst>
                  <a:gd name="connsiteX0" fmla="*/ 0 w 207305"/>
                  <a:gd name="connsiteY0" fmla="*/ 1067104 h 1067104"/>
                  <a:gd name="connsiteX1" fmla="*/ 0 w 207305"/>
                  <a:gd name="connsiteY1" fmla="*/ 513926 h 1067104"/>
                  <a:gd name="connsiteX2" fmla="*/ 207306 w 207305"/>
                  <a:gd name="connsiteY2" fmla="*/ 311089 h 1067104"/>
                  <a:gd name="connsiteX3" fmla="*/ 207306 w 207305"/>
                  <a:gd name="connsiteY3" fmla="*/ 0 h 1067104"/>
                </a:gdLst>
                <a:ahLst/>
                <a:cxnLst>
                  <a:cxn ang="0">
                    <a:pos x="connsiteX0" y="connsiteY0"/>
                  </a:cxn>
                  <a:cxn ang="0">
                    <a:pos x="connsiteX1" y="connsiteY1"/>
                  </a:cxn>
                  <a:cxn ang="0">
                    <a:pos x="connsiteX2" y="connsiteY2"/>
                  </a:cxn>
                  <a:cxn ang="0">
                    <a:pos x="connsiteX3" y="connsiteY3"/>
                  </a:cxn>
                </a:cxnLst>
                <a:rect l="l" t="t" r="r" b="b"/>
                <a:pathLst>
                  <a:path w="207305" h="1067104">
                    <a:moveTo>
                      <a:pt x="0" y="1067104"/>
                    </a:moveTo>
                    <a:lnTo>
                      <a:pt x="0" y="513926"/>
                    </a:lnTo>
                    <a:lnTo>
                      <a:pt x="207306" y="311089"/>
                    </a:lnTo>
                    <a:lnTo>
                      <a:pt x="207306" y="0"/>
                    </a:lnTo>
                  </a:path>
                </a:pathLst>
              </a:custGeom>
              <a:noFill/>
              <a:ln w="14187" cap="flat">
                <a:solidFill>
                  <a:srgbClr val="00CCFF"/>
                </a:solidFill>
                <a:prstDash val="solid"/>
                <a:miter/>
              </a:ln>
            </p:spPr>
            <p:txBody>
              <a:bodyPr rtlCol="0" anchor="ctr"/>
              <a:lstStyle/>
              <a:p>
                <a:endParaRPr lang="en-US"/>
              </a:p>
            </p:txBody>
          </p:sp>
          <p:sp>
            <p:nvSpPr>
              <p:cNvPr id="439" name="Freeform: Shape 438">
                <a:extLst>
                  <a:ext uri="{FF2B5EF4-FFF2-40B4-BE49-F238E27FC236}">
                    <a16:creationId xmlns:a16="http://schemas.microsoft.com/office/drawing/2014/main" id="{42229AEC-86D5-B3B7-D113-7245940C5DFA}"/>
                  </a:ext>
                </a:extLst>
              </p:cNvPr>
              <p:cNvSpPr/>
              <p:nvPr/>
            </p:nvSpPr>
            <p:spPr>
              <a:xfrm>
                <a:off x="6289341" y="1532961"/>
                <a:ext cx="108772" cy="108772"/>
              </a:xfrm>
              <a:custGeom>
                <a:avLst/>
                <a:gdLst>
                  <a:gd name="connsiteX0" fmla="*/ 108773 w 108772"/>
                  <a:gd name="connsiteY0" fmla="*/ 54386 h 108772"/>
                  <a:gd name="connsiteX1" fmla="*/ 54386 w 108772"/>
                  <a:gd name="connsiteY1" fmla="*/ 108772 h 108772"/>
                  <a:gd name="connsiteX2" fmla="*/ 0 w 108772"/>
                  <a:gd name="connsiteY2" fmla="*/ 54386 h 108772"/>
                  <a:gd name="connsiteX3" fmla="*/ 54386 w 108772"/>
                  <a:gd name="connsiteY3" fmla="*/ 0 h 108772"/>
                  <a:gd name="connsiteX4" fmla="*/ 108773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108773" y="54386"/>
                    </a:moveTo>
                    <a:cubicBezTo>
                      <a:pt x="108773" y="84417"/>
                      <a:pt x="84417" y="108772"/>
                      <a:pt x="54386" y="108772"/>
                    </a:cubicBezTo>
                    <a:cubicBezTo>
                      <a:pt x="24356" y="108772"/>
                      <a:pt x="0" y="84417"/>
                      <a:pt x="0" y="54386"/>
                    </a:cubicBezTo>
                    <a:cubicBezTo>
                      <a:pt x="0" y="24356"/>
                      <a:pt x="24356" y="0"/>
                      <a:pt x="54386" y="0"/>
                    </a:cubicBezTo>
                    <a:cubicBezTo>
                      <a:pt x="84417" y="0"/>
                      <a:pt x="108773" y="24356"/>
                      <a:pt x="108773" y="54386"/>
                    </a:cubicBezTo>
                    <a:close/>
                  </a:path>
                </a:pathLst>
              </a:custGeom>
              <a:solidFill>
                <a:srgbClr val="00CCFF"/>
              </a:solidFill>
              <a:ln w="0" cap="flat">
                <a:noFill/>
                <a:prstDash val="solid"/>
                <a:miter/>
              </a:ln>
            </p:spPr>
            <p:txBody>
              <a:bodyPr rtlCol="0" anchor="ctr"/>
              <a:lstStyle/>
              <a:p>
                <a:endParaRPr lang="en-US"/>
              </a:p>
            </p:txBody>
          </p:sp>
          <p:sp>
            <p:nvSpPr>
              <p:cNvPr id="440" name="Freeform: Shape 439">
                <a:extLst>
                  <a:ext uri="{FF2B5EF4-FFF2-40B4-BE49-F238E27FC236}">
                    <a16:creationId xmlns:a16="http://schemas.microsoft.com/office/drawing/2014/main" id="{DC8F2808-672D-E006-0B47-400D3DD272C5}"/>
                  </a:ext>
                </a:extLst>
              </p:cNvPr>
              <p:cNvSpPr/>
              <p:nvPr/>
            </p:nvSpPr>
            <p:spPr>
              <a:xfrm>
                <a:off x="6302937" y="1750458"/>
                <a:ext cx="81579" cy="81579"/>
              </a:xfrm>
              <a:custGeom>
                <a:avLst/>
                <a:gdLst>
                  <a:gd name="connsiteX0" fmla="*/ 81579 w 81579"/>
                  <a:gd name="connsiteY0" fmla="*/ 40790 h 81579"/>
                  <a:gd name="connsiteX1" fmla="*/ 40790 w 81579"/>
                  <a:gd name="connsiteY1" fmla="*/ 81579 h 81579"/>
                  <a:gd name="connsiteX2" fmla="*/ 0 w 81579"/>
                  <a:gd name="connsiteY2" fmla="*/ 40790 h 81579"/>
                  <a:gd name="connsiteX3" fmla="*/ 40790 w 81579"/>
                  <a:gd name="connsiteY3" fmla="*/ 0 h 81579"/>
                  <a:gd name="connsiteX4" fmla="*/ 81579 w 81579"/>
                  <a:gd name="connsiteY4" fmla="*/ 40790 h 8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9" h="81579">
                    <a:moveTo>
                      <a:pt x="81579" y="40790"/>
                    </a:moveTo>
                    <a:cubicBezTo>
                      <a:pt x="81579" y="63301"/>
                      <a:pt x="63324" y="81579"/>
                      <a:pt x="40790" y="81579"/>
                    </a:cubicBezTo>
                    <a:cubicBezTo>
                      <a:pt x="18255" y="81579"/>
                      <a:pt x="0" y="63324"/>
                      <a:pt x="0" y="40790"/>
                    </a:cubicBezTo>
                    <a:cubicBezTo>
                      <a:pt x="0" y="18255"/>
                      <a:pt x="18255" y="0"/>
                      <a:pt x="40790" y="0"/>
                    </a:cubicBezTo>
                    <a:cubicBezTo>
                      <a:pt x="63324" y="0"/>
                      <a:pt x="81579" y="18255"/>
                      <a:pt x="81579" y="40790"/>
                    </a:cubicBezTo>
                    <a:close/>
                  </a:path>
                </a:pathLst>
              </a:custGeom>
              <a:solidFill>
                <a:srgbClr val="00CCFF"/>
              </a:solidFill>
              <a:ln w="0" cap="flat">
                <a:noFill/>
                <a:prstDash val="solid"/>
                <a:miter/>
              </a:ln>
            </p:spPr>
            <p:txBody>
              <a:bodyPr rtlCol="0" anchor="ctr"/>
              <a:lstStyle/>
              <a:p>
                <a:endParaRPr lang="en-US"/>
              </a:p>
            </p:txBody>
          </p:sp>
          <p:sp>
            <p:nvSpPr>
              <p:cNvPr id="441" name="Freeform: Shape 440">
                <a:extLst>
                  <a:ext uri="{FF2B5EF4-FFF2-40B4-BE49-F238E27FC236}">
                    <a16:creationId xmlns:a16="http://schemas.microsoft.com/office/drawing/2014/main" id="{1886D103-8986-432B-9A1C-DD32DC713B8D}"/>
                  </a:ext>
                </a:extLst>
              </p:cNvPr>
              <p:cNvSpPr/>
              <p:nvPr/>
            </p:nvSpPr>
            <p:spPr>
              <a:xfrm>
                <a:off x="5786387" y="1422249"/>
                <a:ext cx="95152" cy="95152"/>
              </a:xfrm>
              <a:custGeom>
                <a:avLst/>
                <a:gdLst>
                  <a:gd name="connsiteX0" fmla="*/ 95152 w 95152"/>
                  <a:gd name="connsiteY0" fmla="*/ 47576 h 95152"/>
                  <a:gd name="connsiteX1" fmla="*/ 47576 w 95152"/>
                  <a:gd name="connsiteY1" fmla="*/ 95152 h 95152"/>
                  <a:gd name="connsiteX2" fmla="*/ 0 w 95152"/>
                  <a:gd name="connsiteY2" fmla="*/ 47576 h 95152"/>
                  <a:gd name="connsiteX3" fmla="*/ 47576 w 95152"/>
                  <a:gd name="connsiteY3" fmla="*/ 0 h 95152"/>
                  <a:gd name="connsiteX4" fmla="*/ 95152 w 95152"/>
                  <a:gd name="connsiteY4" fmla="*/ 47576 h 9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52" h="95152">
                    <a:moveTo>
                      <a:pt x="95152" y="47576"/>
                    </a:moveTo>
                    <a:cubicBezTo>
                      <a:pt x="95152" y="73847"/>
                      <a:pt x="73847" y="95152"/>
                      <a:pt x="47576" y="95152"/>
                    </a:cubicBezTo>
                    <a:cubicBezTo>
                      <a:pt x="21305" y="95152"/>
                      <a:pt x="0" y="73847"/>
                      <a:pt x="0" y="47576"/>
                    </a:cubicBezTo>
                    <a:cubicBezTo>
                      <a:pt x="0" y="21305"/>
                      <a:pt x="21305" y="0"/>
                      <a:pt x="47576" y="0"/>
                    </a:cubicBezTo>
                    <a:cubicBezTo>
                      <a:pt x="73847" y="0"/>
                      <a:pt x="95152" y="21305"/>
                      <a:pt x="95152" y="47576"/>
                    </a:cubicBezTo>
                    <a:close/>
                  </a:path>
                </a:pathLst>
              </a:custGeom>
              <a:solidFill>
                <a:srgbClr val="00CCFF"/>
              </a:solidFill>
              <a:ln w="0" cap="flat">
                <a:noFill/>
                <a:prstDash val="solid"/>
                <a:miter/>
              </a:ln>
            </p:spPr>
            <p:txBody>
              <a:bodyPr rtlCol="0" anchor="ctr"/>
              <a:lstStyle/>
              <a:p>
                <a:endParaRPr lang="en-US"/>
              </a:p>
            </p:txBody>
          </p:sp>
          <p:sp>
            <p:nvSpPr>
              <p:cNvPr id="442" name="Freeform: Shape 441">
                <a:extLst>
                  <a:ext uri="{FF2B5EF4-FFF2-40B4-BE49-F238E27FC236}">
                    <a16:creationId xmlns:a16="http://schemas.microsoft.com/office/drawing/2014/main" id="{8E6D9D46-CBA1-F089-68C0-EB1BBA9B7296}"/>
                  </a:ext>
                </a:extLst>
              </p:cNvPr>
              <p:cNvSpPr/>
              <p:nvPr/>
            </p:nvSpPr>
            <p:spPr>
              <a:xfrm>
                <a:off x="5662032" y="4233849"/>
                <a:ext cx="269873" cy="883846"/>
              </a:xfrm>
              <a:custGeom>
                <a:avLst/>
                <a:gdLst>
                  <a:gd name="connsiteX0" fmla="*/ 269874 w 269873"/>
                  <a:gd name="connsiteY0" fmla="*/ 0 h 883846"/>
                  <a:gd name="connsiteX1" fmla="*/ 269874 w 269873"/>
                  <a:gd name="connsiteY1" fmla="*/ 410143 h 883846"/>
                  <a:gd name="connsiteX2" fmla="*/ 0 w 269873"/>
                  <a:gd name="connsiteY2" fmla="*/ 662140 h 883846"/>
                  <a:gd name="connsiteX3" fmla="*/ 0 w 269873"/>
                  <a:gd name="connsiteY3" fmla="*/ 883846 h 883846"/>
                </a:gdLst>
                <a:ahLst/>
                <a:cxnLst>
                  <a:cxn ang="0">
                    <a:pos x="connsiteX0" y="connsiteY0"/>
                  </a:cxn>
                  <a:cxn ang="0">
                    <a:pos x="connsiteX1" y="connsiteY1"/>
                  </a:cxn>
                  <a:cxn ang="0">
                    <a:pos x="connsiteX2" y="connsiteY2"/>
                  </a:cxn>
                  <a:cxn ang="0">
                    <a:pos x="connsiteX3" y="connsiteY3"/>
                  </a:cxn>
                </a:cxnLst>
                <a:rect l="l" t="t" r="r" b="b"/>
                <a:pathLst>
                  <a:path w="269873" h="883846">
                    <a:moveTo>
                      <a:pt x="269874" y="0"/>
                    </a:moveTo>
                    <a:lnTo>
                      <a:pt x="269874" y="410143"/>
                    </a:lnTo>
                    <a:lnTo>
                      <a:pt x="0" y="662140"/>
                    </a:lnTo>
                    <a:lnTo>
                      <a:pt x="0" y="883846"/>
                    </a:lnTo>
                  </a:path>
                </a:pathLst>
              </a:custGeom>
              <a:noFill/>
              <a:ln w="14187" cap="flat">
                <a:solidFill>
                  <a:srgbClr val="00CCFF"/>
                </a:solidFill>
                <a:prstDash val="solid"/>
                <a:miter/>
              </a:ln>
            </p:spPr>
            <p:txBody>
              <a:bodyPr rtlCol="0" anchor="ctr"/>
              <a:lstStyle/>
              <a:p>
                <a:endParaRPr lang="en-US"/>
              </a:p>
            </p:txBody>
          </p:sp>
          <p:sp>
            <p:nvSpPr>
              <p:cNvPr id="443" name="Freeform: Shape 442">
                <a:extLst>
                  <a:ext uri="{FF2B5EF4-FFF2-40B4-BE49-F238E27FC236}">
                    <a16:creationId xmlns:a16="http://schemas.microsoft.com/office/drawing/2014/main" id="{5E3596DF-1916-BD08-0365-1C12B1355250}"/>
                  </a:ext>
                </a:extLst>
              </p:cNvPr>
              <p:cNvSpPr/>
              <p:nvPr/>
            </p:nvSpPr>
            <p:spPr>
              <a:xfrm>
                <a:off x="5607409" y="5123678"/>
                <a:ext cx="108772" cy="108772"/>
              </a:xfrm>
              <a:custGeom>
                <a:avLst/>
                <a:gdLst>
                  <a:gd name="connsiteX0" fmla="*/ 0 w 108772"/>
                  <a:gd name="connsiteY0" fmla="*/ 54386 h 108772"/>
                  <a:gd name="connsiteX1" fmla="*/ 54386 w 108772"/>
                  <a:gd name="connsiteY1" fmla="*/ 0 h 108772"/>
                  <a:gd name="connsiteX2" fmla="*/ 108772 w 108772"/>
                  <a:gd name="connsiteY2" fmla="*/ 54386 h 108772"/>
                  <a:gd name="connsiteX3" fmla="*/ 54386 w 108772"/>
                  <a:gd name="connsiteY3" fmla="*/ 108772 h 108772"/>
                  <a:gd name="connsiteX4" fmla="*/ 0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0" y="54386"/>
                    </a:moveTo>
                    <a:cubicBezTo>
                      <a:pt x="0" y="24356"/>
                      <a:pt x="24356" y="0"/>
                      <a:pt x="54386" y="0"/>
                    </a:cubicBezTo>
                    <a:cubicBezTo>
                      <a:pt x="84417" y="0"/>
                      <a:pt x="108772" y="24356"/>
                      <a:pt x="108772" y="54386"/>
                    </a:cubicBezTo>
                    <a:cubicBezTo>
                      <a:pt x="108772" y="84417"/>
                      <a:pt x="84417" y="108772"/>
                      <a:pt x="54386" y="108772"/>
                    </a:cubicBezTo>
                    <a:cubicBezTo>
                      <a:pt x="24356" y="108772"/>
                      <a:pt x="0" y="84417"/>
                      <a:pt x="0" y="54386"/>
                    </a:cubicBezTo>
                    <a:close/>
                  </a:path>
                </a:pathLst>
              </a:custGeom>
              <a:noFill/>
              <a:ln w="37831" cap="flat">
                <a:solidFill>
                  <a:srgbClr val="00CCFF"/>
                </a:solidFill>
                <a:prstDash val="solid"/>
                <a:miter/>
              </a:ln>
            </p:spPr>
            <p:txBody>
              <a:bodyPr rtlCol="0" anchor="ctr"/>
              <a:lstStyle/>
              <a:p>
                <a:endParaRPr lang="en-US"/>
              </a:p>
            </p:txBody>
          </p:sp>
          <p:sp>
            <p:nvSpPr>
              <p:cNvPr id="444" name="Freeform: Shape 443">
                <a:extLst>
                  <a:ext uri="{FF2B5EF4-FFF2-40B4-BE49-F238E27FC236}">
                    <a16:creationId xmlns:a16="http://schemas.microsoft.com/office/drawing/2014/main" id="{5E27AE65-B988-FBBF-8C1E-CB58149D5451}"/>
                  </a:ext>
                </a:extLst>
              </p:cNvPr>
              <p:cNvSpPr/>
              <p:nvPr/>
            </p:nvSpPr>
            <p:spPr>
              <a:xfrm>
                <a:off x="6258128" y="4158820"/>
                <a:ext cx="315321" cy="1102809"/>
              </a:xfrm>
              <a:custGeom>
                <a:avLst/>
                <a:gdLst>
                  <a:gd name="connsiteX0" fmla="*/ 0 w 315321"/>
                  <a:gd name="connsiteY0" fmla="*/ 0 h 1102809"/>
                  <a:gd name="connsiteX1" fmla="*/ 0 w 315321"/>
                  <a:gd name="connsiteY1" fmla="*/ 703497 h 1102809"/>
                  <a:gd name="connsiteX2" fmla="*/ 315321 w 315321"/>
                  <a:gd name="connsiteY2" fmla="*/ 1000824 h 1102809"/>
                  <a:gd name="connsiteX3" fmla="*/ 315321 w 315321"/>
                  <a:gd name="connsiteY3" fmla="*/ 1102810 h 1102809"/>
                </a:gdLst>
                <a:ahLst/>
                <a:cxnLst>
                  <a:cxn ang="0">
                    <a:pos x="connsiteX0" y="connsiteY0"/>
                  </a:cxn>
                  <a:cxn ang="0">
                    <a:pos x="connsiteX1" y="connsiteY1"/>
                  </a:cxn>
                  <a:cxn ang="0">
                    <a:pos x="connsiteX2" y="connsiteY2"/>
                  </a:cxn>
                  <a:cxn ang="0">
                    <a:pos x="connsiteX3" y="connsiteY3"/>
                  </a:cxn>
                </a:cxnLst>
                <a:rect l="l" t="t" r="r" b="b"/>
                <a:pathLst>
                  <a:path w="315321" h="1102809">
                    <a:moveTo>
                      <a:pt x="0" y="0"/>
                    </a:moveTo>
                    <a:lnTo>
                      <a:pt x="0" y="703497"/>
                    </a:lnTo>
                    <a:lnTo>
                      <a:pt x="315321" y="1000824"/>
                    </a:lnTo>
                    <a:lnTo>
                      <a:pt x="315321" y="1102810"/>
                    </a:lnTo>
                  </a:path>
                </a:pathLst>
              </a:custGeom>
              <a:noFill/>
              <a:ln w="14187" cap="flat">
                <a:solidFill>
                  <a:srgbClr val="00CCFF"/>
                </a:solidFill>
                <a:prstDash val="solid"/>
                <a:miter/>
              </a:ln>
            </p:spPr>
            <p:txBody>
              <a:bodyPr rtlCol="0" anchor="ctr"/>
              <a:lstStyle/>
              <a:p>
                <a:endParaRPr lang="en-US"/>
              </a:p>
            </p:txBody>
          </p:sp>
          <p:sp>
            <p:nvSpPr>
              <p:cNvPr id="445" name="Freeform: Shape 444">
                <a:extLst>
                  <a:ext uri="{FF2B5EF4-FFF2-40B4-BE49-F238E27FC236}">
                    <a16:creationId xmlns:a16="http://schemas.microsoft.com/office/drawing/2014/main" id="{AD94001D-369E-2E11-8BAC-32F3DD5309B0}"/>
                  </a:ext>
                </a:extLst>
              </p:cNvPr>
              <p:cNvSpPr/>
              <p:nvPr/>
            </p:nvSpPr>
            <p:spPr>
              <a:xfrm>
                <a:off x="6143704" y="4423681"/>
                <a:ext cx="207305" cy="1089449"/>
              </a:xfrm>
              <a:custGeom>
                <a:avLst/>
                <a:gdLst>
                  <a:gd name="connsiteX0" fmla="*/ 0 w 207305"/>
                  <a:gd name="connsiteY0" fmla="*/ 0 h 1089449"/>
                  <a:gd name="connsiteX1" fmla="*/ 0 w 207305"/>
                  <a:gd name="connsiteY1" fmla="*/ 557648 h 1089449"/>
                  <a:gd name="connsiteX2" fmla="*/ 207306 w 207305"/>
                  <a:gd name="connsiteY2" fmla="*/ 760484 h 1089449"/>
                  <a:gd name="connsiteX3" fmla="*/ 207306 w 207305"/>
                  <a:gd name="connsiteY3" fmla="*/ 1089450 h 1089449"/>
                </a:gdLst>
                <a:ahLst/>
                <a:cxnLst>
                  <a:cxn ang="0">
                    <a:pos x="connsiteX0" y="connsiteY0"/>
                  </a:cxn>
                  <a:cxn ang="0">
                    <a:pos x="connsiteX1" y="connsiteY1"/>
                  </a:cxn>
                  <a:cxn ang="0">
                    <a:pos x="connsiteX2" y="connsiteY2"/>
                  </a:cxn>
                  <a:cxn ang="0">
                    <a:pos x="connsiteX3" y="connsiteY3"/>
                  </a:cxn>
                </a:cxnLst>
                <a:rect l="l" t="t" r="r" b="b"/>
                <a:pathLst>
                  <a:path w="207305" h="1089449">
                    <a:moveTo>
                      <a:pt x="0" y="0"/>
                    </a:moveTo>
                    <a:lnTo>
                      <a:pt x="0" y="557648"/>
                    </a:lnTo>
                    <a:lnTo>
                      <a:pt x="207306" y="760484"/>
                    </a:lnTo>
                    <a:lnTo>
                      <a:pt x="207306" y="1089450"/>
                    </a:lnTo>
                  </a:path>
                </a:pathLst>
              </a:custGeom>
              <a:noFill/>
              <a:ln w="14187" cap="flat">
                <a:solidFill>
                  <a:srgbClr val="00CCFF"/>
                </a:solidFill>
                <a:prstDash val="solid"/>
                <a:miter/>
              </a:ln>
            </p:spPr>
            <p:txBody>
              <a:bodyPr rtlCol="0" anchor="ctr"/>
              <a:lstStyle/>
              <a:p>
                <a:endParaRPr lang="en-US"/>
              </a:p>
            </p:txBody>
          </p:sp>
          <p:sp>
            <p:nvSpPr>
              <p:cNvPr id="446" name="Freeform: Shape 445">
                <a:extLst>
                  <a:ext uri="{FF2B5EF4-FFF2-40B4-BE49-F238E27FC236}">
                    <a16:creationId xmlns:a16="http://schemas.microsoft.com/office/drawing/2014/main" id="{8405D3C1-9960-0DB5-E039-EF217C2215AA}"/>
                  </a:ext>
                </a:extLst>
              </p:cNvPr>
              <p:cNvSpPr/>
              <p:nvPr/>
            </p:nvSpPr>
            <p:spPr>
              <a:xfrm>
                <a:off x="6514783" y="5259880"/>
                <a:ext cx="108772" cy="108772"/>
              </a:xfrm>
              <a:custGeom>
                <a:avLst/>
                <a:gdLst>
                  <a:gd name="connsiteX0" fmla="*/ 0 w 108772"/>
                  <a:gd name="connsiteY0" fmla="*/ 54386 h 108772"/>
                  <a:gd name="connsiteX1" fmla="*/ 54386 w 108772"/>
                  <a:gd name="connsiteY1" fmla="*/ 0 h 108772"/>
                  <a:gd name="connsiteX2" fmla="*/ 108772 w 108772"/>
                  <a:gd name="connsiteY2" fmla="*/ 54386 h 108772"/>
                  <a:gd name="connsiteX3" fmla="*/ 54386 w 108772"/>
                  <a:gd name="connsiteY3" fmla="*/ 108772 h 108772"/>
                  <a:gd name="connsiteX4" fmla="*/ 0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0" y="54386"/>
                    </a:moveTo>
                    <a:cubicBezTo>
                      <a:pt x="0" y="24356"/>
                      <a:pt x="24356" y="0"/>
                      <a:pt x="54386" y="0"/>
                    </a:cubicBezTo>
                    <a:cubicBezTo>
                      <a:pt x="84417" y="0"/>
                      <a:pt x="108772" y="24356"/>
                      <a:pt x="108772" y="54386"/>
                    </a:cubicBezTo>
                    <a:cubicBezTo>
                      <a:pt x="108772" y="84417"/>
                      <a:pt x="84417" y="108772"/>
                      <a:pt x="54386" y="108772"/>
                    </a:cubicBezTo>
                    <a:cubicBezTo>
                      <a:pt x="24356" y="108772"/>
                      <a:pt x="0" y="84417"/>
                      <a:pt x="0" y="54386"/>
                    </a:cubicBezTo>
                    <a:close/>
                  </a:path>
                </a:pathLst>
              </a:custGeom>
              <a:noFill/>
              <a:ln w="37831" cap="flat">
                <a:solidFill>
                  <a:srgbClr val="00CCFF"/>
                </a:solidFill>
                <a:prstDash val="solid"/>
                <a:miter/>
              </a:ln>
            </p:spPr>
            <p:txBody>
              <a:bodyPr rtlCol="0" anchor="ctr"/>
              <a:lstStyle/>
              <a:p>
                <a:endParaRPr lang="en-US"/>
              </a:p>
            </p:txBody>
          </p:sp>
          <p:sp>
            <p:nvSpPr>
              <p:cNvPr id="447" name="Freeform: Shape 446">
                <a:extLst>
                  <a:ext uri="{FF2B5EF4-FFF2-40B4-BE49-F238E27FC236}">
                    <a16:creationId xmlns:a16="http://schemas.microsoft.com/office/drawing/2014/main" id="{9C1D71D3-5A4E-108A-AD4B-F7E9749BCDF0}"/>
                  </a:ext>
                </a:extLst>
              </p:cNvPr>
              <p:cNvSpPr/>
              <p:nvPr/>
            </p:nvSpPr>
            <p:spPr>
              <a:xfrm>
                <a:off x="5826751" y="4423681"/>
                <a:ext cx="207306" cy="1245892"/>
              </a:xfrm>
              <a:custGeom>
                <a:avLst/>
                <a:gdLst>
                  <a:gd name="connsiteX0" fmla="*/ 207306 w 207306"/>
                  <a:gd name="connsiteY0" fmla="*/ 0 h 1245892"/>
                  <a:gd name="connsiteX1" fmla="*/ 207306 w 207306"/>
                  <a:gd name="connsiteY1" fmla="*/ 642561 h 1245892"/>
                  <a:gd name="connsiteX2" fmla="*/ 0 w 207306"/>
                  <a:gd name="connsiteY2" fmla="*/ 845398 h 1245892"/>
                  <a:gd name="connsiteX3" fmla="*/ 0 w 207306"/>
                  <a:gd name="connsiteY3" fmla="*/ 1245893 h 1245892"/>
                </a:gdLst>
                <a:ahLst/>
                <a:cxnLst>
                  <a:cxn ang="0">
                    <a:pos x="connsiteX0" y="connsiteY0"/>
                  </a:cxn>
                  <a:cxn ang="0">
                    <a:pos x="connsiteX1" y="connsiteY1"/>
                  </a:cxn>
                  <a:cxn ang="0">
                    <a:pos x="connsiteX2" y="connsiteY2"/>
                  </a:cxn>
                  <a:cxn ang="0">
                    <a:pos x="connsiteX3" y="connsiteY3"/>
                  </a:cxn>
                </a:cxnLst>
                <a:rect l="l" t="t" r="r" b="b"/>
                <a:pathLst>
                  <a:path w="207306" h="1245892">
                    <a:moveTo>
                      <a:pt x="207306" y="0"/>
                    </a:moveTo>
                    <a:lnTo>
                      <a:pt x="207306" y="642561"/>
                    </a:lnTo>
                    <a:lnTo>
                      <a:pt x="0" y="845398"/>
                    </a:lnTo>
                    <a:lnTo>
                      <a:pt x="0" y="1245893"/>
                    </a:lnTo>
                  </a:path>
                </a:pathLst>
              </a:custGeom>
              <a:noFill/>
              <a:ln w="14187" cap="flat">
                <a:solidFill>
                  <a:srgbClr val="00CCFF"/>
                </a:solidFill>
                <a:prstDash val="solid"/>
                <a:miter/>
              </a:ln>
            </p:spPr>
            <p:txBody>
              <a:bodyPr rtlCol="0" anchor="ctr"/>
              <a:lstStyle/>
              <a:p>
                <a:endParaRPr lang="en-US"/>
              </a:p>
            </p:txBody>
          </p:sp>
          <p:sp>
            <p:nvSpPr>
              <p:cNvPr id="448" name="Freeform: Shape 447">
                <a:extLst>
                  <a:ext uri="{FF2B5EF4-FFF2-40B4-BE49-F238E27FC236}">
                    <a16:creationId xmlns:a16="http://schemas.microsoft.com/office/drawing/2014/main" id="{74346CBB-5057-0D1B-BD6A-262BA301C7D9}"/>
                  </a:ext>
                </a:extLst>
              </p:cNvPr>
              <p:cNvSpPr/>
              <p:nvPr/>
            </p:nvSpPr>
            <p:spPr>
              <a:xfrm>
                <a:off x="5771868" y="5599652"/>
                <a:ext cx="108772" cy="108772"/>
              </a:xfrm>
              <a:custGeom>
                <a:avLst/>
                <a:gdLst>
                  <a:gd name="connsiteX0" fmla="*/ 0 w 108772"/>
                  <a:gd name="connsiteY0" fmla="*/ 54386 h 108772"/>
                  <a:gd name="connsiteX1" fmla="*/ 54386 w 108772"/>
                  <a:gd name="connsiteY1" fmla="*/ 0 h 108772"/>
                  <a:gd name="connsiteX2" fmla="*/ 108772 w 108772"/>
                  <a:gd name="connsiteY2" fmla="*/ 54386 h 108772"/>
                  <a:gd name="connsiteX3" fmla="*/ 54386 w 108772"/>
                  <a:gd name="connsiteY3" fmla="*/ 108772 h 108772"/>
                  <a:gd name="connsiteX4" fmla="*/ 0 w 108772"/>
                  <a:gd name="connsiteY4" fmla="*/ 54386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0" y="54386"/>
                    </a:moveTo>
                    <a:cubicBezTo>
                      <a:pt x="0" y="24355"/>
                      <a:pt x="24356" y="0"/>
                      <a:pt x="54386" y="0"/>
                    </a:cubicBezTo>
                    <a:cubicBezTo>
                      <a:pt x="84417" y="0"/>
                      <a:pt x="108772" y="24355"/>
                      <a:pt x="108772" y="54386"/>
                    </a:cubicBezTo>
                    <a:cubicBezTo>
                      <a:pt x="108772" y="84417"/>
                      <a:pt x="84417" y="108772"/>
                      <a:pt x="54386" y="108772"/>
                    </a:cubicBezTo>
                    <a:cubicBezTo>
                      <a:pt x="24356" y="108772"/>
                      <a:pt x="0" y="84417"/>
                      <a:pt x="0" y="54386"/>
                    </a:cubicBezTo>
                    <a:close/>
                  </a:path>
                </a:pathLst>
              </a:custGeom>
              <a:solidFill>
                <a:srgbClr val="00CCFF"/>
              </a:solidFill>
              <a:ln w="0" cap="flat">
                <a:noFill/>
                <a:prstDash val="solid"/>
                <a:miter/>
              </a:ln>
            </p:spPr>
            <p:txBody>
              <a:bodyPr rtlCol="0" anchor="ctr"/>
              <a:lstStyle/>
              <a:p>
                <a:endParaRPr lang="en-US"/>
              </a:p>
            </p:txBody>
          </p:sp>
          <p:sp>
            <p:nvSpPr>
              <p:cNvPr id="449" name="Freeform: Shape 448">
                <a:extLst>
                  <a:ext uri="{FF2B5EF4-FFF2-40B4-BE49-F238E27FC236}">
                    <a16:creationId xmlns:a16="http://schemas.microsoft.com/office/drawing/2014/main" id="{82EA7E60-F7AB-489F-2D0A-E52F54D28D72}"/>
                  </a:ext>
                </a:extLst>
              </p:cNvPr>
              <p:cNvSpPr/>
              <p:nvPr/>
            </p:nvSpPr>
            <p:spPr>
              <a:xfrm>
                <a:off x="5785465" y="5367352"/>
                <a:ext cx="81579" cy="81579"/>
              </a:xfrm>
              <a:custGeom>
                <a:avLst/>
                <a:gdLst>
                  <a:gd name="connsiteX0" fmla="*/ 0 w 81579"/>
                  <a:gd name="connsiteY0" fmla="*/ 40790 h 81579"/>
                  <a:gd name="connsiteX1" fmla="*/ 40790 w 81579"/>
                  <a:gd name="connsiteY1" fmla="*/ 0 h 81579"/>
                  <a:gd name="connsiteX2" fmla="*/ 81579 w 81579"/>
                  <a:gd name="connsiteY2" fmla="*/ 40790 h 81579"/>
                  <a:gd name="connsiteX3" fmla="*/ 40790 w 81579"/>
                  <a:gd name="connsiteY3" fmla="*/ 81579 h 81579"/>
                  <a:gd name="connsiteX4" fmla="*/ 0 w 81579"/>
                  <a:gd name="connsiteY4" fmla="*/ 40790 h 8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9" h="81579">
                    <a:moveTo>
                      <a:pt x="0" y="40790"/>
                    </a:moveTo>
                    <a:cubicBezTo>
                      <a:pt x="0" y="18278"/>
                      <a:pt x="18255" y="0"/>
                      <a:pt x="40790" y="0"/>
                    </a:cubicBezTo>
                    <a:cubicBezTo>
                      <a:pt x="63324" y="0"/>
                      <a:pt x="81579" y="18255"/>
                      <a:pt x="81579" y="40790"/>
                    </a:cubicBezTo>
                    <a:cubicBezTo>
                      <a:pt x="81579" y="63324"/>
                      <a:pt x="63324" y="81579"/>
                      <a:pt x="40790" y="81579"/>
                    </a:cubicBezTo>
                    <a:cubicBezTo>
                      <a:pt x="18255" y="81579"/>
                      <a:pt x="0" y="63324"/>
                      <a:pt x="0" y="40790"/>
                    </a:cubicBezTo>
                    <a:close/>
                  </a:path>
                </a:pathLst>
              </a:custGeom>
              <a:solidFill>
                <a:srgbClr val="00CCFF"/>
              </a:solidFill>
              <a:ln w="0" cap="flat">
                <a:noFill/>
                <a:prstDash val="solid"/>
                <a:miter/>
              </a:ln>
            </p:spPr>
            <p:txBody>
              <a:bodyPr rtlCol="0" anchor="ctr"/>
              <a:lstStyle/>
              <a:p>
                <a:endParaRPr lang="en-US"/>
              </a:p>
            </p:txBody>
          </p:sp>
          <p:sp>
            <p:nvSpPr>
              <p:cNvPr id="450" name="Freeform: Shape 449">
                <a:extLst>
                  <a:ext uri="{FF2B5EF4-FFF2-40B4-BE49-F238E27FC236}">
                    <a16:creationId xmlns:a16="http://schemas.microsoft.com/office/drawing/2014/main" id="{D0A99E64-8A7A-E500-56A6-80134FC41687}"/>
                  </a:ext>
                </a:extLst>
              </p:cNvPr>
              <p:cNvSpPr/>
              <p:nvPr/>
            </p:nvSpPr>
            <p:spPr>
              <a:xfrm>
                <a:off x="6303316" y="5465909"/>
                <a:ext cx="95152" cy="95152"/>
              </a:xfrm>
              <a:custGeom>
                <a:avLst/>
                <a:gdLst>
                  <a:gd name="connsiteX0" fmla="*/ 0 w 95152"/>
                  <a:gd name="connsiteY0" fmla="*/ 47576 h 95152"/>
                  <a:gd name="connsiteX1" fmla="*/ 47576 w 95152"/>
                  <a:gd name="connsiteY1" fmla="*/ 0 h 95152"/>
                  <a:gd name="connsiteX2" fmla="*/ 95152 w 95152"/>
                  <a:gd name="connsiteY2" fmla="*/ 47576 h 95152"/>
                  <a:gd name="connsiteX3" fmla="*/ 47576 w 95152"/>
                  <a:gd name="connsiteY3" fmla="*/ 95152 h 95152"/>
                  <a:gd name="connsiteX4" fmla="*/ 0 w 95152"/>
                  <a:gd name="connsiteY4" fmla="*/ 47576 h 9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52" h="95152">
                    <a:moveTo>
                      <a:pt x="0" y="47576"/>
                    </a:moveTo>
                    <a:cubicBezTo>
                      <a:pt x="0" y="21305"/>
                      <a:pt x="21305" y="0"/>
                      <a:pt x="47576" y="0"/>
                    </a:cubicBezTo>
                    <a:cubicBezTo>
                      <a:pt x="73847" y="0"/>
                      <a:pt x="95152" y="21305"/>
                      <a:pt x="95152" y="47576"/>
                    </a:cubicBezTo>
                    <a:cubicBezTo>
                      <a:pt x="95152" y="73847"/>
                      <a:pt x="73847" y="95152"/>
                      <a:pt x="47576" y="95152"/>
                    </a:cubicBezTo>
                    <a:cubicBezTo>
                      <a:pt x="21305" y="95152"/>
                      <a:pt x="0" y="73847"/>
                      <a:pt x="0" y="47576"/>
                    </a:cubicBezTo>
                    <a:close/>
                  </a:path>
                </a:pathLst>
              </a:custGeom>
              <a:solidFill>
                <a:srgbClr val="00CCFF"/>
              </a:solidFill>
              <a:ln w="0" cap="flat">
                <a:noFill/>
                <a:prstDash val="solid"/>
                <a:miter/>
              </a:ln>
            </p:spPr>
            <p:txBody>
              <a:bodyPr rtlCol="0" anchor="ctr"/>
              <a:lstStyle/>
              <a:p>
                <a:endParaRPr lang="en-US"/>
              </a:p>
            </p:txBody>
          </p:sp>
          <p:sp>
            <p:nvSpPr>
              <p:cNvPr id="451" name="Freeform: Shape 450">
                <a:extLst>
                  <a:ext uri="{FF2B5EF4-FFF2-40B4-BE49-F238E27FC236}">
                    <a16:creationId xmlns:a16="http://schemas.microsoft.com/office/drawing/2014/main" id="{85399915-675A-78DC-F608-4D12F9D49560}"/>
                  </a:ext>
                </a:extLst>
              </p:cNvPr>
              <p:cNvSpPr/>
              <p:nvPr/>
            </p:nvSpPr>
            <p:spPr>
              <a:xfrm>
                <a:off x="4169604" y="3902094"/>
                <a:ext cx="1514064" cy="207305"/>
              </a:xfrm>
              <a:custGeom>
                <a:avLst/>
                <a:gdLst>
                  <a:gd name="connsiteX0" fmla="*/ 1514064 w 1514064"/>
                  <a:gd name="connsiteY0" fmla="*/ 0 h 207305"/>
                  <a:gd name="connsiteX1" fmla="*/ 607777 w 1514064"/>
                  <a:gd name="connsiteY1" fmla="*/ 0 h 207305"/>
                  <a:gd name="connsiteX2" fmla="*/ 400471 w 1514064"/>
                  <a:gd name="connsiteY2" fmla="*/ 207306 h 207305"/>
                  <a:gd name="connsiteX3" fmla="*/ 0 w 1514064"/>
                  <a:gd name="connsiteY3" fmla="*/ 207306 h 207305"/>
                </a:gdLst>
                <a:ahLst/>
                <a:cxnLst>
                  <a:cxn ang="0">
                    <a:pos x="connsiteX0" y="connsiteY0"/>
                  </a:cxn>
                  <a:cxn ang="0">
                    <a:pos x="connsiteX1" y="connsiteY1"/>
                  </a:cxn>
                  <a:cxn ang="0">
                    <a:pos x="connsiteX2" y="connsiteY2"/>
                  </a:cxn>
                  <a:cxn ang="0">
                    <a:pos x="connsiteX3" y="connsiteY3"/>
                  </a:cxn>
                </a:cxnLst>
                <a:rect l="l" t="t" r="r" b="b"/>
                <a:pathLst>
                  <a:path w="1514064" h="207305">
                    <a:moveTo>
                      <a:pt x="1514064" y="0"/>
                    </a:moveTo>
                    <a:lnTo>
                      <a:pt x="607777" y="0"/>
                    </a:lnTo>
                    <a:lnTo>
                      <a:pt x="400471" y="207306"/>
                    </a:lnTo>
                    <a:lnTo>
                      <a:pt x="0" y="207306"/>
                    </a:lnTo>
                  </a:path>
                </a:pathLst>
              </a:custGeom>
              <a:noFill/>
              <a:ln w="14187" cap="flat">
                <a:solidFill>
                  <a:srgbClr val="00CCFF"/>
                </a:solidFill>
                <a:prstDash val="solid"/>
                <a:miter/>
              </a:ln>
            </p:spPr>
            <p:txBody>
              <a:bodyPr rtlCol="0" anchor="ctr"/>
              <a:lstStyle/>
              <a:p>
                <a:endParaRPr lang="en-US"/>
              </a:p>
            </p:txBody>
          </p:sp>
          <p:sp>
            <p:nvSpPr>
              <p:cNvPr id="452" name="Freeform: Shape 451">
                <a:extLst>
                  <a:ext uri="{FF2B5EF4-FFF2-40B4-BE49-F238E27FC236}">
                    <a16:creationId xmlns:a16="http://schemas.microsoft.com/office/drawing/2014/main" id="{9070BF4D-DDAB-28ED-C3C5-05DBEEEB79A7}"/>
                  </a:ext>
                </a:extLst>
              </p:cNvPr>
              <p:cNvSpPr/>
              <p:nvPr/>
            </p:nvSpPr>
            <p:spPr>
              <a:xfrm>
                <a:off x="4532100" y="4352387"/>
                <a:ext cx="108772" cy="108772"/>
              </a:xfrm>
              <a:custGeom>
                <a:avLst/>
                <a:gdLst>
                  <a:gd name="connsiteX0" fmla="*/ 54386 w 108772"/>
                  <a:gd name="connsiteY0" fmla="*/ 108772 h 108772"/>
                  <a:gd name="connsiteX1" fmla="*/ 108772 w 108772"/>
                  <a:gd name="connsiteY1" fmla="*/ 54386 h 108772"/>
                  <a:gd name="connsiteX2" fmla="*/ 54386 w 108772"/>
                  <a:gd name="connsiteY2" fmla="*/ 0 h 108772"/>
                  <a:gd name="connsiteX3" fmla="*/ 0 w 108772"/>
                  <a:gd name="connsiteY3" fmla="*/ 54386 h 108772"/>
                  <a:gd name="connsiteX4" fmla="*/ 54386 w 108772"/>
                  <a:gd name="connsiteY4" fmla="*/ 108772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54386" y="108772"/>
                    </a:moveTo>
                    <a:cubicBezTo>
                      <a:pt x="84417" y="108772"/>
                      <a:pt x="108772" y="84417"/>
                      <a:pt x="108772" y="54386"/>
                    </a:cubicBezTo>
                    <a:cubicBezTo>
                      <a:pt x="108772" y="24356"/>
                      <a:pt x="84417" y="0"/>
                      <a:pt x="54386" y="0"/>
                    </a:cubicBezTo>
                    <a:cubicBezTo>
                      <a:pt x="24356" y="0"/>
                      <a:pt x="0" y="24356"/>
                      <a:pt x="0" y="54386"/>
                    </a:cubicBezTo>
                    <a:cubicBezTo>
                      <a:pt x="0" y="84417"/>
                      <a:pt x="24356" y="108772"/>
                      <a:pt x="54386" y="108772"/>
                    </a:cubicBezTo>
                    <a:close/>
                  </a:path>
                </a:pathLst>
              </a:custGeom>
              <a:noFill/>
              <a:ln w="37831" cap="flat">
                <a:solidFill>
                  <a:srgbClr val="00CCFF"/>
                </a:solidFill>
                <a:prstDash val="solid"/>
                <a:miter/>
              </a:ln>
            </p:spPr>
            <p:txBody>
              <a:bodyPr rtlCol="0" anchor="ctr"/>
              <a:lstStyle/>
              <a:p>
                <a:endParaRPr lang="en-US"/>
              </a:p>
            </p:txBody>
          </p:sp>
          <p:sp>
            <p:nvSpPr>
              <p:cNvPr id="453" name="Freeform: Shape 452">
                <a:extLst>
                  <a:ext uri="{FF2B5EF4-FFF2-40B4-BE49-F238E27FC236}">
                    <a16:creationId xmlns:a16="http://schemas.microsoft.com/office/drawing/2014/main" id="{6EC44FE4-5C40-45F4-2E93-D3B9C2022861}"/>
                  </a:ext>
                </a:extLst>
              </p:cNvPr>
              <p:cNvSpPr/>
              <p:nvPr/>
            </p:nvSpPr>
            <p:spPr>
              <a:xfrm>
                <a:off x="4339218" y="2678026"/>
                <a:ext cx="1111819" cy="207306"/>
              </a:xfrm>
              <a:custGeom>
                <a:avLst/>
                <a:gdLst>
                  <a:gd name="connsiteX0" fmla="*/ 1111819 w 1111819"/>
                  <a:gd name="connsiteY0" fmla="*/ 207306 h 207306"/>
                  <a:gd name="connsiteX1" fmla="*/ 415605 w 1111819"/>
                  <a:gd name="connsiteY1" fmla="*/ 207306 h 207306"/>
                  <a:gd name="connsiteX2" fmla="*/ 208299 w 1111819"/>
                  <a:gd name="connsiteY2" fmla="*/ 0 h 207306"/>
                  <a:gd name="connsiteX3" fmla="*/ 0 w 1111819"/>
                  <a:gd name="connsiteY3" fmla="*/ 0 h 207306"/>
                </a:gdLst>
                <a:ahLst/>
                <a:cxnLst>
                  <a:cxn ang="0">
                    <a:pos x="connsiteX0" y="connsiteY0"/>
                  </a:cxn>
                  <a:cxn ang="0">
                    <a:pos x="connsiteX1" y="connsiteY1"/>
                  </a:cxn>
                  <a:cxn ang="0">
                    <a:pos x="connsiteX2" y="connsiteY2"/>
                  </a:cxn>
                  <a:cxn ang="0">
                    <a:pos x="connsiteX3" y="connsiteY3"/>
                  </a:cxn>
                </a:cxnLst>
                <a:rect l="l" t="t" r="r" b="b"/>
                <a:pathLst>
                  <a:path w="1111819" h="207306">
                    <a:moveTo>
                      <a:pt x="1111819" y="207306"/>
                    </a:moveTo>
                    <a:lnTo>
                      <a:pt x="415605" y="207306"/>
                    </a:lnTo>
                    <a:lnTo>
                      <a:pt x="208299" y="0"/>
                    </a:lnTo>
                    <a:lnTo>
                      <a:pt x="0" y="0"/>
                    </a:lnTo>
                  </a:path>
                </a:pathLst>
              </a:custGeom>
              <a:noFill/>
              <a:ln w="14187" cap="flat">
                <a:solidFill>
                  <a:srgbClr val="00CCFF"/>
                </a:solidFill>
                <a:prstDash val="solid"/>
                <a:miter/>
              </a:ln>
            </p:spPr>
            <p:txBody>
              <a:bodyPr rtlCol="0" anchor="ctr"/>
              <a:lstStyle/>
              <a:p>
                <a:endParaRPr lang="en-US"/>
              </a:p>
            </p:txBody>
          </p:sp>
          <p:sp>
            <p:nvSpPr>
              <p:cNvPr id="454" name="Freeform: Shape 453">
                <a:extLst>
                  <a:ext uri="{FF2B5EF4-FFF2-40B4-BE49-F238E27FC236}">
                    <a16:creationId xmlns:a16="http://schemas.microsoft.com/office/drawing/2014/main" id="{52BC800B-3CAB-BDE9-B00B-F01B41F28FD3}"/>
                  </a:ext>
                </a:extLst>
              </p:cNvPr>
              <p:cNvSpPr/>
              <p:nvPr/>
            </p:nvSpPr>
            <p:spPr>
              <a:xfrm>
                <a:off x="4031037" y="3185662"/>
                <a:ext cx="1652630" cy="207306"/>
              </a:xfrm>
              <a:custGeom>
                <a:avLst/>
                <a:gdLst>
                  <a:gd name="connsiteX0" fmla="*/ 1652631 w 1652630"/>
                  <a:gd name="connsiteY0" fmla="*/ 207306 h 207306"/>
                  <a:gd name="connsiteX1" fmla="*/ 648000 w 1652630"/>
                  <a:gd name="connsiteY1" fmla="*/ 207306 h 207306"/>
                  <a:gd name="connsiteX2" fmla="*/ 445163 w 1652630"/>
                  <a:gd name="connsiteY2" fmla="*/ 0 h 207306"/>
                  <a:gd name="connsiteX3" fmla="*/ 0 w 1652630"/>
                  <a:gd name="connsiteY3" fmla="*/ 0 h 207306"/>
                </a:gdLst>
                <a:ahLst/>
                <a:cxnLst>
                  <a:cxn ang="0">
                    <a:pos x="connsiteX0" y="connsiteY0"/>
                  </a:cxn>
                  <a:cxn ang="0">
                    <a:pos x="connsiteX1" y="connsiteY1"/>
                  </a:cxn>
                  <a:cxn ang="0">
                    <a:pos x="connsiteX2" y="connsiteY2"/>
                  </a:cxn>
                  <a:cxn ang="0">
                    <a:pos x="connsiteX3" y="connsiteY3"/>
                  </a:cxn>
                </a:cxnLst>
                <a:rect l="l" t="t" r="r" b="b"/>
                <a:pathLst>
                  <a:path w="1652630" h="207306">
                    <a:moveTo>
                      <a:pt x="1652631" y="207306"/>
                    </a:moveTo>
                    <a:lnTo>
                      <a:pt x="648000" y="207306"/>
                    </a:lnTo>
                    <a:lnTo>
                      <a:pt x="445163" y="0"/>
                    </a:lnTo>
                    <a:lnTo>
                      <a:pt x="0" y="0"/>
                    </a:lnTo>
                  </a:path>
                </a:pathLst>
              </a:custGeom>
              <a:noFill/>
              <a:ln w="14187" cap="flat">
                <a:solidFill>
                  <a:srgbClr val="00CCFF"/>
                </a:solidFill>
                <a:prstDash val="solid"/>
                <a:miter/>
              </a:ln>
            </p:spPr>
            <p:txBody>
              <a:bodyPr rtlCol="0" anchor="ctr"/>
              <a:lstStyle/>
              <a:p>
                <a:endParaRPr lang="en-US"/>
              </a:p>
            </p:txBody>
          </p:sp>
          <p:sp>
            <p:nvSpPr>
              <p:cNvPr id="455" name="Freeform: Shape 454">
                <a:extLst>
                  <a:ext uri="{FF2B5EF4-FFF2-40B4-BE49-F238E27FC236}">
                    <a16:creationId xmlns:a16="http://schemas.microsoft.com/office/drawing/2014/main" id="{928B4D52-7423-7C7A-F5D3-F942B4D34F06}"/>
                  </a:ext>
                </a:extLst>
              </p:cNvPr>
              <p:cNvSpPr/>
              <p:nvPr/>
            </p:nvSpPr>
            <p:spPr>
              <a:xfrm>
                <a:off x="4241205" y="2623616"/>
                <a:ext cx="108772" cy="108772"/>
              </a:xfrm>
              <a:custGeom>
                <a:avLst/>
                <a:gdLst>
                  <a:gd name="connsiteX0" fmla="*/ 54386 w 108772"/>
                  <a:gd name="connsiteY0" fmla="*/ 108772 h 108772"/>
                  <a:gd name="connsiteX1" fmla="*/ 108772 w 108772"/>
                  <a:gd name="connsiteY1" fmla="*/ 54386 h 108772"/>
                  <a:gd name="connsiteX2" fmla="*/ 54386 w 108772"/>
                  <a:gd name="connsiteY2" fmla="*/ 0 h 108772"/>
                  <a:gd name="connsiteX3" fmla="*/ 0 w 108772"/>
                  <a:gd name="connsiteY3" fmla="*/ 54386 h 108772"/>
                  <a:gd name="connsiteX4" fmla="*/ 54386 w 108772"/>
                  <a:gd name="connsiteY4" fmla="*/ 108772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54386" y="108772"/>
                    </a:moveTo>
                    <a:cubicBezTo>
                      <a:pt x="84417" y="108772"/>
                      <a:pt x="108772" y="84417"/>
                      <a:pt x="108772" y="54386"/>
                    </a:cubicBezTo>
                    <a:cubicBezTo>
                      <a:pt x="108772" y="24356"/>
                      <a:pt x="84417" y="0"/>
                      <a:pt x="54386" y="0"/>
                    </a:cubicBezTo>
                    <a:cubicBezTo>
                      <a:pt x="24356" y="0"/>
                      <a:pt x="0" y="24356"/>
                      <a:pt x="0" y="54386"/>
                    </a:cubicBezTo>
                    <a:cubicBezTo>
                      <a:pt x="0" y="84417"/>
                      <a:pt x="24356" y="108772"/>
                      <a:pt x="54386" y="108772"/>
                    </a:cubicBezTo>
                    <a:close/>
                  </a:path>
                </a:pathLst>
              </a:custGeom>
              <a:noFill/>
              <a:ln w="37831" cap="flat">
                <a:solidFill>
                  <a:srgbClr val="00CCFF"/>
                </a:solidFill>
                <a:prstDash val="solid"/>
                <a:miter/>
              </a:ln>
            </p:spPr>
            <p:txBody>
              <a:bodyPr rtlCol="0" anchor="ctr"/>
              <a:lstStyle/>
              <a:p>
                <a:endParaRPr lang="en-US"/>
              </a:p>
            </p:txBody>
          </p:sp>
          <p:sp>
            <p:nvSpPr>
              <p:cNvPr id="456" name="Freeform: Shape 455">
                <a:extLst>
                  <a:ext uri="{FF2B5EF4-FFF2-40B4-BE49-F238E27FC236}">
                    <a16:creationId xmlns:a16="http://schemas.microsoft.com/office/drawing/2014/main" id="{32446DE5-6E70-125B-A369-9D920C373DC1}"/>
                  </a:ext>
                </a:extLst>
              </p:cNvPr>
              <p:cNvSpPr/>
              <p:nvPr/>
            </p:nvSpPr>
            <p:spPr>
              <a:xfrm>
                <a:off x="4169604" y="3563386"/>
                <a:ext cx="1514064" cy="207305"/>
              </a:xfrm>
              <a:custGeom>
                <a:avLst/>
                <a:gdLst>
                  <a:gd name="connsiteX0" fmla="*/ 1514064 w 1514064"/>
                  <a:gd name="connsiteY0" fmla="*/ 0 h 207305"/>
                  <a:gd name="connsiteX1" fmla="*/ 513902 w 1514064"/>
                  <a:gd name="connsiteY1" fmla="*/ 0 h 207305"/>
                  <a:gd name="connsiteX2" fmla="*/ 311065 w 1514064"/>
                  <a:gd name="connsiteY2" fmla="*/ 207306 h 207305"/>
                  <a:gd name="connsiteX3" fmla="*/ 0 w 1514064"/>
                  <a:gd name="connsiteY3" fmla="*/ 207306 h 207305"/>
                </a:gdLst>
                <a:ahLst/>
                <a:cxnLst>
                  <a:cxn ang="0">
                    <a:pos x="connsiteX0" y="connsiteY0"/>
                  </a:cxn>
                  <a:cxn ang="0">
                    <a:pos x="connsiteX1" y="connsiteY1"/>
                  </a:cxn>
                  <a:cxn ang="0">
                    <a:pos x="connsiteX2" y="connsiteY2"/>
                  </a:cxn>
                  <a:cxn ang="0">
                    <a:pos x="connsiteX3" y="connsiteY3"/>
                  </a:cxn>
                </a:cxnLst>
                <a:rect l="l" t="t" r="r" b="b"/>
                <a:pathLst>
                  <a:path w="1514064" h="207305">
                    <a:moveTo>
                      <a:pt x="1514064" y="0"/>
                    </a:moveTo>
                    <a:lnTo>
                      <a:pt x="513902" y="0"/>
                    </a:lnTo>
                    <a:lnTo>
                      <a:pt x="311065" y="207306"/>
                    </a:lnTo>
                    <a:lnTo>
                      <a:pt x="0" y="207306"/>
                    </a:lnTo>
                  </a:path>
                </a:pathLst>
              </a:custGeom>
              <a:noFill/>
              <a:ln w="14187" cap="flat">
                <a:solidFill>
                  <a:srgbClr val="00CCFF"/>
                </a:solidFill>
                <a:prstDash val="solid"/>
                <a:miter/>
              </a:ln>
            </p:spPr>
            <p:txBody>
              <a:bodyPr rtlCol="0" anchor="ctr"/>
              <a:lstStyle/>
              <a:p>
                <a:endParaRPr lang="en-US"/>
              </a:p>
            </p:txBody>
          </p:sp>
          <p:sp>
            <p:nvSpPr>
              <p:cNvPr id="457" name="Freeform: Shape 456">
                <a:extLst>
                  <a:ext uri="{FF2B5EF4-FFF2-40B4-BE49-F238E27FC236}">
                    <a16:creationId xmlns:a16="http://schemas.microsoft.com/office/drawing/2014/main" id="{76D5B107-F1C2-969F-27BD-B916812404B5}"/>
                  </a:ext>
                </a:extLst>
              </p:cNvPr>
              <p:cNvSpPr/>
              <p:nvPr/>
            </p:nvSpPr>
            <p:spPr>
              <a:xfrm>
                <a:off x="4103395" y="3716802"/>
                <a:ext cx="108772" cy="108772"/>
              </a:xfrm>
              <a:custGeom>
                <a:avLst/>
                <a:gdLst>
                  <a:gd name="connsiteX0" fmla="*/ 54386 w 108772"/>
                  <a:gd name="connsiteY0" fmla="*/ 108773 h 108772"/>
                  <a:gd name="connsiteX1" fmla="*/ 108772 w 108772"/>
                  <a:gd name="connsiteY1" fmla="*/ 54386 h 108772"/>
                  <a:gd name="connsiteX2" fmla="*/ 54386 w 108772"/>
                  <a:gd name="connsiteY2" fmla="*/ 0 h 108772"/>
                  <a:gd name="connsiteX3" fmla="*/ 0 w 108772"/>
                  <a:gd name="connsiteY3" fmla="*/ 54386 h 108772"/>
                  <a:gd name="connsiteX4" fmla="*/ 54386 w 108772"/>
                  <a:gd name="connsiteY4" fmla="*/ 108773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54386" y="108773"/>
                    </a:moveTo>
                    <a:cubicBezTo>
                      <a:pt x="84417" y="108773"/>
                      <a:pt x="108772" y="84417"/>
                      <a:pt x="108772" y="54386"/>
                    </a:cubicBezTo>
                    <a:cubicBezTo>
                      <a:pt x="108772" y="24356"/>
                      <a:pt x="84417" y="0"/>
                      <a:pt x="54386" y="0"/>
                    </a:cubicBezTo>
                    <a:cubicBezTo>
                      <a:pt x="24356" y="0"/>
                      <a:pt x="0" y="24356"/>
                      <a:pt x="0" y="54386"/>
                    </a:cubicBezTo>
                    <a:cubicBezTo>
                      <a:pt x="0" y="84417"/>
                      <a:pt x="24356" y="108773"/>
                      <a:pt x="54386" y="108773"/>
                    </a:cubicBezTo>
                    <a:close/>
                  </a:path>
                </a:pathLst>
              </a:custGeom>
              <a:solidFill>
                <a:srgbClr val="00CCFF"/>
              </a:solidFill>
              <a:ln w="0" cap="flat">
                <a:noFill/>
                <a:prstDash val="solid"/>
                <a:miter/>
              </a:ln>
            </p:spPr>
            <p:txBody>
              <a:bodyPr rtlCol="0" anchor="ctr"/>
              <a:lstStyle/>
              <a:p>
                <a:endParaRPr lang="en-US"/>
              </a:p>
            </p:txBody>
          </p:sp>
          <p:sp>
            <p:nvSpPr>
              <p:cNvPr id="458" name="Freeform: Shape 457">
                <a:extLst>
                  <a:ext uri="{FF2B5EF4-FFF2-40B4-BE49-F238E27FC236}">
                    <a16:creationId xmlns:a16="http://schemas.microsoft.com/office/drawing/2014/main" id="{E1FDDAB7-DF04-2864-919C-4BA09D4537E6}"/>
                  </a:ext>
                </a:extLst>
              </p:cNvPr>
              <p:cNvSpPr/>
              <p:nvPr/>
            </p:nvSpPr>
            <p:spPr>
              <a:xfrm>
                <a:off x="4320892" y="3730399"/>
                <a:ext cx="81579" cy="81579"/>
              </a:xfrm>
              <a:custGeom>
                <a:avLst/>
                <a:gdLst>
                  <a:gd name="connsiteX0" fmla="*/ 40790 w 81579"/>
                  <a:gd name="connsiteY0" fmla="*/ 81579 h 81579"/>
                  <a:gd name="connsiteX1" fmla="*/ 81579 w 81579"/>
                  <a:gd name="connsiteY1" fmla="*/ 40790 h 81579"/>
                  <a:gd name="connsiteX2" fmla="*/ 40790 w 81579"/>
                  <a:gd name="connsiteY2" fmla="*/ 0 h 81579"/>
                  <a:gd name="connsiteX3" fmla="*/ 0 w 81579"/>
                  <a:gd name="connsiteY3" fmla="*/ 40790 h 81579"/>
                  <a:gd name="connsiteX4" fmla="*/ 40790 w 81579"/>
                  <a:gd name="connsiteY4" fmla="*/ 81579 h 81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79" h="81579">
                    <a:moveTo>
                      <a:pt x="40790" y="81579"/>
                    </a:moveTo>
                    <a:cubicBezTo>
                      <a:pt x="63301" y="81579"/>
                      <a:pt x="81579" y="63324"/>
                      <a:pt x="81579" y="40790"/>
                    </a:cubicBezTo>
                    <a:cubicBezTo>
                      <a:pt x="81579" y="18255"/>
                      <a:pt x="63324" y="0"/>
                      <a:pt x="40790" y="0"/>
                    </a:cubicBezTo>
                    <a:cubicBezTo>
                      <a:pt x="18255" y="0"/>
                      <a:pt x="0" y="18255"/>
                      <a:pt x="0" y="40790"/>
                    </a:cubicBezTo>
                    <a:cubicBezTo>
                      <a:pt x="0" y="63324"/>
                      <a:pt x="18255" y="81579"/>
                      <a:pt x="40790" y="81579"/>
                    </a:cubicBezTo>
                    <a:close/>
                  </a:path>
                </a:pathLst>
              </a:custGeom>
              <a:solidFill>
                <a:srgbClr val="00CCFF"/>
              </a:solidFill>
              <a:ln w="0" cap="flat">
                <a:noFill/>
                <a:prstDash val="solid"/>
                <a:miter/>
              </a:ln>
            </p:spPr>
            <p:txBody>
              <a:bodyPr rtlCol="0" anchor="ctr"/>
              <a:lstStyle/>
              <a:p>
                <a:endParaRPr lang="en-US"/>
              </a:p>
            </p:txBody>
          </p:sp>
          <p:sp>
            <p:nvSpPr>
              <p:cNvPr id="459" name="Freeform: Shape 458">
                <a:extLst>
                  <a:ext uri="{FF2B5EF4-FFF2-40B4-BE49-F238E27FC236}">
                    <a16:creationId xmlns:a16="http://schemas.microsoft.com/office/drawing/2014/main" id="{F5B789EA-8432-89C9-94E1-8B619EEE8096}"/>
                  </a:ext>
                </a:extLst>
              </p:cNvPr>
              <p:cNvSpPr/>
              <p:nvPr/>
            </p:nvSpPr>
            <p:spPr>
              <a:xfrm>
                <a:off x="4001456" y="3136904"/>
                <a:ext cx="95152" cy="95152"/>
              </a:xfrm>
              <a:custGeom>
                <a:avLst/>
                <a:gdLst>
                  <a:gd name="connsiteX0" fmla="*/ 47576 w 95152"/>
                  <a:gd name="connsiteY0" fmla="*/ 95152 h 95152"/>
                  <a:gd name="connsiteX1" fmla="*/ 95152 w 95152"/>
                  <a:gd name="connsiteY1" fmla="*/ 47576 h 95152"/>
                  <a:gd name="connsiteX2" fmla="*/ 47576 w 95152"/>
                  <a:gd name="connsiteY2" fmla="*/ 0 h 95152"/>
                  <a:gd name="connsiteX3" fmla="*/ 0 w 95152"/>
                  <a:gd name="connsiteY3" fmla="*/ 47576 h 95152"/>
                  <a:gd name="connsiteX4" fmla="*/ 47576 w 95152"/>
                  <a:gd name="connsiteY4" fmla="*/ 95152 h 9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52" h="95152">
                    <a:moveTo>
                      <a:pt x="47576" y="95152"/>
                    </a:moveTo>
                    <a:cubicBezTo>
                      <a:pt x="73847" y="95152"/>
                      <a:pt x="95152" y="73847"/>
                      <a:pt x="95152" y="47576"/>
                    </a:cubicBezTo>
                    <a:cubicBezTo>
                      <a:pt x="95152" y="21305"/>
                      <a:pt x="73847" y="0"/>
                      <a:pt x="47576" y="0"/>
                    </a:cubicBezTo>
                    <a:cubicBezTo>
                      <a:pt x="21305" y="0"/>
                      <a:pt x="0" y="21305"/>
                      <a:pt x="0" y="47576"/>
                    </a:cubicBezTo>
                    <a:cubicBezTo>
                      <a:pt x="0" y="73847"/>
                      <a:pt x="21305" y="95152"/>
                      <a:pt x="47576" y="95152"/>
                    </a:cubicBezTo>
                    <a:close/>
                  </a:path>
                </a:pathLst>
              </a:custGeom>
              <a:solidFill>
                <a:srgbClr val="00CCFF"/>
              </a:solidFill>
              <a:ln w="0" cap="flat">
                <a:noFill/>
                <a:prstDash val="solid"/>
                <a:miter/>
              </a:ln>
            </p:spPr>
            <p:txBody>
              <a:bodyPr rtlCol="0" anchor="ctr"/>
              <a:lstStyle/>
              <a:p>
                <a:endParaRPr lang="en-US"/>
              </a:p>
            </p:txBody>
          </p:sp>
          <p:sp>
            <p:nvSpPr>
              <p:cNvPr id="460" name="Freeform: Shape 459">
                <a:extLst>
                  <a:ext uri="{FF2B5EF4-FFF2-40B4-BE49-F238E27FC236}">
                    <a16:creationId xmlns:a16="http://schemas.microsoft.com/office/drawing/2014/main" id="{8D7FA360-A642-93E7-0E0E-FCBE3434B367}"/>
                  </a:ext>
                </a:extLst>
              </p:cNvPr>
              <p:cNvSpPr/>
              <p:nvPr/>
            </p:nvSpPr>
            <p:spPr>
              <a:xfrm>
                <a:off x="4640163" y="4069012"/>
                <a:ext cx="1268238" cy="341403"/>
              </a:xfrm>
              <a:custGeom>
                <a:avLst/>
                <a:gdLst>
                  <a:gd name="connsiteX0" fmla="*/ 1268238 w 1268238"/>
                  <a:gd name="connsiteY0" fmla="*/ 0 h 341403"/>
                  <a:gd name="connsiteX1" fmla="*/ 648023 w 1268238"/>
                  <a:gd name="connsiteY1" fmla="*/ 0 h 341403"/>
                  <a:gd name="connsiteX2" fmla="*/ 311089 w 1268238"/>
                  <a:gd name="connsiteY2" fmla="*/ 341403 h 341403"/>
                  <a:gd name="connsiteX3" fmla="*/ 0 w 1268238"/>
                  <a:gd name="connsiteY3" fmla="*/ 341403 h 341403"/>
                </a:gdLst>
                <a:ahLst/>
                <a:cxnLst>
                  <a:cxn ang="0">
                    <a:pos x="connsiteX0" y="connsiteY0"/>
                  </a:cxn>
                  <a:cxn ang="0">
                    <a:pos x="connsiteX1" y="connsiteY1"/>
                  </a:cxn>
                  <a:cxn ang="0">
                    <a:pos x="connsiteX2" y="connsiteY2"/>
                  </a:cxn>
                  <a:cxn ang="0">
                    <a:pos x="connsiteX3" y="connsiteY3"/>
                  </a:cxn>
                </a:cxnLst>
                <a:rect l="l" t="t" r="r" b="b"/>
                <a:pathLst>
                  <a:path w="1268238" h="341403">
                    <a:moveTo>
                      <a:pt x="1268238" y="0"/>
                    </a:moveTo>
                    <a:lnTo>
                      <a:pt x="648023" y="0"/>
                    </a:lnTo>
                    <a:lnTo>
                      <a:pt x="311089" y="341403"/>
                    </a:lnTo>
                    <a:lnTo>
                      <a:pt x="0" y="341403"/>
                    </a:lnTo>
                  </a:path>
                </a:pathLst>
              </a:custGeom>
              <a:noFill/>
              <a:ln w="14187" cap="flat">
                <a:solidFill>
                  <a:srgbClr val="00CCFF"/>
                </a:solidFill>
                <a:prstDash val="solid"/>
                <a:miter/>
              </a:ln>
            </p:spPr>
            <p:txBody>
              <a:bodyPr rtlCol="0" anchor="ctr"/>
              <a:lstStyle/>
              <a:p>
                <a:endParaRPr lang="en-US"/>
              </a:p>
            </p:txBody>
          </p:sp>
          <p:sp>
            <p:nvSpPr>
              <p:cNvPr id="461" name="Freeform: Shape 460">
                <a:extLst>
                  <a:ext uri="{FF2B5EF4-FFF2-40B4-BE49-F238E27FC236}">
                    <a16:creationId xmlns:a16="http://schemas.microsoft.com/office/drawing/2014/main" id="{2D367E5D-73E0-A1F3-758D-026C0BBEF395}"/>
                  </a:ext>
                </a:extLst>
              </p:cNvPr>
              <p:cNvSpPr/>
              <p:nvPr/>
            </p:nvSpPr>
            <p:spPr>
              <a:xfrm>
                <a:off x="4986130" y="3865631"/>
                <a:ext cx="69472" cy="69472"/>
              </a:xfrm>
              <a:custGeom>
                <a:avLst/>
                <a:gdLst>
                  <a:gd name="connsiteX0" fmla="*/ 34736 w 69472"/>
                  <a:gd name="connsiteY0" fmla="*/ 69472 h 69472"/>
                  <a:gd name="connsiteX1" fmla="*/ 69472 w 69472"/>
                  <a:gd name="connsiteY1" fmla="*/ 34736 h 69472"/>
                  <a:gd name="connsiteX2" fmla="*/ 34736 w 69472"/>
                  <a:gd name="connsiteY2" fmla="*/ 0 h 69472"/>
                  <a:gd name="connsiteX3" fmla="*/ 0 w 69472"/>
                  <a:gd name="connsiteY3" fmla="*/ 34736 h 69472"/>
                  <a:gd name="connsiteX4" fmla="*/ 34736 w 69472"/>
                  <a:gd name="connsiteY4" fmla="*/ 69472 h 69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2" h="69472">
                    <a:moveTo>
                      <a:pt x="34736" y="69472"/>
                    </a:moveTo>
                    <a:cubicBezTo>
                      <a:pt x="53913" y="69472"/>
                      <a:pt x="69472" y="53913"/>
                      <a:pt x="69472" y="34736"/>
                    </a:cubicBezTo>
                    <a:cubicBezTo>
                      <a:pt x="69472" y="15559"/>
                      <a:pt x="53913" y="0"/>
                      <a:pt x="34736" y="0"/>
                    </a:cubicBezTo>
                    <a:cubicBezTo>
                      <a:pt x="15559" y="0"/>
                      <a:pt x="0" y="15559"/>
                      <a:pt x="0" y="34736"/>
                    </a:cubicBezTo>
                    <a:cubicBezTo>
                      <a:pt x="0" y="53913"/>
                      <a:pt x="15559" y="69472"/>
                      <a:pt x="34736" y="69472"/>
                    </a:cubicBezTo>
                    <a:close/>
                  </a:path>
                </a:pathLst>
              </a:custGeom>
              <a:solidFill>
                <a:srgbClr val="00CCFF"/>
              </a:solidFill>
              <a:ln w="0" cap="flat">
                <a:noFill/>
                <a:prstDash val="solid"/>
                <a:miter/>
              </a:ln>
            </p:spPr>
            <p:txBody>
              <a:bodyPr rtlCol="0" anchor="ctr"/>
              <a:lstStyle/>
              <a:p>
                <a:endParaRPr lang="en-US"/>
              </a:p>
            </p:txBody>
          </p:sp>
          <p:sp>
            <p:nvSpPr>
              <p:cNvPr id="462" name="Freeform: Shape 461">
                <a:extLst>
                  <a:ext uri="{FF2B5EF4-FFF2-40B4-BE49-F238E27FC236}">
                    <a16:creationId xmlns:a16="http://schemas.microsoft.com/office/drawing/2014/main" id="{0922D40D-25C4-BACD-C4F9-D53095AC3D95}"/>
                  </a:ext>
                </a:extLst>
              </p:cNvPr>
              <p:cNvSpPr/>
              <p:nvPr/>
            </p:nvSpPr>
            <p:spPr>
              <a:xfrm>
                <a:off x="4807530" y="4370288"/>
                <a:ext cx="75005" cy="75005"/>
              </a:xfrm>
              <a:custGeom>
                <a:avLst/>
                <a:gdLst>
                  <a:gd name="connsiteX0" fmla="*/ 37503 w 75005"/>
                  <a:gd name="connsiteY0" fmla="*/ 75006 h 75005"/>
                  <a:gd name="connsiteX1" fmla="*/ 75006 w 75005"/>
                  <a:gd name="connsiteY1" fmla="*/ 37503 h 75005"/>
                  <a:gd name="connsiteX2" fmla="*/ 37503 w 75005"/>
                  <a:gd name="connsiteY2" fmla="*/ 0 h 75005"/>
                  <a:gd name="connsiteX3" fmla="*/ 0 w 75005"/>
                  <a:gd name="connsiteY3" fmla="*/ 37503 h 75005"/>
                  <a:gd name="connsiteX4" fmla="*/ 37503 w 75005"/>
                  <a:gd name="connsiteY4" fmla="*/ 75006 h 7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05" h="75005">
                    <a:moveTo>
                      <a:pt x="37503" y="75006"/>
                    </a:moveTo>
                    <a:cubicBezTo>
                      <a:pt x="58217" y="75006"/>
                      <a:pt x="75006" y="58217"/>
                      <a:pt x="75006" y="37503"/>
                    </a:cubicBezTo>
                    <a:cubicBezTo>
                      <a:pt x="75006" y="16789"/>
                      <a:pt x="58217" y="0"/>
                      <a:pt x="37503" y="0"/>
                    </a:cubicBezTo>
                    <a:cubicBezTo>
                      <a:pt x="16789" y="0"/>
                      <a:pt x="0" y="16789"/>
                      <a:pt x="0" y="37503"/>
                    </a:cubicBezTo>
                    <a:cubicBezTo>
                      <a:pt x="0" y="58217"/>
                      <a:pt x="16789" y="75006"/>
                      <a:pt x="37503" y="75006"/>
                    </a:cubicBezTo>
                    <a:close/>
                  </a:path>
                </a:pathLst>
              </a:custGeom>
              <a:solidFill>
                <a:srgbClr val="00CCFF"/>
              </a:solidFill>
              <a:ln w="0" cap="flat">
                <a:noFill/>
                <a:prstDash val="solid"/>
                <a:miter/>
              </a:ln>
            </p:spPr>
            <p:txBody>
              <a:bodyPr rtlCol="0" anchor="ctr"/>
              <a:lstStyle/>
              <a:p>
                <a:endParaRPr lang="en-US"/>
              </a:p>
            </p:txBody>
          </p:sp>
          <p:sp>
            <p:nvSpPr>
              <p:cNvPr id="463" name="Freeform: Shape 462">
                <a:extLst>
                  <a:ext uri="{FF2B5EF4-FFF2-40B4-BE49-F238E27FC236}">
                    <a16:creationId xmlns:a16="http://schemas.microsoft.com/office/drawing/2014/main" id="{74E069C4-ED5B-3284-97C6-F00D1E8D4867}"/>
                  </a:ext>
                </a:extLst>
              </p:cNvPr>
              <p:cNvSpPr/>
              <p:nvPr/>
            </p:nvSpPr>
            <p:spPr>
              <a:xfrm>
                <a:off x="4073790" y="4054871"/>
                <a:ext cx="108772" cy="108772"/>
              </a:xfrm>
              <a:custGeom>
                <a:avLst/>
                <a:gdLst>
                  <a:gd name="connsiteX0" fmla="*/ 54386 w 108772"/>
                  <a:gd name="connsiteY0" fmla="*/ 108772 h 108772"/>
                  <a:gd name="connsiteX1" fmla="*/ 108772 w 108772"/>
                  <a:gd name="connsiteY1" fmla="*/ 54386 h 108772"/>
                  <a:gd name="connsiteX2" fmla="*/ 54386 w 108772"/>
                  <a:gd name="connsiteY2" fmla="*/ 0 h 108772"/>
                  <a:gd name="connsiteX3" fmla="*/ 0 w 108772"/>
                  <a:gd name="connsiteY3" fmla="*/ 54386 h 108772"/>
                  <a:gd name="connsiteX4" fmla="*/ 54386 w 108772"/>
                  <a:gd name="connsiteY4" fmla="*/ 108772 h 108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2" h="108772">
                    <a:moveTo>
                      <a:pt x="54386" y="108772"/>
                    </a:moveTo>
                    <a:cubicBezTo>
                      <a:pt x="84417" y="108772"/>
                      <a:pt x="108772" y="84417"/>
                      <a:pt x="108772" y="54386"/>
                    </a:cubicBezTo>
                    <a:cubicBezTo>
                      <a:pt x="108772" y="24356"/>
                      <a:pt x="84417" y="0"/>
                      <a:pt x="54386" y="0"/>
                    </a:cubicBezTo>
                    <a:cubicBezTo>
                      <a:pt x="24356" y="0"/>
                      <a:pt x="0" y="24356"/>
                      <a:pt x="0" y="54386"/>
                    </a:cubicBezTo>
                    <a:cubicBezTo>
                      <a:pt x="0" y="84417"/>
                      <a:pt x="24356" y="108772"/>
                      <a:pt x="54386" y="108772"/>
                    </a:cubicBezTo>
                    <a:close/>
                  </a:path>
                </a:pathLst>
              </a:custGeom>
              <a:noFill/>
              <a:ln w="37831" cap="flat">
                <a:solidFill>
                  <a:srgbClr val="00CCFF"/>
                </a:solidFill>
                <a:prstDash val="solid"/>
                <a:miter/>
              </a:ln>
            </p:spPr>
            <p:txBody>
              <a:bodyPr rtlCol="0" anchor="ctr"/>
              <a:lstStyle/>
              <a:p>
                <a:endParaRPr lang="en-US"/>
              </a:p>
            </p:txBody>
          </p:sp>
          <p:sp>
            <p:nvSpPr>
              <p:cNvPr id="464" name="Freeform: Shape 463">
                <a:extLst>
                  <a:ext uri="{FF2B5EF4-FFF2-40B4-BE49-F238E27FC236}">
                    <a16:creationId xmlns:a16="http://schemas.microsoft.com/office/drawing/2014/main" id="{ECC4B8AB-4BEE-6083-2440-0693E784B089}"/>
                  </a:ext>
                </a:extLst>
              </p:cNvPr>
              <p:cNvSpPr/>
              <p:nvPr/>
            </p:nvSpPr>
            <p:spPr>
              <a:xfrm>
                <a:off x="4887265" y="2851802"/>
                <a:ext cx="69472" cy="69472"/>
              </a:xfrm>
              <a:custGeom>
                <a:avLst/>
                <a:gdLst>
                  <a:gd name="connsiteX0" fmla="*/ 34736 w 69472"/>
                  <a:gd name="connsiteY0" fmla="*/ 69472 h 69472"/>
                  <a:gd name="connsiteX1" fmla="*/ 69472 w 69472"/>
                  <a:gd name="connsiteY1" fmla="*/ 34736 h 69472"/>
                  <a:gd name="connsiteX2" fmla="*/ 34736 w 69472"/>
                  <a:gd name="connsiteY2" fmla="*/ 0 h 69472"/>
                  <a:gd name="connsiteX3" fmla="*/ 0 w 69472"/>
                  <a:gd name="connsiteY3" fmla="*/ 34736 h 69472"/>
                  <a:gd name="connsiteX4" fmla="*/ 34736 w 69472"/>
                  <a:gd name="connsiteY4" fmla="*/ 69472 h 69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2" h="69472">
                    <a:moveTo>
                      <a:pt x="34736" y="69472"/>
                    </a:moveTo>
                    <a:cubicBezTo>
                      <a:pt x="53913" y="69472"/>
                      <a:pt x="69472" y="53913"/>
                      <a:pt x="69472" y="34736"/>
                    </a:cubicBezTo>
                    <a:cubicBezTo>
                      <a:pt x="69472" y="15559"/>
                      <a:pt x="53913" y="0"/>
                      <a:pt x="34736" y="0"/>
                    </a:cubicBezTo>
                    <a:cubicBezTo>
                      <a:pt x="15559" y="0"/>
                      <a:pt x="0" y="15559"/>
                      <a:pt x="0" y="34736"/>
                    </a:cubicBezTo>
                    <a:cubicBezTo>
                      <a:pt x="0" y="53913"/>
                      <a:pt x="15559" y="69472"/>
                      <a:pt x="34736" y="69472"/>
                    </a:cubicBezTo>
                    <a:close/>
                  </a:path>
                </a:pathLst>
              </a:custGeom>
              <a:solidFill>
                <a:srgbClr val="00CCFF"/>
              </a:solidFill>
              <a:ln w="0" cap="flat">
                <a:noFill/>
                <a:prstDash val="solid"/>
                <a:miter/>
              </a:ln>
            </p:spPr>
            <p:txBody>
              <a:bodyPr rtlCol="0" anchor="ctr"/>
              <a:lstStyle/>
              <a:p>
                <a:endParaRPr lang="en-US"/>
              </a:p>
            </p:txBody>
          </p:sp>
          <p:sp>
            <p:nvSpPr>
              <p:cNvPr id="465" name="Freeform: Shape 464">
                <a:extLst>
                  <a:ext uri="{FF2B5EF4-FFF2-40B4-BE49-F238E27FC236}">
                    <a16:creationId xmlns:a16="http://schemas.microsoft.com/office/drawing/2014/main" id="{4F4E0707-0370-5BBB-84D2-21C1FFD54843}"/>
                  </a:ext>
                </a:extLst>
              </p:cNvPr>
              <p:cNvSpPr/>
              <p:nvPr/>
            </p:nvSpPr>
            <p:spPr>
              <a:xfrm>
                <a:off x="6426536" y="2307042"/>
                <a:ext cx="69472" cy="69472"/>
              </a:xfrm>
              <a:custGeom>
                <a:avLst/>
                <a:gdLst>
                  <a:gd name="connsiteX0" fmla="*/ 34736 w 69472"/>
                  <a:gd name="connsiteY0" fmla="*/ 69472 h 69472"/>
                  <a:gd name="connsiteX1" fmla="*/ 69472 w 69472"/>
                  <a:gd name="connsiteY1" fmla="*/ 34736 h 69472"/>
                  <a:gd name="connsiteX2" fmla="*/ 34736 w 69472"/>
                  <a:gd name="connsiteY2" fmla="*/ 0 h 69472"/>
                  <a:gd name="connsiteX3" fmla="*/ 0 w 69472"/>
                  <a:gd name="connsiteY3" fmla="*/ 34736 h 69472"/>
                  <a:gd name="connsiteX4" fmla="*/ 34736 w 69472"/>
                  <a:gd name="connsiteY4" fmla="*/ 69472 h 69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2" h="69472">
                    <a:moveTo>
                      <a:pt x="34736" y="69472"/>
                    </a:moveTo>
                    <a:cubicBezTo>
                      <a:pt x="53913" y="69472"/>
                      <a:pt x="69472" y="53913"/>
                      <a:pt x="69472" y="34736"/>
                    </a:cubicBezTo>
                    <a:cubicBezTo>
                      <a:pt x="69472" y="15559"/>
                      <a:pt x="53913" y="0"/>
                      <a:pt x="34736" y="0"/>
                    </a:cubicBezTo>
                    <a:cubicBezTo>
                      <a:pt x="15559" y="0"/>
                      <a:pt x="0" y="15559"/>
                      <a:pt x="0" y="34736"/>
                    </a:cubicBezTo>
                    <a:cubicBezTo>
                      <a:pt x="0" y="53913"/>
                      <a:pt x="15559" y="69472"/>
                      <a:pt x="34736" y="69472"/>
                    </a:cubicBezTo>
                    <a:close/>
                  </a:path>
                </a:pathLst>
              </a:custGeom>
              <a:solidFill>
                <a:srgbClr val="00CCFF"/>
              </a:solidFill>
              <a:ln w="0" cap="flat">
                <a:noFill/>
                <a:prstDash val="solid"/>
                <a:miter/>
              </a:ln>
            </p:spPr>
            <p:txBody>
              <a:bodyPr rtlCol="0" anchor="ctr"/>
              <a:lstStyle/>
              <a:p>
                <a:endParaRPr lang="en-US"/>
              </a:p>
            </p:txBody>
          </p:sp>
        </p:grpSp>
        <p:grpSp>
          <p:nvGrpSpPr>
            <p:cNvPr id="58" name="Graphic 3">
              <a:extLst>
                <a:ext uri="{FF2B5EF4-FFF2-40B4-BE49-F238E27FC236}">
                  <a16:creationId xmlns:a16="http://schemas.microsoft.com/office/drawing/2014/main" id="{90ED4FC6-76D5-08EB-65D4-F7679DC905CA}"/>
                </a:ext>
              </a:extLst>
            </p:cNvPr>
            <p:cNvGrpSpPr/>
            <p:nvPr/>
          </p:nvGrpSpPr>
          <p:grpSpPr>
            <a:xfrm>
              <a:off x="7788970" y="1708059"/>
              <a:ext cx="2214693" cy="3073202"/>
              <a:chOff x="4253808" y="1576257"/>
              <a:chExt cx="2497318" cy="3465385"/>
            </a:xfrm>
            <a:solidFill>
              <a:srgbClr val="00ABAB"/>
            </a:solidFill>
          </p:grpSpPr>
          <p:grpSp>
            <p:nvGrpSpPr>
              <p:cNvPr id="401" name="Graphic 3">
                <a:extLst>
                  <a:ext uri="{FF2B5EF4-FFF2-40B4-BE49-F238E27FC236}">
                    <a16:creationId xmlns:a16="http://schemas.microsoft.com/office/drawing/2014/main" id="{2D821E6A-2734-7BAA-E1CB-C8CEDA9CD778}"/>
                  </a:ext>
                </a:extLst>
              </p:cNvPr>
              <p:cNvGrpSpPr/>
              <p:nvPr/>
            </p:nvGrpSpPr>
            <p:grpSpPr>
              <a:xfrm>
                <a:off x="4764258" y="3315314"/>
                <a:ext cx="247480" cy="50933"/>
                <a:chOff x="4764258" y="3315314"/>
                <a:chExt cx="247480" cy="50933"/>
              </a:xfrm>
              <a:grpFill/>
            </p:grpSpPr>
            <p:sp>
              <p:nvSpPr>
                <p:cNvPr id="430" name="Freeform: Shape 429">
                  <a:extLst>
                    <a:ext uri="{FF2B5EF4-FFF2-40B4-BE49-F238E27FC236}">
                      <a16:creationId xmlns:a16="http://schemas.microsoft.com/office/drawing/2014/main" id="{016497F7-E7C5-C389-52F8-54CEFD6D624A}"/>
                    </a:ext>
                  </a:extLst>
                </p:cNvPr>
                <p:cNvSpPr/>
                <p:nvPr/>
              </p:nvSpPr>
              <p:spPr>
                <a:xfrm>
                  <a:off x="4764258" y="3315314"/>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sp>
              <p:nvSpPr>
                <p:cNvPr id="431" name="Freeform: Shape 430">
                  <a:extLst>
                    <a:ext uri="{FF2B5EF4-FFF2-40B4-BE49-F238E27FC236}">
                      <a16:creationId xmlns:a16="http://schemas.microsoft.com/office/drawing/2014/main" id="{A74096EB-8F03-7FA0-C78D-D13498AE5D22}"/>
                    </a:ext>
                  </a:extLst>
                </p:cNvPr>
                <p:cNvSpPr/>
                <p:nvPr/>
              </p:nvSpPr>
              <p:spPr>
                <a:xfrm>
                  <a:off x="4862531" y="3315314"/>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sp>
              <p:nvSpPr>
                <p:cNvPr id="432" name="Freeform: Shape 431">
                  <a:extLst>
                    <a:ext uri="{FF2B5EF4-FFF2-40B4-BE49-F238E27FC236}">
                      <a16:creationId xmlns:a16="http://schemas.microsoft.com/office/drawing/2014/main" id="{E83A64C8-1770-534C-2FCB-54D662F12897}"/>
                    </a:ext>
                  </a:extLst>
                </p:cNvPr>
                <p:cNvSpPr/>
                <p:nvPr/>
              </p:nvSpPr>
              <p:spPr>
                <a:xfrm>
                  <a:off x="4960805" y="3315314"/>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grpSp>
          <p:grpSp>
            <p:nvGrpSpPr>
              <p:cNvPr id="402" name="Graphic 3">
                <a:extLst>
                  <a:ext uri="{FF2B5EF4-FFF2-40B4-BE49-F238E27FC236}">
                    <a16:creationId xmlns:a16="http://schemas.microsoft.com/office/drawing/2014/main" id="{6B809ACD-31AE-CC1A-BD3A-9CDB7BD00A72}"/>
                  </a:ext>
                </a:extLst>
              </p:cNvPr>
              <p:cNvGrpSpPr/>
              <p:nvPr/>
            </p:nvGrpSpPr>
            <p:grpSpPr>
              <a:xfrm>
                <a:off x="5369529" y="4110180"/>
                <a:ext cx="247480" cy="50933"/>
                <a:chOff x="5369529" y="4110180"/>
                <a:chExt cx="247480" cy="50933"/>
              </a:xfrm>
              <a:grpFill/>
            </p:grpSpPr>
            <p:sp>
              <p:nvSpPr>
                <p:cNvPr id="427" name="Freeform: Shape 426">
                  <a:extLst>
                    <a:ext uri="{FF2B5EF4-FFF2-40B4-BE49-F238E27FC236}">
                      <a16:creationId xmlns:a16="http://schemas.microsoft.com/office/drawing/2014/main" id="{F6F98889-1E75-165E-3E50-D7BFA87CECA0}"/>
                    </a:ext>
                  </a:extLst>
                </p:cNvPr>
                <p:cNvSpPr/>
                <p:nvPr/>
              </p:nvSpPr>
              <p:spPr>
                <a:xfrm>
                  <a:off x="5369529" y="4110180"/>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sp>
              <p:nvSpPr>
                <p:cNvPr id="428" name="Freeform: Shape 427">
                  <a:extLst>
                    <a:ext uri="{FF2B5EF4-FFF2-40B4-BE49-F238E27FC236}">
                      <a16:creationId xmlns:a16="http://schemas.microsoft.com/office/drawing/2014/main" id="{3786F6A3-33D2-CD15-7B89-ECD058D8726D}"/>
                    </a:ext>
                  </a:extLst>
                </p:cNvPr>
                <p:cNvSpPr/>
                <p:nvPr/>
              </p:nvSpPr>
              <p:spPr>
                <a:xfrm>
                  <a:off x="5467802" y="4110180"/>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sp>
              <p:nvSpPr>
                <p:cNvPr id="429" name="Freeform: Shape 428">
                  <a:extLst>
                    <a:ext uri="{FF2B5EF4-FFF2-40B4-BE49-F238E27FC236}">
                      <a16:creationId xmlns:a16="http://schemas.microsoft.com/office/drawing/2014/main" id="{5712B632-ECD8-F92A-6D7F-DB0853D1185C}"/>
                    </a:ext>
                  </a:extLst>
                </p:cNvPr>
                <p:cNvSpPr/>
                <p:nvPr/>
              </p:nvSpPr>
              <p:spPr>
                <a:xfrm>
                  <a:off x="5566076" y="4110180"/>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6"/>
                        <a:pt x="50934" y="25467"/>
                      </a:cubicBezTo>
                      <a:cubicBezTo>
                        <a:pt x="50934" y="11397"/>
                        <a:pt x="39536" y="0"/>
                        <a:pt x="25467" y="0"/>
                      </a:cubicBezTo>
                      <a:cubicBezTo>
                        <a:pt x="11397" y="0"/>
                        <a:pt x="0" y="11397"/>
                        <a:pt x="0" y="25467"/>
                      </a:cubicBezTo>
                      <a:cubicBezTo>
                        <a:pt x="0" y="39536"/>
                        <a:pt x="11397" y="50934"/>
                        <a:pt x="25467" y="50934"/>
                      </a:cubicBezTo>
                      <a:close/>
                    </a:path>
                  </a:pathLst>
                </a:custGeom>
                <a:grpFill/>
                <a:ln w="0" cap="flat">
                  <a:noFill/>
                  <a:prstDash val="solid"/>
                  <a:miter/>
                </a:ln>
              </p:spPr>
              <p:txBody>
                <a:bodyPr rtlCol="0" anchor="ctr"/>
                <a:lstStyle/>
                <a:p>
                  <a:endParaRPr lang="en-US"/>
                </a:p>
              </p:txBody>
            </p:sp>
          </p:grpSp>
          <p:grpSp>
            <p:nvGrpSpPr>
              <p:cNvPr id="403" name="Graphic 3">
                <a:extLst>
                  <a:ext uri="{FF2B5EF4-FFF2-40B4-BE49-F238E27FC236}">
                    <a16:creationId xmlns:a16="http://schemas.microsoft.com/office/drawing/2014/main" id="{5DB8CE1E-E7EF-EBE1-93F1-5C50D4689FEB}"/>
                  </a:ext>
                </a:extLst>
              </p:cNvPr>
              <p:cNvGrpSpPr/>
              <p:nvPr/>
            </p:nvGrpSpPr>
            <p:grpSpPr>
              <a:xfrm>
                <a:off x="6337185" y="4857217"/>
                <a:ext cx="195207" cy="184424"/>
                <a:chOff x="6337185" y="4857217"/>
                <a:chExt cx="195207" cy="184424"/>
              </a:xfrm>
              <a:grpFill/>
            </p:grpSpPr>
            <p:sp>
              <p:nvSpPr>
                <p:cNvPr id="424" name="Freeform: Shape 423">
                  <a:extLst>
                    <a:ext uri="{FF2B5EF4-FFF2-40B4-BE49-F238E27FC236}">
                      <a16:creationId xmlns:a16="http://schemas.microsoft.com/office/drawing/2014/main" id="{D116FC58-4572-E7E0-9237-AFB4F94109D4}"/>
                    </a:ext>
                  </a:extLst>
                </p:cNvPr>
                <p:cNvSpPr/>
                <p:nvPr/>
              </p:nvSpPr>
              <p:spPr>
                <a:xfrm>
                  <a:off x="6337185" y="4857217"/>
                  <a:ext cx="50942" cy="50942"/>
                </a:xfrm>
                <a:custGeom>
                  <a:avLst/>
                  <a:gdLst>
                    <a:gd name="connsiteX0" fmla="*/ 8174 w 50942"/>
                    <a:gd name="connsiteY0" fmla="*/ 44163 h 50942"/>
                    <a:gd name="connsiteX1" fmla="*/ 44163 w 50942"/>
                    <a:gd name="connsiteY1" fmla="*/ 42768 h 50942"/>
                    <a:gd name="connsiteX2" fmla="*/ 42768 w 50942"/>
                    <a:gd name="connsiteY2" fmla="*/ 6779 h 50942"/>
                    <a:gd name="connsiteX3" fmla="*/ 6779 w 50942"/>
                    <a:gd name="connsiteY3" fmla="*/ 8174 h 50942"/>
                    <a:gd name="connsiteX4" fmla="*/ 8174 w 50942"/>
                    <a:gd name="connsiteY4" fmla="*/ 44163 h 5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42" h="50942">
                      <a:moveTo>
                        <a:pt x="8174" y="44163"/>
                      </a:moveTo>
                      <a:cubicBezTo>
                        <a:pt x="18507" y="53717"/>
                        <a:pt x="34611" y="53102"/>
                        <a:pt x="44163" y="42768"/>
                      </a:cubicBezTo>
                      <a:cubicBezTo>
                        <a:pt x="53717" y="32435"/>
                        <a:pt x="53102" y="16332"/>
                        <a:pt x="42768" y="6779"/>
                      </a:cubicBezTo>
                      <a:cubicBezTo>
                        <a:pt x="32435" y="-2774"/>
                        <a:pt x="16332" y="-2159"/>
                        <a:pt x="6779" y="8174"/>
                      </a:cubicBezTo>
                      <a:cubicBezTo>
                        <a:pt x="-2774" y="18507"/>
                        <a:pt x="-2159" y="34610"/>
                        <a:pt x="8174" y="44163"/>
                      </a:cubicBezTo>
                      <a:close/>
                    </a:path>
                  </a:pathLst>
                </a:custGeom>
                <a:grpFill/>
                <a:ln w="0" cap="flat">
                  <a:noFill/>
                  <a:prstDash val="solid"/>
                  <a:miter/>
                </a:ln>
              </p:spPr>
              <p:txBody>
                <a:bodyPr rtlCol="0" anchor="ctr"/>
                <a:lstStyle/>
                <a:p>
                  <a:endParaRPr lang="en-US"/>
                </a:p>
              </p:txBody>
            </p:sp>
            <p:sp>
              <p:nvSpPr>
                <p:cNvPr id="425" name="Freeform: Shape 424">
                  <a:extLst>
                    <a:ext uri="{FF2B5EF4-FFF2-40B4-BE49-F238E27FC236}">
                      <a16:creationId xmlns:a16="http://schemas.microsoft.com/office/drawing/2014/main" id="{B46BE9F1-2C09-4B0C-1BFE-FC73E14FC7AC}"/>
                    </a:ext>
                  </a:extLst>
                </p:cNvPr>
                <p:cNvSpPr/>
                <p:nvPr/>
              </p:nvSpPr>
              <p:spPr>
                <a:xfrm>
                  <a:off x="6409329" y="4923970"/>
                  <a:ext cx="50942" cy="50942"/>
                </a:xfrm>
                <a:custGeom>
                  <a:avLst/>
                  <a:gdLst>
                    <a:gd name="connsiteX0" fmla="*/ 8174 w 50942"/>
                    <a:gd name="connsiteY0" fmla="*/ 44163 h 50942"/>
                    <a:gd name="connsiteX1" fmla="*/ 44163 w 50942"/>
                    <a:gd name="connsiteY1" fmla="*/ 42768 h 50942"/>
                    <a:gd name="connsiteX2" fmla="*/ 42768 w 50942"/>
                    <a:gd name="connsiteY2" fmla="*/ 6779 h 50942"/>
                    <a:gd name="connsiteX3" fmla="*/ 6779 w 50942"/>
                    <a:gd name="connsiteY3" fmla="*/ 8174 h 50942"/>
                    <a:gd name="connsiteX4" fmla="*/ 8174 w 50942"/>
                    <a:gd name="connsiteY4" fmla="*/ 44163 h 5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42" h="50942">
                      <a:moveTo>
                        <a:pt x="8174" y="44163"/>
                      </a:moveTo>
                      <a:cubicBezTo>
                        <a:pt x="18507" y="53717"/>
                        <a:pt x="34611" y="53102"/>
                        <a:pt x="44163" y="42768"/>
                      </a:cubicBezTo>
                      <a:cubicBezTo>
                        <a:pt x="53717" y="32435"/>
                        <a:pt x="53102" y="16332"/>
                        <a:pt x="42768" y="6779"/>
                      </a:cubicBezTo>
                      <a:cubicBezTo>
                        <a:pt x="32435" y="-2774"/>
                        <a:pt x="16332" y="-2159"/>
                        <a:pt x="6779" y="8174"/>
                      </a:cubicBezTo>
                      <a:cubicBezTo>
                        <a:pt x="-2774" y="18507"/>
                        <a:pt x="-2159" y="34611"/>
                        <a:pt x="8174" y="44163"/>
                      </a:cubicBezTo>
                      <a:close/>
                    </a:path>
                  </a:pathLst>
                </a:custGeom>
                <a:grpFill/>
                <a:ln w="0" cap="flat">
                  <a:noFill/>
                  <a:prstDash val="solid"/>
                  <a:miter/>
                </a:ln>
              </p:spPr>
              <p:txBody>
                <a:bodyPr rtlCol="0" anchor="ctr"/>
                <a:lstStyle/>
                <a:p>
                  <a:endParaRPr lang="en-US"/>
                </a:p>
              </p:txBody>
            </p:sp>
            <p:sp>
              <p:nvSpPr>
                <p:cNvPr id="426" name="Freeform: Shape 425">
                  <a:extLst>
                    <a:ext uri="{FF2B5EF4-FFF2-40B4-BE49-F238E27FC236}">
                      <a16:creationId xmlns:a16="http://schemas.microsoft.com/office/drawing/2014/main" id="{369AA78B-B311-2A2B-CAAD-6946949BB32C}"/>
                    </a:ext>
                  </a:extLst>
                </p:cNvPr>
                <p:cNvSpPr/>
                <p:nvPr/>
              </p:nvSpPr>
              <p:spPr>
                <a:xfrm>
                  <a:off x="6481450" y="4990700"/>
                  <a:ext cx="50942" cy="50942"/>
                </a:xfrm>
                <a:custGeom>
                  <a:avLst/>
                  <a:gdLst>
                    <a:gd name="connsiteX0" fmla="*/ 8174 w 50942"/>
                    <a:gd name="connsiteY0" fmla="*/ 44163 h 50942"/>
                    <a:gd name="connsiteX1" fmla="*/ 44163 w 50942"/>
                    <a:gd name="connsiteY1" fmla="*/ 42768 h 50942"/>
                    <a:gd name="connsiteX2" fmla="*/ 42768 w 50942"/>
                    <a:gd name="connsiteY2" fmla="*/ 6779 h 50942"/>
                    <a:gd name="connsiteX3" fmla="*/ 6779 w 50942"/>
                    <a:gd name="connsiteY3" fmla="*/ 8174 h 50942"/>
                    <a:gd name="connsiteX4" fmla="*/ 8174 w 50942"/>
                    <a:gd name="connsiteY4" fmla="*/ 44163 h 5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42" h="50942">
                      <a:moveTo>
                        <a:pt x="8174" y="44163"/>
                      </a:moveTo>
                      <a:cubicBezTo>
                        <a:pt x="18507" y="53717"/>
                        <a:pt x="34611" y="53102"/>
                        <a:pt x="44163" y="42768"/>
                      </a:cubicBezTo>
                      <a:cubicBezTo>
                        <a:pt x="53717" y="32435"/>
                        <a:pt x="53102" y="16332"/>
                        <a:pt x="42768" y="6779"/>
                      </a:cubicBezTo>
                      <a:cubicBezTo>
                        <a:pt x="32435" y="-2774"/>
                        <a:pt x="16332" y="-2159"/>
                        <a:pt x="6779" y="8174"/>
                      </a:cubicBezTo>
                      <a:cubicBezTo>
                        <a:pt x="-2774" y="18507"/>
                        <a:pt x="-2159" y="34611"/>
                        <a:pt x="8174" y="44163"/>
                      </a:cubicBezTo>
                      <a:close/>
                    </a:path>
                  </a:pathLst>
                </a:custGeom>
                <a:grpFill/>
                <a:ln w="0" cap="flat">
                  <a:noFill/>
                  <a:prstDash val="solid"/>
                  <a:miter/>
                </a:ln>
              </p:spPr>
              <p:txBody>
                <a:bodyPr rtlCol="0" anchor="ctr"/>
                <a:lstStyle/>
                <a:p>
                  <a:endParaRPr lang="en-US"/>
                </a:p>
              </p:txBody>
            </p:sp>
          </p:grpSp>
          <p:grpSp>
            <p:nvGrpSpPr>
              <p:cNvPr id="404" name="Graphic 3">
                <a:extLst>
                  <a:ext uri="{FF2B5EF4-FFF2-40B4-BE49-F238E27FC236}">
                    <a16:creationId xmlns:a16="http://schemas.microsoft.com/office/drawing/2014/main" id="{3A04F313-FF03-1B4D-8828-30A48C9515F8}"/>
                  </a:ext>
                </a:extLst>
              </p:cNvPr>
              <p:cNvGrpSpPr/>
              <p:nvPr/>
            </p:nvGrpSpPr>
            <p:grpSpPr>
              <a:xfrm>
                <a:off x="5540727" y="2145065"/>
                <a:ext cx="50933" cy="247480"/>
                <a:chOff x="5540727" y="2145065"/>
                <a:chExt cx="50933" cy="247480"/>
              </a:xfrm>
              <a:grpFill/>
            </p:grpSpPr>
            <p:sp>
              <p:nvSpPr>
                <p:cNvPr id="421" name="Freeform: Shape 420">
                  <a:extLst>
                    <a:ext uri="{FF2B5EF4-FFF2-40B4-BE49-F238E27FC236}">
                      <a16:creationId xmlns:a16="http://schemas.microsoft.com/office/drawing/2014/main" id="{1D29EFD0-A3EE-E590-9EEB-A11C962B8A86}"/>
                    </a:ext>
                  </a:extLst>
                </p:cNvPr>
                <p:cNvSpPr/>
                <p:nvPr/>
              </p:nvSpPr>
              <p:spPr>
                <a:xfrm>
                  <a:off x="5540727" y="2341612"/>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22" name="Freeform: Shape 421">
                  <a:extLst>
                    <a:ext uri="{FF2B5EF4-FFF2-40B4-BE49-F238E27FC236}">
                      <a16:creationId xmlns:a16="http://schemas.microsoft.com/office/drawing/2014/main" id="{7E92AB0B-FF45-0A67-6C17-AA8527096363}"/>
                    </a:ext>
                  </a:extLst>
                </p:cNvPr>
                <p:cNvSpPr/>
                <p:nvPr/>
              </p:nvSpPr>
              <p:spPr>
                <a:xfrm>
                  <a:off x="5540727" y="2243339"/>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23" name="Freeform: Shape 422">
                  <a:extLst>
                    <a:ext uri="{FF2B5EF4-FFF2-40B4-BE49-F238E27FC236}">
                      <a16:creationId xmlns:a16="http://schemas.microsoft.com/office/drawing/2014/main" id="{BF128AAB-C3E9-60B8-5254-030A15CFB60F}"/>
                    </a:ext>
                  </a:extLst>
                </p:cNvPr>
                <p:cNvSpPr/>
                <p:nvPr/>
              </p:nvSpPr>
              <p:spPr>
                <a:xfrm>
                  <a:off x="5540727" y="2145065"/>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grpSp>
          <p:grpSp>
            <p:nvGrpSpPr>
              <p:cNvPr id="405" name="Graphic 3">
                <a:extLst>
                  <a:ext uri="{FF2B5EF4-FFF2-40B4-BE49-F238E27FC236}">
                    <a16:creationId xmlns:a16="http://schemas.microsoft.com/office/drawing/2014/main" id="{3E9CF00E-2740-125A-4250-5D8BCB7FB8DC}"/>
                  </a:ext>
                </a:extLst>
              </p:cNvPr>
              <p:cNvGrpSpPr/>
              <p:nvPr/>
            </p:nvGrpSpPr>
            <p:grpSpPr>
              <a:xfrm>
                <a:off x="6700193" y="1671054"/>
                <a:ext cx="50933" cy="247480"/>
                <a:chOff x="6700193" y="1671054"/>
                <a:chExt cx="50933" cy="247480"/>
              </a:xfrm>
              <a:grpFill/>
            </p:grpSpPr>
            <p:sp>
              <p:nvSpPr>
                <p:cNvPr id="418" name="Freeform: Shape 417">
                  <a:extLst>
                    <a:ext uri="{FF2B5EF4-FFF2-40B4-BE49-F238E27FC236}">
                      <a16:creationId xmlns:a16="http://schemas.microsoft.com/office/drawing/2014/main" id="{63807F51-A2F3-C563-D9D5-205BF12C4BD8}"/>
                    </a:ext>
                  </a:extLst>
                </p:cNvPr>
                <p:cNvSpPr/>
                <p:nvPr/>
              </p:nvSpPr>
              <p:spPr>
                <a:xfrm>
                  <a:off x="6700193" y="1867601"/>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19" name="Freeform: Shape 418">
                  <a:extLst>
                    <a:ext uri="{FF2B5EF4-FFF2-40B4-BE49-F238E27FC236}">
                      <a16:creationId xmlns:a16="http://schemas.microsoft.com/office/drawing/2014/main" id="{748D00DE-BC19-C8DA-091D-9E41D0EFF05B}"/>
                    </a:ext>
                  </a:extLst>
                </p:cNvPr>
                <p:cNvSpPr/>
                <p:nvPr/>
              </p:nvSpPr>
              <p:spPr>
                <a:xfrm>
                  <a:off x="6700193" y="1769328"/>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20" name="Freeform: Shape 419">
                  <a:extLst>
                    <a:ext uri="{FF2B5EF4-FFF2-40B4-BE49-F238E27FC236}">
                      <a16:creationId xmlns:a16="http://schemas.microsoft.com/office/drawing/2014/main" id="{ED0EC40F-78B8-3077-5398-217327B22140}"/>
                    </a:ext>
                  </a:extLst>
                </p:cNvPr>
                <p:cNvSpPr/>
                <p:nvPr/>
              </p:nvSpPr>
              <p:spPr>
                <a:xfrm>
                  <a:off x="6700193" y="1671054"/>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grpSp>
          <p:grpSp>
            <p:nvGrpSpPr>
              <p:cNvPr id="406" name="Graphic 3">
                <a:extLst>
                  <a:ext uri="{FF2B5EF4-FFF2-40B4-BE49-F238E27FC236}">
                    <a16:creationId xmlns:a16="http://schemas.microsoft.com/office/drawing/2014/main" id="{E3F5395B-7ED3-D3E3-3A9E-C1A5DC176A44}"/>
                  </a:ext>
                </a:extLst>
              </p:cNvPr>
              <p:cNvGrpSpPr/>
              <p:nvPr/>
            </p:nvGrpSpPr>
            <p:grpSpPr>
              <a:xfrm>
                <a:off x="5868888" y="1576257"/>
                <a:ext cx="50933" cy="247480"/>
                <a:chOff x="5868888" y="1576257"/>
                <a:chExt cx="50933" cy="247480"/>
              </a:xfrm>
              <a:grpFill/>
            </p:grpSpPr>
            <p:sp>
              <p:nvSpPr>
                <p:cNvPr id="415" name="Freeform: Shape 414">
                  <a:extLst>
                    <a:ext uri="{FF2B5EF4-FFF2-40B4-BE49-F238E27FC236}">
                      <a16:creationId xmlns:a16="http://schemas.microsoft.com/office/drawing/2014/main" id="{C49B3977-FD9B-5D1B-5477-8F25B9281529}"/>
                    </a:ext>
                  </a:extLst>
                </p:cNvPr>
                <p:cNvSpPr/>
                <p:nvPr/>
              </p:nvSpPr>
              <p:spPr>
                <a:xfrm>
                  <a:off x="5868888" y="1772804"/>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16" name="Freeform: Shape 415">
                  <a:extLst>
                    <a:ext uri="{FF2B5EF4-FFF2-40B4-BE49-F238E27FC236}">
                      <a16:creationId xmlns:a16="http://schemas.microsoft.com/office/drawing/2014/main" id="{DCBCF7E6-9AC8-40FB-7AEA-8B1CB0B7D122}"/>
                    </a:ext>
                  </a:extLst>
                </p:cNvPr>
                <p:cNvSpPr/>
                <p:nvPr/>
              </p:nvSpPr>
              <p:spPr>
                <a:xfrm>
                  <a:off x="5868888" y="1674530"/>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17" name="Freeform: Shape 416">
                  <a:extLst>
                    <a:ext uri="{FF2B5EF4-FFF2-40B4-BE49-F238E27FC236}">
                      <a16:creationId xmlns:a16="http://schemas.microsoft.com/office/drawing/2014/main" id="{CE7D9515-4417-52F4-36F4-5D6CAE098111}"/>
                    </a:ext>
                  </a:extLst>
                </p:cNvPr>
                <p:cNvSpPr/>
                <p:nvPr/>
              </p:nvSpPr>
              <p:spPr>
                <a:xfrm>
                  <a:off x="5868888" y="1576257"/>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grpSp>
          <p:grpSp>
            <p:nvGrpSpPr>
              <p:cNvPr id="407" name="Graphic 3">
                <a:extLst>
                  <a:ext uri="{FF2B5EF4-FFF2-40B4-BE49-F238E27FC236}">
                    <a16:creationId xmlns:a16="http://schemas.microsoft.com/office/drawing/2014/main" id="{C6B1E383-774D-CFC4-390F-929482650FE1}"/>
                  </a:ext>
                </a:extLst>
              </p:cNvPr>
              <p:cNvGrpSpPr/>
              <p:nvPr/>
            </p:nvGrpSpPr>
            <p:grpSpPr>
              <a:xfrm>
                <a:off x="4253808" y="4146642"/>
                <a:ext cx="247480" cy="50933"/>
                <a:chOff x="4253808" y="4146642"/>
                <a:chExt cx="247480" cy="50933"/>
              </a:xfrm>
              <a:grpFill/>
            </p:grpSpPr>
            <p:sp>
              <p:nvSpPr>
                <p:cNvPr id="412" name="Freeform: Shape 411">
                  <a:extLst>
                    <a:ext uri="{FF2B5EF4-FFF2-40B4-BE49-F238E27FC236}">
                      <a16:creationId xmlns:a16="http://schemas.microsoft.com/office/drawing/2014/main" id="{B0426256-0F06-B8C9-FFE8-86078160AD4C}"/>
                    </a:ext>
                  </a:extLst>
                </p:cNvPr>
                <p:cNvSpPr/>
                <p:nvPr/>
              </p:nvSpPr>
              <p:spPr>
                <a:xfrm>
                  <a:off x="4253808" y="4146642"/>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7"/>
                        <a:pt x="50934" y="25467"/>
                      </a:cubicBezTo>
                      <a:cubicBezTo>
                        <a:pt x="50934" y="11398"/>
                        <a:pt x="39536" y="0"/>
                        <a:pt x="25467" y="0"/>
                      </a:cubicBezTo>
                      <a:cubicBezTo>
                        <a:pt x="11397" y="0"/>
                        <a:pt x="0" y="11398"/>
                        <a:pt x="0" y="25467"/>
                      </a:cubicBezTo>
                      <a:cubicBezTo>
                        <a:pt x="0" y="39537"/>
                        <a:pt x="11397" y="50934"/>
                        <a:pt x="25467" y="50934"/>
                      </a:cubicBezTo>
                      <a:close/>
                    </a:path>
                  </a:pathLst>
                </a:custGeom>
                <a:grpFill/>
                <a:ln w="0" cap="flat">
                  <a:noFill/>
                  <a:prstDash val="solid"/>
                  <a:miter/>
                </a:ln>
              </p:spPr>
              <p:txBody>
                <a:bodyPr rtlCol="0" anchor="ctr"/>
                <a:lstStyle/>
                <a:p>
                  <a:endParaRPr lang="en-US"/>
                </a:p>
              </p:txBody>
            </p:sp>
            <p:sp>
              <p:nvSpPr>
                <p:cNvPr id="413" name="Freeform: Shape 412">
                  <a:extLst>
                    <a:ext uri="{FF2B5EF4-FFF2-40B4-BE49-F238E27FC236}">
                      <a16:creationId xmlns:a16="http://schemas.microsoft.com/office/drawing/2014/main" id="{6674B33A-08E0-88F4-E313-97CA48D5BC25}"/>
                    </a:ext>
                  </a:extLst>
                </p:cNvPr>
                <p:cNvSpPr/>
                <p:nvPr/>
              </p:nvSpPr>
              <p:spPr>
                <a:xfrm>
                  <a:off x="4352081" y="4146642"/>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7"/>
                        <a:pt x="50934" y="25467"/>
                      </a:cubicBezTo>
                      <a:cubicBezTo>
                        <a:pt x="50934" y="11398"/>
                        <a:pt x="39536" y="0"/>
                        <a:pt x="25467" y="0"/>
                      </a:cubicBezTo>
                      <a:cubicBezTo>
                        <a:pt x="11397" y="0"/>
                        <a:pt x="0" y="11398"/>
                        <a:pt x="0" y="25467"/>
                      </a:cubicBezTo>
                      <a:cubicBezTo>
                        <a:pt x="0" y="39537"/>
                        <a:pt x="11397" y="50934"/>
                        <a:pt x="25467" y="50934"/>
                      </a:cubicBezTo>
                      <a:close/>
                    </a:path>
                  </a:pathLst>
                </a:custGeom>
                <a:grpFill/>
                <a:ln w="0" cap="flat">
                  <a:no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84BEF52E-5236-7286-FB7B-85775F7E979C}"/>
                    </a:ext>
                  </a:extLst>
                </p:cNvPr>
                <p:cNvSpPr/>
                <p:nvPr/>
              </p:nvSpPr>
              <p:spPr>
                <a:xfrm>
                  <a:off x="4450355" y="4146642"/>
                  <a:ext cx="50933" cy="50933"/>
                </a:xfrm>
                <a:custGeom>
                  <a:avLst/>
                  <a:gdLst>
                    <a:gd name="connsiteX0" fmla="*/ 25467 w 50933"/>
                    <a:gd name="connsiteY0" fmla="*/ 50934 h 50933"/>
                    <a:gd name="connsiteX1" fmla="*/ 50934 w 50933"/>
                    <a:gd name="connsiteY1" fmla="*/ 25467 h 50933"/>
                    <a:gd name="connsiteX2" fmla="*/ 25467 w 50933"/>
                    <a:gd name="connsiteY2" fmla="*/ 0 h 50933"/>
                    <a:gd name="connsiteX3" fmla="*/ 0 w 50933"/>
                    <a:gd name="connsiteY3" fmla="*/ 25467 h 50933"/>
                    <a:gd name="connsiteX4" fmla="*/ 25467 w 50933"/>
                    <a:gd name="connsiteY4" fmla="*/ 50934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25467" y="50934"/>
                      </a:moveTo>
                      <a:cubicBezTo>
                        <a:pt x="39536" y="50934"/>
                        <a:pt x="50934" y="39537"/>
                        <a:pt x="50934" y="25467"/>
                      </a:cubicBezTo>
                      <a:cubicBezTo>
                        <a:pt x="50934" y="11398"/>
                        <a:pt x="39536" y="0"/>
                        <a:pt x="25467" y="0"/>
                      </a:cubicBezTo>
                      <a:cubicBezTo>
                        <a:pt x="11397" y="0"/>
                        <a:pt x="0" y="11398"/>
                        <a:pt x="0" y="25467"/>
                      </a:cubicBezTo>
                      <a:cubicBezTo>
                        <a:pt x="0" y="39537"/>
                        <a:pt x="11397" y="50934"/>
                        <a:pt x="25467" y="50934"/>
                      </a:cubicBezTo>
                      <a:close/>
                    </a:path>
                  </a:pathLst>
                </a:custGeom>
                <a:grpFill/>
                <a:ln w="0" cap="flat">
                  <a:noFill/>
                  <a:prstDash val="solid"/>
                  <a:miter/>
                </a:ln>
              </p:spPr>
              <p:txBody>
                <a:bodyPr rtlCol="0" anchor="ctr"/>
                <a:lstStyle/>
                <a:p>
                  <a:endParaRPr lang="en-US"/>
                </a:p>
              </p:txBody>
            </p:sp>
          </p:grpSp>
          <p:grpSp>
            <p:nvGrpSpPr>
              <p:cNvPr id="408" name="Graphic 3">
                <a:extLst>
                  <a:ext uri="{FF2B5EF4-FFF2-40B4-BE49-F238E27FC236}">
                    <a16:creationId xmlns:a16="http://schemas.microsoft.com/office/drawing/2014/main" id="{C15403E9-0139-3A82-5BAE-2E93FDD12E4C}"/>
                  </a:ext>
                </a:extLst>
              </p:cNvPr>
              <p:cNvGrpSpPr/>
              <p:nvPr/>
            </p:nvGrpSpPr>
            <p:grpSpPr>
              <a:xfrm>
                <a:off x="5941813" y="4741130"/>
                <a:ext cx="50933" cy="247480"/>
                <a:chOff x="5941813" y="4741130"/>
                <a:chExt cx="50933" cy="247480"/>
              </a:xfrm>
              <a:grpFill/>
            </p:grpSpPr>
            <p:sp>
              <p:nvSpPr>
                <p:cNvPr id="409" name="Freeform: Shape 408">
                  <a:extLst>
                    <a:ext uri="{FF2B5EF4-FFF2-40B4-BE49-F238E27FC236}">
                      <a16:creationId xmlns:a16="http://schemas.microsoft.com/office/drawing/2014/main" id="{0D3E25CD-8DBE-79A3-106B-25CEFD84E137}"/>
                    </a:ext>
                  </a:extLst>
                </p:cNvPr>
                <p:cNvSpPr/>
                <p:nvPr/>
              </p:nvSpPr>
              <p:spPr>
                <a:xfrm>
                  <a:off x="5941813" y="4937677"/>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8"/>
                        <a:pt x="39536" y="0"/>
                        <a:pt x="25467" y="0"/>
                      </a:cubicBezTo>
                      <a:cubicBezTo>
                        <a:pt x="11397" y="0"/>
                        <a:pt x="0" y="11398"/>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10" name="Freeform: Shape 409">
                  <a:extLst>
                    <a:ext uri="{FF2B5EF4-FFF2-40B4-BE49-F238E27FC236}">
                      <a16:creationId xmlns:a16="http://schemas.microsoft.com/office/drawing/2014/main" id="{E388074C-6D1C-310D-F830-5BF13786D26D}"/>
                    </a:ext>
                  </a:extLst>
                </p:cNvPr>
                <p:cNvSpPr/>
                <p:nvPr/>
              </p:nvSpPr>
              <p:spPr>
                <a:xfrm>
                  <a:off x="5941813" y="4839404"/>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7"/>
                        <a:pt x="39536" y="0"/>
                        <a:pt x="25467" y="0"/>
                      </a:cubicBezTo>
                      <a:cubicBezTo>
                        <a:pt x="11397" y="0"/>
                        <a:pt x="0" y="11397"/>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sp>
              <p:nvSpPr>
                <p:cNvPr id="411" name="Freeform: Shape 410">
                  <a:extLst>
                    <a:ext uri="{FF2B5EF4-FFF2-40B4-BE49-F238E27FC236}">
                      <a16:creationId xmlns:a16="http://schemas.microsoft.com/office/drawing/2014/main" id="{B0390B89-E749-AAC7-F232-78DF5A69910D}"/>
                    </a:ext>
                  </a:extLst>
                </p:cNvPr>
                <p:cNvSpPr/>
                <p:nvPr/>
              </p:nvSpPr>
              <p:spPr>
                <a:xfrm>
                  <a:off x="5941813" y="4741130"/>
                  <a:ext cx="50933" cy="50933"/>
                </a:xfrm>
                <a:custGeom>
                  <a:avLst/>
                  <a:gdLst>
                    <a:gd name="connsiteX0" fmla="*/ 50934 w 50933"/>
                    <a:gd name="connsiteY0" fmla="*/ 25467 h 50933"/>
                    <a:gd name="connsiteX1" fmla="*/ 25467 w 50933"/>
                    <a:gd name="connsiteY1" fmla="*/ 0 h 50933"/>
                    <a:gd name="connsiteX2" fmla="*/ 0 w 50933"/>
                    <a:gd name="connsiteY2" fmla="*/ 25467 h 50933"/>
                    <a:gd name="connsiteX3" fmla="*/ 25467 w 50933"/>
                    <a:gd name="connsiteY3" fmla="*/ 50934 h 50933"/>
                    <a:gd name="connsiteX4" fmla="*/ 50934 w 50933"/>
                    <a:gd name="connsiteY4" fmla="*/ 25467 h 50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33" h="50933">
                      <a:moveTo>
                        <a:pt x="50934" y="25467"/>
                      </a:moveTo>
                      <a:cubicBezTo>
                        <a:pt x="50934" y="11398"/>
                        <a:pt x="39536" y="0"/>
                        <a:pt x="25467" y="0"/>
                      </a:cubicBezTo>
                      <a:cubicBezTo>
                        <a:pt x="11397" y="0"/>
                        <a:pt x="0" y="11398"/>
                        <a:pt x="0" y="25467"/>
                      </a:cubicBezTo>
                      <a:cubicBezTo>
                        <a:pt x="0" y="39536"/>
                        <a:pt x="11397" y="50934"/>
                        <a:pt x="25467" y="50934"/>
                      </a:cubicBezTo>
                      <a:cubicBezTo>
                        <a:pt x="39536" y="50934"/>
                        <a:pt x="50934" y="39536"/>
                        <a:pt x="50934" y="25467"/>
                      </a:cubicBezTo>
                      <a:close/>
                    </a:path>
                  </a:pathLst>
                </a:custGeom>
                <a:grpFill/>
                <a:ln w="0" cap="flat">
                  <a:noFill/>
                  <a:prstDash val="solid"/>
                  <a:miter/>
                </a:ln>
              </p:spPr>
              <p:txBody>
                <a:bodyPr rtlCol="0" anchor="ctr"/>
                <a:lstStyle/>
                <a:p>
                  <a:endParaRPr lang="en-US"/>
                </a:p>
              </p:txBody>
            </p:sp>
          </p:grpSp>
        </p:grpSp>
        <p:sp>
          <p:nvSpPr>
            <p:cNvPr id="59" name="Freeform: Shape 58">
              <a:extLst>
                <a:ext uri="{FF2B5EF4-FFF2-40B4-BE49-F238E27FC236}">
                  <a16:creationId xmlns:a16="http://schemas.microsoft.com/office/drawing/2014/main" id="{CABEA5E9-B204-324A-1E36-202E19DEECF4}"/>
                </a:ext>
              </a:extLst>
            </p:cNvPr>
            <p:cNvSpPr/>
            <p:nvPr/>
          </p:nvSpPr>
          <p:spPr>
            <a:xfrm>
              <a:off x="8905103" y="2483176"/>
              <a:ext cx="49279" cy="235913"/>
            </a:xfrm>
            <a:custGeom>
              <a:avLst/>
              <a:gdLst>
                <a:gd name="connsiteX0" fmla="*/ 27784 w 55568"/>
                <a:gd name="connsiteY0" fmla="*/ 0 h 266019"/>
                <a:gd name="connsiteX1" fmla="*/ 27784 w 55568"/>
                <a:gd name="connsiteY1" fmla="*/ 0 h 266019"/>
                <a:gd name="connsiteX2" fmla="*/ 55568 w 55568"/>
                <a:gd name="connsiteY2" fmla="*/ 27784 h 266019"/>
                <a:gd name="connsiteX3" fmla="*/ 55568 w 55568"/>
                <a:gd name="connsiteY3" fmla="*/ 238235 h 266019"/>
                <a:gd name="connsiteX4" fmla="*/ 27784 w 55568"/>
                <a:gd name="connsiteY4" fmla="*/ 266019 h 266019"/>
                <a:gd name="connsiteX5" fmla="*/ 27784 w 55568"/>
                <a:gd name="connsiteY5" fmla="*/ 266019 h 266019"/>
                <a:gd name="connsiteX6" fmla="*/ 0 w 55568"/>
                <a:gd name="connsiteY6" fmla="*/ 238235 h 266019"/>
                <a:gd name="connsiteX7" fmla="*/ 0 w 55568"/>
                <a:gd name="connsiteY7" fmla="*/ 27784 h 266019"/>
                <a:gd name="connsiteX8" fmla="*/ 27784 w 55568"/>
                <a:gd name="connsiteY8" fmla="*/ 0 h 26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68" h="266019">
                  <a:moveTo>
                    <a:pt x="27784" y="0"/>
                  </a:moveTo>
                  <a:lnTo>
                    <a:pt x="27784" y="0"/>
                  </a:lnTo>
                  <a:cubicBezTo>
                    <a:pt x="43131" y="0"/>
                    <a:pt x="55568" y="12438"/>
                    <a:pt x="55568" y="27784"/>
                  </a:cubicBezTo>
                  <a:lnTo>
                    <a:pt x="55568" y="238235"/>
                  </a:lnTo>
                  <a:cubicBezTo>
                    <a:pt x="55568" y="253581"/>
                    <a:pt x="43131" y="266019"/>
                    <a:pt x="27784" y="266019"/>
                  </a:cubicBezTo>
                  <a:lnTo>
                    <a:pt x="27784" y="266019"/>
                  </a:lnTo>
                  <a:cubicBezTo>
                    <a:pt x="12438" y="266019"/>
                    <a:pt x="0" y="253581"/>
                    <a:pt x="0" y="238235"/>
                  </a:cubicBezTo>
                  <a:lnTo>
                    <a:pt x="0" y="27784"/>
                  </a:lnTo>
                  <a:cubicBezTo>
                    <a:pt x="0" y="12438"/>
                    <a:pt x="12438" y="0"/>
                    <a:pt x="27784" y="0"/>
                  </a:cubicBezTo>
                  <a:close/>
                </a:path>
              </a:pathLst>
            </a:custGeom>
            <a:solidFill>
              <a:srgbClr val="7186A0"/>
            </a:solidFill>
            <a:ln w="0"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52C66A55-F7DA-B5DA-BA2C-5566A93ADD31}"/>
                </a:ext>
              </a:extLst>
            </p:cNvPr>
            <p:cNvSpPr/>
            <p:nvPr/>
          </p:nvSpPr>
          <p:spPr>
            <a:xfrm>
              <a:off x="9241023" y="2424293"/>
              <a:ext cx="55906" cy="267599"/>
            </a:xfrm>
            <a:custGeom>
              <a:avLst/>
              <a:gdLst>
                <a:gd name="connsiteX0" fmla="*/ 31520 w 63040"/>
                <a:gd name="connsiteY0" fmla="*/ 0 h 301748"/>
                <a:gd name="connsiteX1" fmla="*/ 31520 w 63040"/>
                <a:gd name="connsiteY1" fmla="*/ 0 h 301748"/>
                <a:gd name="connsiteX2" fmla="*/ 63041 w 63040"/>
                <a:gd name="connsiteY2" fmla="*/ 31520 h 301748"/>
                <a:gd name="connsiteX3" fmla="*/ 63041 w 63040"/>
                <a:gd name="connsiteY3" fmla="*/ 270228 h 301748"/>
                <a:gd name="connsiteX4" fmla="*/ 31520 w 63040"/>
                <a:gd name="connsiteY4" fmla="*/ 301749 h 301748"/>
                <a:gd name="connsiteX5" fmla="*/ 31520 w 63040"/>
                <a:gd name="connsiteY5" fmla="*/ 301749 h 301748"/>
                <a:gd name="connsiteX6" fmla="*/ 0 w 63040"/>
                <a:gd name="connsiteY6" fmla="*/ 270228 h 301748"/>
                <a:gd name="connsiteX7" fmla="*/ 0 w 63040"/>
                <a:gd name="connsiteY7" fmla="*/ 31520 h 301748"/>
                <a:gd name="connsiteX8" fmla="*/ 31520 w 63040"/>
                <a:gd name="connsiteY8" fmla="*/ 0 h 30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40" h="301748">
                  <a:moveTo>
                    <a:pt x="31520" y="0"/>
                  </a:moveTo>
                  <a:lnTo>
                    <a:pt x="31520" y="0"/>
                  </a:lnTo>
                  <a:cubicBezTo>
                    <a:pt x="48924" y="0"/>
                    <a:pt x="63041" y="14117"/>
                    <a:pt x="63041" y="31520"/>
                  </a:cubicBezTo>
                  <a:lnTo>
                    <a:pt x="63041" y="270228"/>
                  </a:lnTo>
                  <a:cubicBezTo>
                    <a:pt x="63041" y="287632"/>
                    <a:pt x="48924" y="301749"/>
                    <a:pt x="31520" y="301749"/>
                  </a:cubicBezTo>
                  <a:lnTo>
                    <a:pt x="31520" y="301749"/>
                  </a:lnTo>
                  <a:cubicBezTo>
                    <a:pt x="14117" y="301749"/>
                    <a:pt x="0" y="287632"/>
                    <a:pt x="0" y="270228"/>
                  </a:cubicBezTo>
                  <a:lnTo>
                    <a:pt x="0" y="31520"/>
                  </a:lnTo>
                  <a:cubicBezTo>
                    <a:pt x="0" y="14117"/>
                    <a:pt x="14117" y="0"/>
                    <a:pt x="31520" y="0"/>
                  </a:cubicBezTo>
                  <a:close/>
                </a:path>
              </a:pathLst>
            </a:custGeom>
            <a:solidFill>
              <a:srgbClr val="7186A0"/>
            </a:solidFill>
            <a:ln w="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D457CA0-23FC-3CBD-5250-EA1DC663EB8D}"/>
                </a:ext>
              </a:extLst>
            </p:cNvPr>
            <p:cNvSpPr/>
            <p:nvPr/>
          </p:nvSpPr>
          <p:spPr>
            <a:xfrm>
              <a:off x="9081252" y="2340412"/>
              <a:ext cx="75890" cy="311553"/>
            </a:xfrm>
            <a:custGeom>
              <a:avLst/>
              <a:gdLst>
                <a:gd name="connsiteX0" fmla="*/ 42800 w 85575"/>
                <a:gd name="connsiteY0" fmla="*/ 0 h 351311"/>
                <a:gd name="connsiteX1" fmla="*/ 85576 w 85575"/>
                <a:gd name="connsiteY1" fmla="*/ 42776 h 351311"/>
                <a:gd name="connsiteX2" fmla="*/ 85576 w 85575"/>
                <a:gd name="connsiteY2" fmla="*/ 308535 h 351311"/>
                <a:gd name="connsiteX3" fmla="*/ 42800 w 85575"/>
                <a:gd name="connsiteY3" fmla="*/ 351311 h 351311"/>
                <a:gd name="connsiteX4" fmla="*/ 42776 w 85575"/>
                <a:gd name="connsiteY4" fmla="*/ 351311 h 351311"/>
                <a:gd name="connsiteX5" fmla="*/ 0 w 85575"/>
                <a:gd name="connsiteY5" fmla="*/ 308535 h 351311"/>
                <a:gd name="connsiteX6" fmla="*/ 0 w 85575"/>
                <a:gd name="connsiteY6" fmla="*/ 42776 h 351311"/>
                <a:gd name="connsiteX7" fmla="*/ 42776 w 85575"/>
                <a:gd name="connsiteY7" fmla="*/ 0 h 35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75" h="351311">
                  <a:moveTo>
                    <a:pt x="42800" y="0"/>
                  </a:moveTo>
                  <a:cubicBezTo>
                    <a:pt x="66424" y="0"/>
                    <a:pt x="85576" y="19151"/>
                    <a:pt x="85576" y="42776"/>
                  </a:cubicBezTo>
                  <a:lnTo>
                    <a:pt x="85576" y="308535"/>
                  </a:lnTo>
                  <a:cubicBezTo>
                    <a:pt x="85576" y="332160"/>
                    <a:pt x="66424" y="351311"/>
                    <a:pt x="42800" y="351311"/>
                  </a:cubicBezTo>
                  <a:lnTo>
                    <a:pt x="42776" y="351311"/>
                  </a:lnTo>
                  <a:cubicBezTo>
                    <a:pt x="19151" y="351311"/>
                    <a:pt x="0" y="332160"/>
                    <a:pt x="0" y="308535"/>
                  </a:cubicBezTo>
                  <a:lnTo>
                    <a:pt x="0" y="42776"/>
                  </a:lnTo>
                  <a:cubicBezTo>
                    <a:pt x="0" y="19151"/>
                    <a:pt x="19151" y="0"/>
                    <a:pt x="42776" y="0"/>
                  </a:cubicBezTo>
                  <a:close/>
                </a:path>
              </a:pathLst>
            </a:custGeom>
            <a:solidFill>
              <a:srgbClr val="7186A0"/>
            </a:solidFill>
            <a:ln w="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05561C5-611C-F5C0-4F67-44E0E3FCFD2B}"/>
                </a:ext>
              </a:extLst>
            </p:cNvPr>
            <p:cNvSpPr/>
            <p:nvPr/>
          </p:nvSpPr>
          <p:spPr>
            <a:xfrm>
              <a:off x="9197594" y="4043330"/>
              <a:ext cx="455407" cy="391721"/>
            </a:xfrm>
            <a:custGeom>
              <a:avLst/>
              <a:gdLst>
                <a:gd name="connsiteX0" fmla="*/ 0 w 513523"/>
                <a:gd name="connsiteY0" fmla="*/ 0 h 441710"/>
                <a:gd name="connsiteX1" fmla="*/ 513524 w 513523"/>
                <a:gd name="connsiteY1" fmla="*/ 0 h 441710"/>
                <a:gd name="connsiteX2" fmla="*/ 513524 w 513523"/>
                <a:gd name="connsiteY2" fmla="*/ 441710 h 441710"/>
                <a:gd name="connsiteX3" fmla="*/ 0 w 513523"/>
                <a:gd name="connsiteY3" fmla="*/ 283588 h 441710"/>
                <a:gd name="connsiteX4" fmla="*/ 0 w 513523"/>
                <a:gd name="connsiteY4" fmla="*/ 0 h 441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523" h="441710">
                  <a:moveTo>
                    <a:pt x="0" y="0"/>
                  </a:moveTo>
                  <a:lnTo>
                    <a:pt x="513524" y="0"/>
                  </a:lnTo>
                  <a:lnTo>
                    <a:pt x="513524" y="441710"/>
                  </a:lnTo>
                  <a:cubicBezTo>
                    <a:pt x="252139" y="441710"/>
                    <a:pt x="237029" y="292503"/>
                    <a:pt x="0" y="283588"/>
                  </a:cubicBezTo>
                  <a:lnTo>
                    <a:pt x="0" y="0"/>
                  </a:lnTo>
                  <a:close/>
                </a:path>
              </a:pathLst>
            </a:custGeom>
            <a:solidFill>
              <a:srgbClr val="8B9CB1"/>
            </a:solidFill>
            <a:ln w="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C45F4F4-70DB-191E-ABC6-1BD34068E5AE}"/>
                </a:ext>
              </a:extLst>
            </p:cNvPr>
            <p:cNvSpPr/>
            <p:nvPr/>
          </p:nvSpPr>
          <p:spPr>
            <a:xfrm>
              <a:off x="8508684" y="2738508"/>
              <a:ext cx="183719" cy="467402"/>
            </a:xfrm>
            <a:custGeom>
              <a:avLst/>
              <a:gdLst>
                <a:gd name="connsiteX0" fmla="*/ 0 w 207164"/>
                <a:gd name="connsiteY0" fmla="*/ 0 h 527049"/>
                <a:gd name="connsiteX1" fmla="*/ 207164 w 207164"/>
                <a:gd name="connsiteY1" fmla="*/ 0 h 527049"/>
                <a:gd name="connsiteX2" fmla="*/ 207164 w 207164"/>
                <a:gd name="connsiteY2" fmla="*/ 527049 h 527049"/>
                <a:gd name="connsiteX3" fmla="*/ 0 w 207164"/>
                <a:gd name="connsiteY3" fmla="*/ 527049 h 527049"/>
                <a:gd name="connsiteX4" fmla="*/ 0 w 207164"/>
                <a:gd name="connsiteY4" fmla="*/ 0 h 527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164" h="527049">
                  <a:moveTo>
                    <a:pt x="0" y="0"/>
                  </a:moveTo>
                  <a:lnTo>
                    <a:pt x="207164" y="0"/>
                  </a:lnTo>
                  <a:lnTo>
                    <a:pt x="207164" y="527049"/>
                  </a:lnTo>
                  <a:lnTo>
                    <a:pt x="0" y="527049"/>
                  </a:lnTo>
                  <a:lnTo>
                    <a:pt x="0" y="0"/>
                  </a:lnTo>
                  <a:close/>
                </a:path>
              </a:pathLst>
            </a:custGeom>
            <a:solidFill>
              <a:srgbClr val="3E5571"/>
            </a:solidFill>
            <a:ln w="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3D15A906-109C-D859-EDCD-DA130CD16A3A}"/>
                </a:ext>
              </a:extLst>
            </p:cNvPr>
            <p:cNvSpPr/>
            <p:nvPr/>
          </p:nvSpPr>
          <p:spPr>
            <a:xfrm>
              <a:off x="8774186" y="3211950"/>
              <a:ext cx="698094" cy="586680"/>
            </a:xfrm>
            <a:custGeom>
              <a:avLst/>
              <a:gdLst>
                <a:gd name="connsiteX0" fmla="*/ 0 w 787180"/>
                <a:gd name="connsiteY0" fmla="*/ 0 h 661548"/>
                <a:gd name="connsiteX1" fmla="*/ 787181 w 787180"/>
                <a:gd name="connsiteY1" fmla="*/ 0 h 661548"/>
                <a:gd name="connsiteX2" fmla="*/ 787181 w 787180"/>
                <a:gd name="connsiteY2" fmla="*/ 581364 h 661548"/>
                <a:gd name="connsiteX3" fmla="*/ 270630 w 787180"/>
                <a:gd name="connsiteY3" fmla="*/ 661549 h 661548"/>
                <a:gd name="connsiteX4" fmla="*/ 0 w 787180"/>
                <a:gd name="connsiteY4" fmla="*/ 0 h 66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180" h="661548">
                  <a:moveTo>
                    <a:pt x="0" y="0"/>
                  </a:moveTo>
                  <a:lnTo>
                    <a:pt x="787181" y="0"/>
                  </a:lnTo>
                  <a:lnTo>
                    <a:pt x="787181" y="581364"/>
                  </a:lnTo>
                  <a:lnTo>
                    <a:pt x="270630" y="661549"/>
                  </a:lnTo>
                  <a:lnTo>
                    <a:pt x="0" y="0"/>
                  </a:lnTo>
                  <a:close/>
                </a:path>
              </a:pathLst>
            </a:custGeom>
            <a:solidFill>
              <a:srgbClr val="7186A0"/>
            </a:solidFill>
            <a:ln w="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C82A3CD3-44DB-75DE-A90E-D986FED81232}"/>
                </a:ext>
              </a:extLst>
            </p:cNvPr>
            <p:cNvSpPr/>
            <p:nvPr/>
          </p:nvSpPr>
          <p:spPr>
            <a:xfrm>
              <a:off x="9067537" y="3611556"/>
              <a:ext cx="586575" cy="453331"/>
            </a:xfrm>
            <a:custGeom>
              <a:avLst/>
              <a:gdLst>
                <a:gd name="connsiteX0" fmla="*/ 661407 w 661430"/>
                <a:gd name="connsiteY0" fmla="*/ 0 h 511182"/>
                <a:gd name="connsiteX1" fmla="*/ 661407 w 661430"/>
                <a:gd name="connsiteY1" fmla="*/ 511183 h 511182"/>
                <a:gd name="connsiteX2" fmla="*/ 140316 w 661430"/>
                <a:gd name="connsiteY2" fmla="*/ 511183 h 511182"/>
                <a:gd name="connsiteX3" fmla="*/ 0 w 661430"/>
                <a:gd name="connsiteY3" fmla="*/ 370866 h 511182"/>
                <a:gd name="connsiteX4" fmla="*/ 0 w 661430"/>
                <a:gd name="connsiteY4" fmla="*/ 0 h 511182"/>
                <a:gd name="connsiteX5" fmla="*/ 661431 w 661430"/>
                <a:gd name="connsiteY5" fmla="*/ 0 h 51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1430" h="511182">
                  <a:moveTo>
                    <a:pt x="661407" y="0"/>
                  </a:moveTo>
                  <a:lnTo>
                    <a:pt x="661407" y="511183"/>
                  </a:lnTo>
                  <a:lnTo>
                    <a:pt x="140316" y="511183"/>
                  </a:lnTo>
                  <a:cubicBezTo>
                    <a:pt x="62568" y="511183"/>
                    <a:pt x="0" y="448591"/>
                    <a:pt x="0" y="370866"/>
                  </a:cubicBezTo>
                  <a:lnTo>
                    <a:pt x="0" y="0"/>
                  </a:lnTo>
                  <a:lnTo>
                    <a:pt x="661431" y="0"/>
                  </a:lnTo>
                  <a:close/>
                </a:path>
              </a:pathLst>
            </a:custGeom>
            <a:solidFill>
              <a:srgbClr val="7186A0"/>
            </a:solidFill>
            <a:ln w="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65C6F893-8891-83D1-B2FF-3651D3100995}"/>
                </a:ext>
              </a:extLst>
            </p:cNvPr>
            <p:cNvSpPr/>
            <p:nvPr/>
          </p:nvSpPr>
          <p:spPr>
            <a:xfrm>
              <a:off x="8619805" y="2594947"/>
              <a:ext cx="1131253" cy="129217"/>
            </a:xfrm>
            <a:custGeom>
              <a:avLst/>
              <a:gdLst>
                <a:gd name="connsiteX0" fmla="*/ 0 w 1275616"/>
                <a:gd name="connsiteY0" fmla="*/ 95625 h 145707"/>
                <a:gd name="connsiteX1" fmla="*/ 60960 w 1275616"/>
                <a:gd name="connsiteY1" fmla="*/ 126318 h 145707"/>
                <a:gd name="connsiteX2" fmla="*/ 1186896 w 1275616"/>
                <a:gd name="connsiteY2" fmla="*/ 145708 h 145707"/>
                <a:gd name="connsiteX3" fmla="*/ 1275616 w 1275616"/>
                <a:gd name="connsiteY3" fmla="*/ 95625 h 145707"/>
                <a:gd name="connsiteX4" fmla="*/ 1166418 w 1275616"/>
                <a:gd name="connsiteY4" fmla="*/ 0 h 145707"/>
                <a:gd name="connsiteX5" fmla="*/ 109198 w 1275616"/>
                <a:gd name="connsiteY5" fmla="*/ 0 h 145707"/>
                <a:gd name="connsiteX6" fmla="*/ 0 w 1275616"/>
                <a:gd name="connsiteY6" fmla="*/ 95625 h 145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16" h="145707">
                  <a:moveTo>
                    <a:pt x="0" y="95625"/>
                  </a:moveTo>
                  <a:lnTo>
                    <a:pt x="60960" y="126318"/>
                  </a:lnTo>
                  <a:lnTo>
                    <a:pt x="1186896" y="145708"/>
                  </a:lnTo>
                  <a:lnTo>
                    <a:pt x="1275616" y="95625"/>
                  </a:lnTo>
                  <a:lnTo>
                    <a:pt x="1166418" y="0"/>
                  </a:lnTo>
                  <a:lnTo>
                    <a:pt x="109198" y="0"/>
                  </a:lnTo>
                  <a:lnTo>
                    <a:pt x="0" y="95625"/>
                  </a:lnTo>
                  <a:close/>
                </a:path>
              </a:pathLst>
            </a:custGeom>
            <a:solidFill>
              <a:srgbClr val="576A82"/>
            </a:solidFill>
            <a:ln w="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5AF9C424-5EC3-838C-58AD-6192D615544E}"/>
                </a:ext>
              </a:extLst>
            </p:cNvPr>
            <p:cNvSpPr/>
            <p:nvPr/>
          </p:nvSpPr>
          <p:spPr>
            <a:xfrm>
              <a:off x="8621189" y="3234786"/>
              <a:ext cx="1131253" cy="123219"/>
            </a:xfrm>
            <a:custGeom>
              <a:avLst/>
              <a:gdLst>
                <a:gd name="connsiteX0" fmla="*/ 0 w 1275616"/>
                <a:gd name="connsiteY0" fmla="*/ 43320 h 138944"/>
                <a:gd name="connsiteX1" fmla="*/ 98486 w 1275616"/>
                <a:gd name="connsiteY1" fmla="*/ 2388 h 138944"/>
                <a:gd name="connsiteX2" fmla="*/ 1190135 w 1275616"/>
                <a:gd name="connsiteY2" fmla="*/ 0 h 138944"/>
                <a:gd name="connsiteX3" fmla="*/ 1275616 w 1275616"/>
                <a:gd name="connsiteY3" fmla="*/ 43320 h 138944"/>
                <a:gd name="connsiteX4" fmla="*/ 1166418 w 1275616"/>
                <a:gd name="connsiteY4" fmla="*/ 138945 h 138944"/>
                <a:gd name="connsiteX5" fmla="*/ 109198 w 1275616"/>
                <a:gd name="connsiteY5" fmla="*/ 138945 h 138944"/>
                <a:gd name="connsiteX6" fmla="*/ 0 w 1275616"/>
                <a:gd name="connsiteY6" fmla="*/ 43320 h 13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616" h="138944">
                  <a:moveTo>
                    <a:pt x="0" y="43320"/>
                  </a:moveTo>
                  <a:lnTo>
                    <a:pt x="98486" y="2388"/>
                  </a:lnTo>
                  <a:lnTo>
                    <a:pt x="1190135" y="0"/>
                  </a:lnTo>
                  <a:lnTo>
                    <a:pt x="1275616" y="43320"/>
                  </a:lnTo>
                  <a:lnTo>
                    <a:pt x="1166418" y="138945"/>
                  </a:lnTo>
                  <a:lnTo>
                    <a:pt x="109198" y="138945"/>
                  </a:lnTo>
                  <a:lnTo>
                    <a:pt x="0" y="43320"/>
                  </a:lnTo>
                  <a:close/>
                </a:path>
              </a:pathLst>
            </a:custGeom>
            <a:solidFill>
              <a:srgbClr val="576A82"/>
            </a:solidFill>
            <a:ln w="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D8B0A8BB-128A-8FE9-83B9-A5CEA5938B6B}"/>
                </a:ext>
              </a:extLst>
            </p:cNvPr>
            <p:cNvSpPr/>
            <p:nvPr/>
          </p:nvSpPr>
          <p:spPr>
            <a:xfrm>
              <a:off x="9121850" y="3854326"/>
              <a:ext cx="160002" cy="160002"/>
            </a:xfrm>
            <a:custGeom>
              <a:avLst/>
              <a:gdLst>
                <a:gd name="connsiteX0" fmla="*/ 180420 w 180420"/>
                <a:gd name="connsiteY0" fmla="*/ 90210 h 180420"/>
                <a:gd name="connsiteX1" fmla="*/ 90210 w 180420"/>
                <a:gd name="connsiteY1" fmla="*/ 180420 h 180420"/>
                <a:gd name="connsiteX2" fmla="*/ 0 w 180420"/>
                <a:gd name="connsiteY2" fmla="*/ 90210 h 180420"/>
                <a:gd name="connsiteX3" fmla="*/ 90210 w 180420"/>
                <a:gd name="connsiteY3" fmla="*/ 0 h 180420"/>
                <a:gd name="connsiteX4" fmla="*/ 180420 w 180420"/>
                <a:gd name="connsiteY4" fmla="*/ 90210 h 180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420" h="180420">
                  <a:moveTo>
                    <a:pt x="180420" y="90210"/>
                  </a:moveTo>
                  <a:cubicBezTo>
                    <a:pt x="180420" y="140033"/>
                    <a:pt x="140033" y="180420"/>
                    <a:pt x="90210" y="180420"/>
                  </a:cubicBezTo>
                  <a:cubicBezTo>
                    <a:pt x="40388" y="180420"/>
                    <a:pt x="0" y="140033"/>
                    <a:pt x="0" y="90210"/>
                  </a:cubicBezTo>
                  <a:cubicBezTo>
                    <a:pt x="0" y="40388"/>
                    <a:pt x="40388" y="0"/>
                    <a:pt x="90210" y="0"/>
                  </a:cubicBezTo>
                  <a:cubicBezTo>
                    <a:pt x="140033" y="0"/>
                    <a:pt x="180420" y="40388"/>
                    <a:pt x="180420" y="90210"/>
                  </a:cubicBezTo>
                  <a:close/>
                </a:path>
              </a:pathLst>
            </a:custGeom>
            <a:solidFill>
              <a:srgbClr val="FFFFFF"/>
            </a:solidFill>
            <a:ln w="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2D64869-DE39-0A1E-E604-35C16C8F21AE}"/>
                </a:ext>
              </a:extLst>
            </p:cNvPr>
            <p:cNvSpPr/>
            <p:nvPr/>
          </p:nvSpPr>
          <p:spPr>
            <a:xfrm>
              <a:off x="8619805" y="2679750"/>
              <a:ext cx="1179651" cy="593474"/>
            </a:xfrm>
            <a:custGeom>
              <a:avLst/>
              <a:gdLst>
                <a:gd name="connsiteX0" fmla="*/ 0 w 1330191"/>
                <a:gd name="connsiteY0" fmla="*/ 0 h 669210"/>
                <a:gd name="connsiteX1" fmla="*/ 1330191 w 1330191"/>
                <a:gd name="connsiteY1" fmla="*/ 0 h 669210"/>
                <a:gd name="connsiteX2" fmla="*/ 1330191 w 1330191"/>
                <a:gd name="connsiteY2" fmla="*/ 669210 h 669210"/>
                <a:gd name="connsiteX3" fmla="*/ 0 w 1330191"/>
                <a:gd name="connsiteY3" fmla="*/ 669210 h 669210"/>
                <a:gd name="connsiteX4" fmla="*/ 0 w 1330191"/>
                <a:gd name="connsiteY4" fmla="*/ 0 h 669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191" h="669210">
                  <a:moveTo>
                    <a:pt x="0" y="0"/>
                  </a:moveTo>
                  <a:lnTo>
                    <a:pt x="1330191" y="0"/>
                  </a:lnTo>
                  <a:lnTo>
                    <a:pt x="1330191" y="669210"/>
                  </a:lnTo>
                  <a:lnTo>
                    <a:pt x="0" y="669210"/>
                  </a:lnTo>
                  <a:lnTo>
                    <a:pt x="0" y="0"/>
                  </a:lnTo>
                  <a:close/>
                </a:path>
              </a:pathLst>
            </a:custGeom>
            <a:solidFill>
              <a:srgbClr val="7186A0"/>
            </a:solidFill>
            <a:ln w="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E6FFAC1-BBF7-C4E1-1613-28FA3097278A}"/>
                </a:ext>
              </a:extLst>
            </p:cNvPr>
            <p:cNvSpPr/>
            <p:nvPr/>
          </p:nvSpPr>
          <p:spPr>
            <a:xfrm>
              <a:off x="8833154" y="3431276"/>
              <a:ext cx="681528" cy="80001"/>
            </a:xfrm>
            <a:custGeom>
              <a:avLst/>
              <a:gdLst>
                <a:gd name="connsiteX0" fmla="*/ 0 w 768500"/>
                <a:gd name="connsiteY0" fmla="*/ 0 h 90210"/>
                <a:gd name="connsiteX1" fmla="*/ 768500 w 768500"/>
                <a:gd name="connsiteY1" fmla="*/ 0 h 90210"/>
                <a:gd name="connsiteX2" fmla="*/ 768500 w 768500"/>
                <a:gd name="connsiteY2" fmla="*/ 90210 h 90210"/>
                <a:gd name="connsiteX3" fmla="*/ 0 w 768500"/>
                <a:gd name="connsiteY3" fmla="*/ 90210 h 90210"/>
                <a:gd name="connsiteX4" fmla="*/ 0 w 768500"/>
                <a:gd name="connsiteY4" fmla="*/ 0 h 90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0" h="90210">
                  <a:moveTo>
                    <a:pt x="0" y="0"/>
                  </a:moveTo>
                  <a:lnTo>
                    <a:pt x="768500" y="0"/>
                  </a:lnTo>
                  <a:lnTo>
                    <a:pt x="768500" y="90210"/>
                  </a:lnTo>
                  <a:lnTo>
                    <a:pt x="0" y="90210"/>
                  </a:lnTo>
                  <a:lnTo>
                    <a:pt x="0" y="0"/>
                  </a:lnTo>
                  <a:close/>
                </a:path>
              </a:pathLst>
            </a:custGeom>
            <a:solidFill>
              <a:srgbClr val="576A82"/>
            </a:solidFill>
            <a:ln w="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5465ECE-B571-8281-3062-159475513123}"/>
                </a:ext>
              </a:extLst>
            </p:cNvPr>
            <p:cNvSpPr/>
            <p:nvPr/>
          </p:nvSpPr>
          <p:spPr>
            <a:xfrm>
              <a:off x="8900846" y="3582407"/>
              <a:ext cx="681528" cy="80001"/>
            </a:xfrm>
            <a:custGeom>
              <a:avLst/>
              <a:gdLst>
                <a:gd name="connsiteX0" fmla="*/ 0 w 768500"/>
                <a:gd name="connsiteY0" fmla="*/ 0 h 90210"/>
                <a:gd name="connsiteX1" fmla="*/ 768500 w 768500"/>
                <a:gd name="connsiteY1" fmla="*/ 0 h 90210"/>
                <a:gd name="connsiteX2" fmla="*/ 768500 w 768500"/>
                <a:gd name="connsiteY2" fmla="*/ 90210 h 90210"/>
                <a:gd name="connsiteX3" fmla="*/ 0 w 768500"/>
                <a:gd name="connsiteY3" fmla="*/ 90210 h 90210"/>
                <a:gd name="connsiteX4" fmla="*/ 0 w 768500"/>
                <a:gd name="connsiteY4" fmla="*/ 0 h 90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0" h="90210">
                  <a:moveTo>
                    <a:pt x="0" y="0"/>
                  </a:moveTo>
                  <a:lnTo>
                    <a:pt x="768500" y="0"/>
                  </a:lnTo>
                  <a:lnTo>
                    <a:pt x="768500" y="90210"/>
                  </a:lnTo>
                  <a:lnTo>
                    <a:pt x="0" y="90210"/>
                  </a:lnTo>
                  <a:lnTo>
                    <a:pt x="0" y="0"/>
                  </a:lnTo>
                  <a:close/>
                </a:path>
              </a:pathLst>
            </a:custGeom>
            <a:solidFill>
              <a:srgbClr val="576A82"/>
            </a:solidFill>
            <a:ln w="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EE87B684-059E-6DA3-EEEF-CB84530D599F}"/>
                </a:ext>
              </a:extLst>
            </p:cNvPr>
            <p:cNvSpPr/>
            <p:nvPr/>
          </p:nvSpPr>
          <p:spPr>
            <a:xfrm>
              <a:off x="8968537" y="3733518"/>
              <a:ext cx="681528" cy="80000"/>
            </a:xfrm>
            <a:custGeom>
              <a:avLst/>
              <a:gdLst>
                <a:gd name="connsiteX0" fmla="*/ 0 w 768500"/>
                <a:gd name="connsiteY0" fmla="*/ 0 h 90209"/>
                <a:gd name="connsiteX1" fmla="*/ 768500 w 768500"/>
                <a:gd name="connsiteY1" fmla="*/ 0 h 90209"/>
                <a:gd name="connsiteX2" fmla="*/ 768500 w 768500"/>
                <a:gd name="connsiteY2" fmla="*/ 90210 h 90209"/>
                <a:gd name="connsiteX3" fmla="*/ 0 w 768500"/>
                <a:gd name="connsiteY3" fmla="*/ 90210 h 90209"/>
                <a:gd name="connsiteX4" fmla="*/ 0 w 768500"/>
                <a:gd name="connsiteY4" fmla="*/ 0 h 90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500" h="90209">
                  <a:moveTo>
                    <a:pt x="0" y="0"/>
                  </a:moveTo>
                  <a:lnTo>
                    <a:pt x="768500" y="0"/>
                  </a:lnTo>
                  <a:lnTo>
                    <a:pt x="768500" y="90210"/>
                  </a:lnTo>
                  <a:lnTo>
                    <a:pt x="0" y="90210"/>
                  </a:lnTo>
                  <a:lnTo>
                    <a:pt x="0" y="0"/>
                  </a:lnTo>
                  <a:close/>
                </a:path>
              </a:pathLst>
            </a:custGeom>
            <a:solidFill>
              <a:srgbClr val="576A82"/>
            </a:solidFill>
            <a:ln w="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2456E3F-2FA0-BDDD-4BA3-26807FB5D4F6}"/>
                </a:ext>
              </a:extLst>
            </p:cNvPr>
            <p:cNvSpPr/>
            <p:nvPr/>
          </p:nvSpPr>
          <p:spPr>
            <a:xfrm>
              <a:off x="9163035" y="3895512"/>
              <a:ext cx="77631" cy="77630"/>
            </a:xfrm>
            <a:custGeom>
              <a:avLst/>
              <a:gdLst>
                <a:gd name="connsiteX0" fmla="*/ 87538 w 87538"/>
                <a:gd name="connsiteY0" fmla="*/ 43769 h 87537"/>
                <a:gd name="connsiteX1" fmla="*/ 43769 w 87538"/>
                <a:gd name="connsiteY1" fmla="*/ 87538 h 87537"/>
                <a:gd name="connsiteX2" fmla="*/ 0 w 87538"/>
                <a:gd name="connsiteY2" fmla="*/ 43769 h 87537"/>
                <a:gd name="connsiteX3" fmla="*/ 43769 w 87538"/>
                <a:gd name="connsiteY3" fmla="*/ 0 h 87537"/>
                <a:gd name="connsiteX4" fmla="*/ 87538 w 87538"/>
                <a:gd name="connsiteY4" fmla="*/ 43769 h 87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38" h="87537">
                  <a:moveTo>
                    <a:pt x="87538" y="43769"/>
                  </a:moveTo>
                  <a:cubicBezTo>
                    <a:pt x="87538" y="67935"/>
                    <a:pt x="67935" y="87538"/>
                    <a:pt x="43769" y="87538"/>
                  </a:cubicBezTo>
                  <a:cubicBezTo>
                    <a:pt x="19603" y="87538"/>
                    <a:pt x="0" y="67935"/>
                    <a:pt x="0" y="43769"/>
                  </a:cubicBezTo>
                  <a:cubicBezTo>
                    <a:pt x="0" y="19602"/>
                    <a:pt x="19603" y="0"/>
                    <a:pt x="43769" y="0"/>
                  </a:cubicBezTo>
                  <a:cubicBezTo>
                    <a:pt x="67935" y="0"/>
                    <a:pt x="87538" y="19602"/>
                    <a:pt x="87538" y="43769"/>
                  </a:cubicBezTo>
                  <a:close/>
                </a:path>
              </a:pathLst>
            </a:custGeom>
            <a:solidFill>
              <a:srgbClr val="576A82"/>
            </a:solidFill>
            <a:ln w="0" cap="flat">
              <a:noFill/>
              <a:prstDash val="solid"/>
              <a:miter/>
            </a:ln>
          </p:spPr>
          <p:txBody>
            <a:bodyPr rtlCol="0" anchor="ctr"/>
            <a:lstStyle/>
            <a:p>
              <a:endParaRPr lang="en-US"/>
            </a:p>
          </p:txBody>
        </p:sp>
        <p:grpSp>
          <p:nvGrpSpPr>
            <p:cNvPr id="74" name="Graphic 3">
              <a:extLst>
                <a:ext uri="{FF2B5EF4-FFF2-40B4-BE49-F238E27FC236}">
                  <a16:creationId xmlns:a16="http://schemas.microsoft.com/office/drawing/2014/main" id="{2A9777F0-EE06-8BA1-D9F5-618006A2C236}"/>
                </a:ext>
              </a:extLst>
            </p:cNvPr>
            <p:cNvGrpSpPr/>
            <p:nvPr/>
          </p:nvGrpSpPr>
          <p:grpSpPr>
            <a:xfrm>
              <a:off x="8703643" y="2770341"/>
              <a:ext cx="435234" cy="435234"/>
              <a:chOff x="5285206" y="2774101"/>
              <a:chExt cx="490776" cy="490776"/>
            </a:xfrm>
            <a:solidFill>
              <a:srgbClr val="304259"/>
            </a:solidFill>
          </p:grpSpPr>
          <p:sp>
            <p:nvSpPr>
              <p:cNvPr id="394" name="Freeform: Shape 393">
                <a:extLst>
                  <a:ext uri="{FF2B5EF4-FFF2-40B4-BE49-F238E27FC236}">
                    <a16:creationId xmlns:a16="http://schemas.microsoft.com/office/drawing/2014/main" id="{A0C58477-7EAB-6AFB-39D6-68BF594C5094}"/>
                  </a:ext>
                </a:extLst>
              </p:cNvPr>
              <p:cNvSpPr/>
              <p:nvPr/>
            </p:nvSpPr>
            <p:spPr>
              <a:xfrm>
                <a:off x="5364421" y="2854403"/>
                <a:ext cx="332370" cy="332370"/>
              </a:xfrm>
              <a:custGeom>
                <a:avLst/>
                <a:gdLst>
                  <a:gd name="connsiteX0" fmla="*/ 0 w 332370"/>
                  <a:gd name="connsiteY0" fmla="*/ 0 h 332370"/>
                  <a:gd name="connsiteX1" fmla="*/ 0 w 332370"/>
                  <a:gd name="connsiteY1" fmla="*/ 332371 h 332370"/>
                  <a:gd name="connsiteX2" fmla="*/ 332371 w 332370"/>
                  <a:gd name="connsiteY2" fmla="*/ 332371 h 332370"/>
                  <a:gd name="connsiteX3" fmla="*/ 332371 w 332370"/>
                  <a:gd name="connsiteY3" fmla="*/ 0 h 332370"/>
                  <a:gd name="connsiteX4" fmla="*/ 0 w 332370"/>
                  <a:gd name="connsiteY4" fmla="*/ 0 h 33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370" h="332370">
                    <a:moveTo>
                      <a:pt x="0" y="0"/>
                    </a:moveTo>
                    <a:lnTo>
                      <a:pt x="0" y="332371"/>
                    </a:lnTo>
                    <a:lnTo>
                      <a:pt x="332371" y="332371"/>
                    </a:lnTo>
                    <a:lnTo>
                      <a:pt x="332371" y="0"/>
                    </a:lnTo>
                    <a:lnTo>
                      <a:pt x="0" y="0"/>
                    </a:lnTo>
                    <a:close/>
                  </a:path>
                </a:pathLst>
              </a:custGeom>
              <a:solidFill>
                <a:srgbClr val="304259"/>
              </a:solidFill>
              <a:ln w="0" cap="flat">
                <a:noFill/>
                <a:prstDash val="solid"/>
                <a:miter/>
              </a:ln>
            </p:spPr>
            <p:txBody>
              <a:bodyPr rtlCol="0" anchor="ctr"/>
              <a:lstStyle/>
              <a:p>
                <a:endParaRPr lang="en-US"/>
              </a:p>
            </p:txBody>
          </p:sp>
          <p:grpSp>
            <p:nvGrpSpPr>
              <p:cNvPr id="395" name="Graphic 3">
                <a:extLst>
                  <a:ext uri="{FF2B5EF4-FFF2-40B4-BE49-F238E27FC236}">
                    <a16:creationId xmlns:a16="http://schemas.microsoft.com/office/drawing/2014/main" id="{A327ACC6-0FDD-8229-3187-7E2650630496}"/>
                  </a:ext>
                </a:extLst>
              </p:cNvPr>
              <p:cNvGrpSpPr/>
              <p:nvPr/>
            </p:nvGrpSpPr>
            <p:grpSpPr>
              <a:xfrm>
                <a:off x="5285206" y="2905006"/>
                <a:ext cx="490776" cy="228942"/>
                <a:chOff x="5285206" y="2905006"/>
                <a:chExt cx="490776" cy="228942"/>
              </a:xfrm>
              <a:solidFill>
                <a:srgbClr val="304259"/>
              </a:solidFill>
            </p:grpSpPr>
            <p:sp>
              <p:nvSpPr>
                <p:cNvPr id="399" name="Freeform: Shape 398">
                  <a:extLst>
                    <a:ext uri="{FF2B5EF4-FFF2-40B4-BE49-F238E27FC236}">
                      <a16:creationId xmlns:a16="http://schemas.microsoft.com/office/drawing/2014/main" id="{3A713796-01CA-F999-D75F-C91348E00636}"/>
                    </a:ext>
                  </a:extLst>
                </p:cNvPr>
                <p:cNvSpPr/>
                <p:nvPr/>
              </p:nvSpPr>
              <p:spPr>
                <a:xfrm>
                  <a:off x="5285206" y="2905006"/>
                  <a:ext cx="61456" cy="228942"/>
                </a:xfrm>
                <a:custGeom>
                  <a:avLst/>
                  <a:gdLst>
                    <a:gd name="connsiteX0" fmla="*/ 0 w 61456"/>
                    <a:gd name="connsiteY0" fmla="*/ 0 h 228942"/>
                    <a:gd name="connsiteX1" fmla="*/ 0 w 61456"/>
                    <a:gd name="connsiteY1" fmla="*/ 31166 h 228942"/>
                    <a:gd name="connsiteX2" fmla="*/ 61456 w 61456"/>
                    <a:gd name="connsiteY2" fmla="*/ 31166 h 228942"/>
                    <a:gd name="connsiteX3" fmla="*/ 61456 w 61456"/>
                    <a:gd name="connsiteY3" fmla="*/ 0 h 228942"/>
                    <a:gd name="connsiteX4" fmla="*/ 0 w 61456"/>
                    <a:gd name="connsiteY4" fmla="*/ 0 h 228942"/>
                    <a:gd name="connsiteX5" fmla="*/ 0 w 61456"/>
                    <a:gd name="connsiteY5" fmla="*/ 65878 h 228942"/>
                    <a:gd name="connsiteX6" fmla="*/ 0 w 61456"/>
                    <a:gd name="connsiteY6" fmla="*/ 97044 h 228942"/>
                    <a:gd name="connsiteX7" fmla="*/ 61456 w 61456"/>
                    <a:gd name="connsiteY7" fmla="*/ 97044 h 228942"/>
                    <a:gd name="connsiteX8" fmla="*/ 61456 w 61456"/>
                    <a:gd name="connsiteY8" fmla="*/ 65878 h 228942"/>
                    <a:gd name="connsiteX9" fmla="*/ 0 w 61456"/>
                    <a:gd name="connsiteY9" fmla="*/ 65878 h 228942"/>
                    <a:gd name="connsiteX10" fmla="*/ 0 w 61456"/>
                    <a:gd name="connsiteY10" fmla="*/ 131827 h 228942"/>
                    <a:gd name="connsiteX11" fmla="*/ 0 w 61456"/>
                    <a:gd name="connsiteY11" fmla="*/ 163064 h 228942"/>
                    <a:gd name="connsiteX12" fmla="*/ 61456 w 61456"/>
                    <a:gd name="connsiteY12" fmla="*/ 163064 h 228942"/>
                    <a:gd name="connsiteX13" fmla="*/ 61456 w 61456"/>
                    <a:gd name="connsiteY13" fmla="*/ 131827 h 228942"/>
                    <a:gd name="connsiteX14" fmla="*/ 0 w 61456"/>
                    <a:gd name="connsiteY14" fmla="*/ 131827 h 228942"/>
                    <a:gd name="connsiteX15" fmla="*/ 0 w 61456"/>
                    <a:gd name="connsiteY15" fmla="*/ 197777 h 228942"/>
                    <a:gd name="connsiteX16" fmla="*/ 0 w 61456"/>
                    <a:gd name="connsiteY16" fmla="*/ 228942 h 228942"/>
                    <a:gd name="connsiteX17" fmla="*/ 61456 w 61456"/>
                    <a:gd name="connsiteY17" fmla="*/ 228942 h 228942"/>
                    <a:gd name="connsiteX18" fmla="*/ 61456 w 61456"/>
                    <a:gd name="connsiteY18" fmla="*/ 197777 h 228942"/>
                    <a:gd name="connsiteX19" fmla="*/ 0 w 61456"/>
                    <a:gd name="connsiteY19" fmla="*/ 197777 h 22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456" h="228942">
                      <a:moveTo>
                        <a:pt x="0" y="0"/>
                      </a:moveTo>
                      <a:lnTo>
                        <a:pt x="0" y="31166"/>
                      </a:lnTo>
                      <a:lnTo>
                        <a:pt x="61456" y="31166"/>
                      </a:lnTo>
                      <a:lnTo>
                        <a:pt x="61456" y="0"/>
                      </a:lnTo>
                      <a:lnTo>
                        <a:pt x="0" y="0"/>
                      </a:lnTo>
                      <a:close/>
                      <a:moveTo>
                        <a:pt x="0" y="65878"/>
                      </a:moveTo>
                      <a:lnTo>
                        <a:pt x="0" y="97044"/>
                      </a:lnTo>
                      <a:lnTo>
                        <a:pt x="61456" y="97044"/>
                      </a:lnTo>
                      <a:lnTo>
                        <a:pt x="61456" y="65878"/>
                      </a:lnTo>
                      <a:lnTo>
                        <a:pt x="0" y="65878"/>
                      </a:lnTo>
                      <a:close/>
                      <a:moveTo>
                        <a:pt x="0" y="131827"/>
                      </a:moveTo>
                      <a:lnTo>
                        <a:pt x="0" y="163064"/>
                      </a:lnTo>
                      <a:lnTo>
                        <a:pt x="61456" y="163064"/>
                      </a:lnTo>
                      <a:lnTo>
                        <a:pt x="61456" y="131827"/>
                      </a:lnTo>
                      <a:lnTo>
                        <a:pt x="0" y="131827"/>
                      </a:lnTo>
                      <a:close/>
                      <a:moveTo>
                        <a:pt x="0" y="197777"/>
                      </a:moveTo>
                      <a:lnTo>
                        <a:pt x="0" y="228942"/>
                      </a:lnTo>
                      <a:lnTo>
                        <a:pt x="61456" y="228942"/>
                      </a:lnTo>
                      <a:lnTo>
                        <a:pt x="61456" y="197777"/>
                      </a:lnTo>
                      <a:lnTo>
                        <a:pt x="0" y="197777"/>
                      </a:lnTo>
                      <a:close/>
                    </a:path>
                  </a:pathLst>
                </a:custGeom>
                <a:solidFill>
                  <a:srgbClr val="304259"/>
                </a:solidFill>
                <a:ln w="0" cap="flat">
                  <a:noFill/>
                  <a:prstDash val="solid"/>
                  <a:miter/>
                </a:ln>
              </p:spPr>
              <p:txBody>
                <a:bodyPr rtlCol="0" anchor="ctr"/>
                <a:lstStyle/>
                <a:p>
                  <a:endParaRPr lang="en-US"/>
                </a:p>
              </p:txBody>
            </p:sp>
            <p:sp>
              <p:nvSpPr>
                <p:cNvPr id="400" name="Freeform: Shape 399">
                  <a:extLst>
                    <a:ext uri="{FF2B5EF4-FFF2-40B4-BE49-F238E27FC236}">
                      <a16:creationId xmlns:a16="http://schemas.microsoft.com/office/drawing/2014/main" id="{6109B306-CCAB-1E30-D4DC-9C3E16BFF20C}"/>
                    </a:ext>
                  </a:extLst>
                </p:cNvPr>
                <p:cNvSpPr/>
                <p:nvPr/>
              </p:nvSpPr>
              <p:spPr>
                <a:xfrm>
                  <a:off x="5714597" y="2905006"/>
                  <a:ext cx="61385" cy="228942"/>
                </a:xfrm>
                <a:custGeom>
                  <a:avLst/>
                  <a:gdLst>
                    <a:gd name="connsiteX0" fmla="*/ 0 w 61385"/>
                    <a:gd name="connsiteY0" fmla="*/ 0 h 228942"/>
                    <a:gd name="connsiteX1" fmla="*/ 0 w 61385"/>
                    <a:gd name="connsiteY1" fmla="*/ 31166 h 228942"/>
                    <a:gd name="connsiteX2" fmla="*/ 61385 w 61385"/>
                    <a:gd name="connsiteY2" fmla="*/ 31166 h 228942"/>
                    <a:gd name="connsiteX3" fmla="*/ 61385 w 61385"/>
                    <a:gd name="connsiteY3" fmla="*/ 0 h 228942"/>
                    <a:gd name="connsiteX4" fmla="*/ 0 w 61385"/>
                    <a:gd name="connsiteY4" fmla="*/ 0 h 228942"/>
                    <a:gd name="connsiteX5" fmla="*/ 0 w 61385"/>
                    <a:gd name="connsiteY5" fmla="*/ 65878 h 228942"/>
                    <a:gd name="connsiteX6" fmla="*/ 0 w 61385"/>
                    <a:gd name="connsiteY6" fmla="*/ 97044 h 228942"/>
                    <a:gd name="connsiteX7" fmla="*/ 61385 w 61385"/>
                    <a:gd name="connsiteY7" fmla="*/ 97044 h 228942"/>
                    <a:gd name="connsiteX8" fmla="*/ 61385 w 61385"/>
                    <a:gd name="connsiteY8" fmla="*/ 65878 h 228942"/>
                    <a:gd name="connsiteX9" fmla="*/ 0 w 61385"/>
                    <a:gd name="connsiteY9" fmla="*/ 65878 h 228942"/>
                    <a:gd name="connsiteX10" fmla="*/ 0 w 61385"/>
                    <a:gd name="connsiteY10" fmla="*/ 131827 h 228942"/>
                    <a:gd name="connsiteX11" fmla="*/ 0 w 61385"/>
                    <a:gd name="connsiteY11" fmla="*/ 163064 h 228942"/>
                    <a:gd name="connsiteX12" fmla="*/ 61385 w 61385"/>
                    <a:gd name="connsiteY12" fmla="*/ 163064 h 228942"/>
                    <a:gd name="connsiteX13" fmla="*/ 61385 w 61385"/>
                    <a:gd name="connsiteY13" fmla="*/ 131827 h 228942"/>
                    <a:gd name="connsiteX14" fmla="*/ 0 w 61385"/>
                    <a:gd name="connsiteY14" fmla="*/ 131827 h 228942"/>
                    <a:gd name="connsiteX15" fmla="*/ 0 w 61385"/>
                    <a:gd name="connsiteY15" fmla="*/ 197777 h 228942"/>
                    <a:gd name="connsiteX16" fmla="*/ 0 w 61385"/>
                    <a:gd name="connsiteY16" fmla="*/ 228942 h 228942"/>
                    <a:gd name="connsiteX17" fmla="*/ 61385 w 61385"/>
                    <a:gd name="connsiteY17" fmla="*/ 228942 h 228942"/>
                    <a:gd name="connsiteX18" fmla="*/ 61385 w 61385"/>
                    <a:gd name="connsiteY18" fmla="*/ 197777 h 228942"/>
                    <a:gd name="connsiteX19" fmla="*/ 0 w 61385"/>
                    <a:gd name="connsiteY19" fmla="*/ 197777 h 22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385" h="228942">
                      <a:moveTo>
                        <a:pt x="0" y="0"/>
                      </a:moveTo>
                      <a:lnTo>
                        <a:pt x="0" y="31166"/>
                      </a:lnTo>
                      <a:lnTo>
                        <a:pt x="61385" y="31166"/>
                      </a:lnTo>
                      <a:lnTo>
                        <a:pt x="61385" y="0"/>
                      </a:lnTo>
                      <a:lnTo>
                        <a:pt x="0" y="0"/>
                      </a:lnTo>
                      <a:close/>
                      <a:moveTo>
                        <a:pt x="0" y="65878"/>
                      </a:moveTo>
                      <a:lnTo>
                        <a:pt x="0" y="97044"/>
                      </a:lnTo>
                      <a:lnTo>
                        <a:pt x="61385" y="97044"/>
                      </a:lnTo>
                      <a:lnTo>
                        <a:pt x="61385" y="65878"/>
                      </a:lnTo>
                      <a:lnTo>
                        <a:pt x="0" y="65878"/>
                      </a:lnTo>
                      <a:close/>
                      <a:moveTo>
                        <a:pt x="0" y="131827"/>
                      </a:moveTo>
                      <a:lnTo>
                        <a:pt x="0" y="163064"/>
                      </a:lnTo>
                      <a:lnTo>
                        <a:pt x="61385" y="163064"/>
                      </a:lnTo>
                      <a:lnTo>
                        <a:pt x="61385" y="131827"/>
                      </a:lnTo>
                      <a:lnTo>
                        <a:pt x="0" y="131827"/>
                      </a:lnTo>
                      <a:close/>
                      <a:moveTo>
                        <a:pt x="0" y="197777"/>
                      </a:moveTo>
                      <a:lnTo>
                        <a:pt x="0" y="228942"/>
                      </a:lnTo>
                      <a:lnTo>
                        <a:pt x="61385" y="228942"/>
                      </a:lnTo>
                      <a:lnTo>
                        <a:pt x="61385" y="197777"/>
                      </a:lnTo>
                      <a:lnTo>
                        <a:pt x="0" y="197777"/>
                      </a:lnTo>
                      <a:close/>
                    </a:path>
                  </a:pathLst>
                </a:custGeom>
                <a:solidFill>
                  <a:srgbClr val="304259"/>
                </a:solidFill>
                <a:ln w="0" cap="flat">
                  <a:noFill/>
                  <a:prstDash val="solid"/>
                  <a:miter/>
                </a:ln>
              </p:spPr>
              <p:txBody>
                <a:bodyPr rtlCol="0" anchor="ctr"/>
                <a:lstStyle/>
                <a:p>
                  <a:endParaRPr lang="en-US"/>
                </a:p>
              </p:txBody>
            </p:sp>
          </p:grpSp>
          <p:grpSp>
            <p:nvGrpSpPr>
              <p:cNvPr id="396" name="Graphic 3">
                <a:extLst>
                  <a:ext uri="{FF2B5EF4-FFF2-40B4-BE49-F238E27FC236}">
                    <a16:creationId xmlns:a16="http://schemas.microsoft.com/office/drawing/2014/main" id="{D6873096-F025-A6E8-BA8E-0E18C9AD3A66}"/>
                  </a:ext>
                </a:extLst>
              </p:cNvPr>
              <p:cNvGrpSpPr/>
              <p:nvPr/>
            </p:nvGrpSpPr>
            <p:grpSpPr>
              <a:xfrm>
                <a:off x="5416112" y="2774101"/>
                <a:ext cx="228942" cy="490776"/>
                <a:chOff x="5416112" y="2774101"/>
                <a:chExt cx="228942" cy="490776"/>
              </a:xfrm>
              <a:solidFill>
                <a:srgbClr val="304259"/>
              </a:solidFill>
            </p:grpSpPr>
            <p:sp>
              <p:nvSpPr>
                <p:cNvPr id="397" name="Freeform: Shape 396">
                  <a:extLst>
                    <a:ext uri="{FF2B5EF4-FFF2-40B4-BE49-F238E27FC236}">
                      <a16:creationId xmlns:a16="http://schemas.microsoft.com/office/drawing/2014/main" id="{5A3CF567-4068-F2DE-D287-630DE9085DF1}"/>
                    </a:ext>
                  </a:extLst>
                </p:cNvPr>
                <p:cNvSpPr/>
                <p:nvPr/>
              </p:nvSpPr>
              <p:spPr>
                <a:xfrm>
                  <a:off x="5416112" y="3203420"/>
                  <a:ext cx="228942" cy="61456"/>
                </a:xfrm>
                <a:custGeom>
                  <a:avLst/>
                  <a:gdLst>
                    <a:gd name="connsiteX0" fmla="*/ 0 w 228942"/>
                    <a:gd name="connsiteY0" fmla="*/ 61456 h 61456"/>
                    <a:gd name="connsiteX1" fmla="*/ 31166 w 228942"/>
                    <a:gd name="connsiteY1" fmla="*/ 61456 h 61456"/>
                    <a:gd name="connsiteX2" fmla="*/ 31166 w 228942"/>
                    <a:gd name="connsiteY2" fmla="*/ 0 h 61456"/>
                    <a:gd name="connsiteX3" fmla="*/ 0 w 228942"/>
                    <a:gd name="connsiteY3" fmla="*/ 0 h 61456"/>
                    <a:gd name="connsiteX4" fmla="*/ 0 w 228942"/>
                    <a:gd name="connsiteY4" fmla="*/ 61456 h 61456"/>
                    <a:gd name="connsiteX5" fmla="*/ 65878 w 228942"/>
                    <a:gd name="connsiteY5" fmla="*/ 61456 h 61456"/>
                    <a:gd name="connsiteX6" fmla="*/ 97044 w 228942"/>
                    <a:gd name="connsiteY6" fmla="*/ 61456 h 61456"/>
                    <a:gd name="connsiteX7" fmla="*/ 97044 w 228942"/>
                    <a:gd name="connsiteY7" fmla="*/ 0 h 61456"/>
                    <a:gd name="connsiteX8" fmla="*/ 65878 w 228942"/>
                    <a:gd name="connsiteY8" fmla="*/ 0 h 61456"/>
                    <a:gd name="connsiteX9" fmla="*/ 65878 w 228942"/>
                    <a:gd name="connsiteY9" fmla="*/ 61456 h 61456"/>
                    <a:gd name="connsiteX10" fmla="*/ 131827 w 228942"/>
                    <a:gd name="connsiteY10" fmla="*/ 61456 h 61456"/>
                    <a:gd name="connsiteX11" fmla="*/ 163064 w 228942"/>
                    <a:gd name="connsiteY11" fmla="*/ 61456 h 61456"/>
                    <a:gd name="connsiteX12" fmla="*/ 163064 w 228942"/>
                    <a:gd name="connsiteY12" fmla="*/ 0 h 61456"/>
                    <a:gd name="connsiteX13" fmla="*/ 131827 w 228942"/>
                    <a:gd name="connsiteY13" fmla="*/ 0 h 61456"/>
                    <a:gd name="connsiteX14" fmla="*/ 131827 w 228942"/>
                    <a:gd name="connsiteY14" fmla="*/ 61456 h 61456"/>
                    <a:gd name="connsiteX15" fmla="*/ 197777 w 228942"/>
                    <a:gd name="connsiteY15" fmla="*/ 61456 h 61456"/>
                    <a:gd name="connsiteX16" fmla="*/ 228942 w 228942"/>
                    <a:gd name="connsiteY16" fmla="*/ 61456 h 61456"/>
                    <a:gd name="connsiteX17" fmla="*/ 228942 w 228942"/>
                    <a:gd name="connsiteY17" fmla="*/ 0 h 61456"/>
                    <a:gd name="connsiteX18" fmla="*/ 197777 w 228942"/>
                    <a:gd name="connsiteY18" fmla="*/ 0 h 61456"/>
                    <a:gd name="connsiteX19" fmla="*/ 197777 w 228942"/>
                    <a:gd name="connsiteY19" fmla="*/ 61456 h 6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942" h="61456">
                      <a:moveTo>
                        <a:pt x="0" y="61456"/>
                      </a:moveTo>
                      <a:lnTo>
                        <a:pt x="31166" y="61456"/>
                      </a:lnTo>
                      <a:lnTo>
                        <a:pt x="31166" y="0"/>
                      </a:lnTo>
                      <a:lnTo>
                        <a:pt x="0" y="0"/>
                      </a:lnTo>
                      <a:lnTo>
                        <a:pt x="0" y="61456"/>
                      </a:lnTo>
                      <a:close/>
                      <a:moveTo>
                        <a:pt x="65878" y="61456"/>
                      </a:moveTo>
                      <a:lnTo>
                        <a:pt x="97044" y="61456"/>
                      </a:lnTo>
                      <a:lnTo>
                        <a:pt x="97044" y="0"/>
                      </a:lnTo>
                      <a:lnTo>
                        <a:pt x="65878" y="0"/>
                      </a:lnTo>
                      <a:lnTo>
                        <a:pt x="65878" y="61456"/>
                      </a:lnTo>
                      <a:close/>
                      <a:moveTo>
                        <a:pt x="131827" y="61456"/>
                      </a:moveTo>
                      <a:lnTo>
                        <a:pt x="163064" y="61456"/>
                      </a:lnTo>
                      <a:lnTo>
                        <a:pt x="163064" y="0"/>
                      </a:lnTo>
                      <a:lnTo>
                        <a:pt x="131827" y="0"/>
                      </a:lnTo>
                      <a:lnTo>
                        <a:pt x="131827" y="61456"/>
                      </a:lnTo>
                      <a:close/>
                      <a:moveTo>
                        <a:pt x="197777" y="61456"/>
                      </a:moveTo>
                      <a:lnTo>
                        <a:pt x="228942" y="61456"/>
                      </a:lnTo>
                      <a:lnTo>
                        <a:pt x="228942" y="0"/>
                      </a:lnTo>
                      <a:lnTo>
                        <a:pt x="197777" y="0"/>
                      </a:lnTo>
                      <a:lnTo>
                        <a:pt x="197777" y="61456"/>
                      </a:lnTo>
                      <a:close/>
                    </a:path>
                  </a:pathLst>
                </a:custGeom>
                <a:solidFill>
                  <a:srgbClr val="304259"/>
                </a:solidFill>
                <a:ln w="0" cap="flat">
                  <a:noFill/>
                  <a:prstDash val="solid"/>
                  <a:miter/>
                </a:ln>
              </p:spPr>
              <p:txBody>
                <a:bodyPr rtlCol="0" anchor="ctr"/>
                <a:lstStyle/>
                <a:p>
                  <a:endParaRPr lang="en-US"/>
                </a:p>
              </p:txBody>
            </p:sp>
            <p:sp>
              <p:nvSpPr>
                <p:cNvPr id="398" name="Freeform: Shape 397">
                  <a:extLst>
                    <a:ext uri="{FF2B5EF4-FFF2-40B4-BE49-F238E27FC236}">
                      <a16:creationId xmlns:a16="http://schemas.microsoft.com/office/drawing/2014/main" id="{106D6D55-CD8F-78AE-987A-C39AEC12B3FC}"/>
                    </a:ext>
                  </a:extLst>
                </p:cNvPr>
                <p:cNvSpPr/>
                <p:nvPr/>
              </p:nvSpPr>
              <p:spPr>
                <a:xfrm>
                  <a:off x="5416112" y="2774101"/>
                  <a:ext cx="228942" cy="61385"/>
                </a:xfrm>
                <a:custGeom>
                  <a:avLst/>
                  <a:gdLst>
                    <a:gd name="connsiteX0" fmla="*/ 0 w 228942"/>
                    <a:gd name="connsiteY0" fmla="*/ 61385 h 61385"/>
                    <a:gd name="connsiteX1" fmla="*/ 31166 w 228942"/>
                    <a:gd name="connsiteY1" fmla="*/ 61385 h 61385"/>
                    <a:gd name="connsiteX2" fmla="*/ 31166 w 228942"/>
                    <a:gd name="connsiteY2" fmla="*/ 0 h 61385"/>
                    <a:gd name="connsiteX3" fmla="*/ 0 w 228942"/>
                    <a:gd name="connsiteY3" fmla="*/ 0 h 61385"/>
                    <a:gd name="connsiteX4" fmla="*/ 0 w 228942"/>
                    <a:gd name="connsiteY4" fmla="*/ 61385 h 61385"/>
                    <a:gd name="connsiteX5" fmla="*/ 65878 w 228942"/>
                    <a:gd name="connsiteY5" fmla="*/ 61385 h 61385"/>
                    <a:gd name="connsiteX6" fmla="*/ 97044 w 228942"/>
                    <a:gd name="connsiteY6" fmla="*/ 61385 h 61385"/>
                    <a:gd name="connsiteX7" fmla="*/ 97044 w 228942"/>
                    <a:gd name="connsiteY7" fmla="*/ 0 h 61385"/>
                    <a:gd name="connsiteX8" fmla="*/ 65878 w 228942"/>
                    <a:gd name="connsiteY8" fmla="*/ 0 h 61385"/>
                    <a:gd name="connsiteX9" fmla="*/ 65878 w 228942"/>
                    <a:gd name="connsiteY9" fmla="*/ 61385 h 61385"/>
                    <a:gd name="connsiteX10" fmla="*/ 131827 w 228942"/>
                    <a:gd name="connsiteY10" fmla="*/ 61385 h 61385"/>
                    <a:gd name="connsiteX11" fmla="*/ 163064 w 228942"/>
                    <a:gd name="connsiteY11" fmla="*/ 61385 h 61385"/>
                    <a:gd name="connsiteX12" fmla="*/ 163064 w 228942"/>
                    <a:gd name="connsiteY12" fmla="*/ 0 h 61385"/>
                    <a:gd name="connsiteX13" fmla="*/ 131827 w 228942"/>
                    <a:gd name="connsiteY13" fmla="*/ 0 h 61385"/>
                    <a:gd name="connsiteX14" fmla="*/ 131827 w 228942"/>
                    <a:gd name="connsiteY14" fmla="*/ 61385 h 61385"/>
                    <a:gd name="connsiteX15" fmla="*/ 197777 w 228942"/>
                    <a:gd name="connsiteY15" fmla="*/ 61385 h 61385"/>
                    <a:gd name="connsiteX16" fmla="*/ 228942 w 228942"/>
                    <a:gd name="connsiteY16" fmla="*/ 61385 h 61385"/>
                    <a:gd name="connsiteX17" fmla="*/ 228942 w 228942"/>
                    <a:gd name="connsiteY17" fmla="*/ 0 h 61385"/>
                    <a:gd name="connsiteX18" fmla="*/ 197777 w 228942"/>
                    <a:gd name="connsiteY18" fmla="*/ 0 h 61385"/>
                    <a:gd name="connsiteX19" fmla="*/ 197777 w 228942"/>
                    <a:gd name="connsiteY19" fmla="*/ 61385 h 6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942" h="61385">
                      <a:moveTo>
                        <a:pt x="0" y="61385"/>
                      </a:moveTo>
                      <a:lnTo>
                        <a:pt x="31166" y="61385"/>
                      </a:lnTo>
                      <a:lnTo>
                        <a:pt x="31166" y="0"/>
                      </a:lnTo>
                      <a:lnTo>
                        <a:pt x="0" y="0"/>
                      </a:lnTo>
                      <a:lnTo>
                        <a:pt x="0" y="61385"/>
                      </a:lnTo>
                      <a:close/>
                      <a:moveTo>
                        <a:pt x="65878" y="61385"/>
                      </a:moveTo>
                      <a:lnTo>
                        <a:pt x="97044" y="61385"/>
                      </a:lnTo>
                      <a:lnTo>
                        <a:pt x="97044" y="0"/>
                      </a:lnTo>
                      <a:lnTo>
                        <a:pt x="65878" y="0"/>
                      </a:lnTo>
                      <a:lnTo>
                        <a:pt x="65878" y="61385"/>
                      </a:lnTo>
                      <a:close/>
                      <a:moveTo>
                        <a:pt x="131827" y="61385"/>
                      </a:moveTo>
                      <a:lnTo>
                        <a:pt x="163064" y="61385"/>
                      </a:lnTo>
                      <a:lnTo>
                        <a:pt x="163064" y="0"/>
                      </a:lnTo>
                      <a:lnTo>
                        <a:pt x="131827" y="0"/>
                      </a:lnTo>
                      <a:lnTo>
                        <a:pt x="131827" y="61385"/>
                      </a:lnTo>
                      <a:close/>
                      <a:moveTo>
                        <a:pt x="197777" y="61385"/>
                      </a:moveTo>
                      <a:lnTo>
                        <a:pt x="228942" y="61385"/>
                      </a:lnTo>
                      <a:lnTo>
                        <a:pt x="228942" y="0"/>
                      </a:lnTo>
                      <a:lnTo>
                        <a:pt x="197777" y="0"/>
                      </a:lnTo>
                      <a:lnTo>
                        <a:pt x="197777" y="61385"/>
                      </a:lnTo>
                      <a:close/>
                    </a:path>
                  </a:pathLst>
                </a:custGeom>
                <a:solidFill>
                  <a:srgbClr val="304259"/>
                </a:solidFill>
                <a:ln w="0" cap="flat">
                  <a:noFill/>
                  <a:prstDash val="solid"/>
                  <a:miter/>
                </a:ln>
              </p:spPr>
              <p:txBody>
                <a:bodyPr rtlCol="0" anchor="ctr"/>
                <a:lstStyle/>
                <a:p>
                  <a:endParaRPr lang="en-US"/>
                </a:p>
              </p:txBody>
            </p:sp>
          </p:grpSp>
        </p:grpSp>
        <p:sp>
          <p:nvSpPr>
            <p:cNvPr id="75" name="Freeform: Shape 74">
              <a:extLst>
                <a:ext uri="{FF2B5EF4-FFF2-40B4-BE49-F238E27FC236}">
                  <a16:creationId xmlns:a16="http://schemas.microsoft.com/office/drawing/2014/main" id="{C8F4867A-7D14-E6A8-811B-58B1C645695D}"/>
                </a:ext>
              </a:extLst>
            </p:cNvPr>
            <p:cNvSpPr/>
            <p:nvPr/>
          </p:nvSpPr>
          <p:spPr>
            <a:xfrm>
              <a:off x="9162175" y="2560011"/>
              <a:ext cx="1139283" cy="1661811"/>
            </a:xfrm>
            <a:custGeom>
              <a:avLst/>
              <a:gdLst>
                <a:gd name="connsiteX0" fmla="*/ 418206 w 1284671"/>
                <a:gd name="connsiteY0" fmla="*/ 0 h 1873881"/>
                <a:gd name="connsiteX1" fmla="*/ 0 w 1284671"/>
                <a:gd name="connsiteY1" fmla="*/ 352966 h 1873881"/>
                <a:gd name="connsiteX2" fmla="*/ 0 w 1284671"/>
                <a:gd name="connsiteY2" fmla="*/ 687063 h 1873881"/>
                <a:gd name="connsiteX3" fmla="*/ 163253 w 1284671"/>
                <a:gd name="connsiteY3" fmla="*/ 861548 h 1873881"/>
                <a:gd name="connsiteX4" fmla="*/ 170678 w 1284671"/>
                <a:gd name="connsiteY4" fmla="*/ 1290135 h 1873881"/>
                <a:gd name="connsiteX5" fmla="*/ 331117 w 1284671"/>
                <a:gd name="connsiteY5" fmla="*/ 1704274 h 1873881"/>
                <a:gd name="connsiteX6" fmla="*/ 944783 w 1284671"/>
                <a:gd name="connsiteY6" fmla="*/ 1871381 h 1873881"/>
                <a:gd name="connsiteX7" fmla="*/ 1111063 w 1284671"/>
                <a:gd name="connsiteY7" fmla="*/ 1619644 h 1873881"/>
                <a:gd name="connsiteX8" fmla="*/ 1140526 w 1284671"/>
                <a:gd name="connsiteY8" fmla="*/ 1558897 h 1873881"/>
                <a:gd name="connsiteX9" fmla="*/ 1124588 w 1284671"/>
                <a:gd name="connsiteY9" fmla="*/ 1411842 h 1873881"/>
                <a:gd name="connsiteX10" fmla="*/ 1196070 w 1284671"/>
                <a:gd name="connsiteY10" fmla="*/ 1314892 h 1873881"/>
                <a:gd name="connsiteX11" fmla="*/ 1160790 w 1284671"/>
                <a:gd name="connsiteY11" fmla="*/ 1220449 h 1873881"/>
                <a:gd name="connsiteX12" fmla="*/ 1242583 w 1284671"/>
                <a:gd name="connsiteY12" fmla="*/ 1180819 h 1873881"/>
                <a:gd name="connsiteX13" fmla="*/ 1236411 w 1284671"/>
                <a:gd name="connsiteY13" fmla="*/ 1016360 h 1873881"/>
                <a:gd name="connsiteX14" fmla="*/ 1109502 w 1284671"/>
                <a:gd name="connsiteY14" fmla="*/ 804064 h 1873881"/>
                <a:gd name="connsiteX15" fmla="*/ 1117423 w 1284671"/>
                <a:gd name="connsiteY15" fmla="*/ 674341 h 1873881"/>
                <a:gd name="connsiteX16" fmla="*/ 1154193 w 1284671"/>
                <a:gd name="connsiteY16" fmla="*/ 487868 h 1873881"/>
                <a:gd name="connsiteX17" fmla="*/ 974860 w 1284671"/>
                <a:gd name="connsiteY17" fmla="*/ 0 h 1873881"/>
                <a:gd name="connsiteX18" fmla="*/ 418159 w 1284671"/>
                <a:gd name="connsiteY18" fmla="*/ 0 h 1873881"/>
                <a:gd name="connsiteX19" fmla="*/ 418159 w 1284671"/>
                <a:gd name="connsiteY19" fmla="*/ 0 h 1873881"/>
                <a:gd name="connsiteX20" fmla="*/ 919269 w 1284671"/>
                <a:gd name="connsiteY20" fmla="*/ 711891 h 1873881"/>
                <a:gd name="connsiteX21" fmla="*/ 893447 w 1284671"/>
                <a:gd name="connsiteY21" fmla="*/ 867862 h 1873881"/>
                <a:gd name="connsiteX22" fmla="*/ 708013 w 1284671"/>
                <a:gd name="connsiteY22" fmla="*/ 765072 h 1873881"/>
                <a:gd name="connsiteX23" fmla="*/ 919269 w 1284671"/>
                <a:gd name="connsiteY23" fmla="*/ 711891 h 18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84671" h="1873881">
                  <a:moveTo>
                    <a:pt x="418206" y="0"/>
                  </a:moveTo>
                  <a:lnTo>
                    <a:pt x="0" y="352966"/>
                  </a:lnTo>
                  <a:lnTo>
                    <a:pt x="0" y="687063"/>
                  </a:lnTo>
                  <a:lnTo>
                    <a:pt x="163253" y="861548"/>
                  </a:lnTo>
                  <a:lnTo>
                    <a:pt x="170678" y="1290135"/>
                  </a:lnTo>
                  <a:cubicBezTo>
                    <a:pt x="169921" y="1447264"/>
                    <a:pt x="157814" y="1643811"/>
                    <a:pt x="331117" y="1704274"/>
                  </a:cubicBezTo>
                  <a:cubicBezTo>
                    <a:pt x="609267" y="1801318"/>
                    <a:pt x="748709" y="1890038"/>
                    <a:pt x="944783" y="1871381"/>
                  </a:cubicBezTo>
                  <a:cubicBezTo>
                    <a:pt x="1094061" y="1857193"/>
                    <a:pt x="1110897" y="1747333"/>
                    <a:pt x="1111063" y="1619644"/>
                  </a:cubicBezTo>
                  <a:cubicBezTo>
                    <a:pt x="1111110" y="1587485"/>
                    <a:pt x="1118345" y="1578311"/>
                    <a:pt x="1140526" y="1558897"/>
                  </a:cubicBezTo>
                  <a:cubicBezTo>
                    <a:pt x="1185572" y="1519455"/>
                    <a:pt x="1194652" y="1434826"/>
                    <a:pt x="1124588" y="1411842"/>
                  </a:cubicBezTo>
                  <a:cubicBezTo>
                    <a:pt x="1188078" y="1400373"/>
                    <a:pt x="1202644" y="1343268"/>
                    <a:pt x="1196070" y="1314892"/>
                  </a:cubicBezTo>
                  <a:cubicBezTo>
                    <a:pt x="1178147" y="1289520"/>
                    <a:pt x="1160814" y="1264100"/>
                    <a:pt x="1160790" y="1220449"/>
                  </a:cubicBezTo>
                  <a:lnTo>
                    <a:pt x="1242583" y="1180819"/>
                  </a:lnTo>
                  <a:cubicBezTo>
                    <a:pt x="1320875" y="1132462"/>
                    <a:pt x="1272637" y="1076988"/>
                    <a:pt x="1236411" y="1016360"/>
                  </a:cubicBezTo>
                  <a:lnTo>
                    <a:pt x="1109502" y="804064"/>
                  </a:lnTo>
                  <a:cubicBezTo>
                    <a:pt x="1083018" y="759751"/>
                    <a:pt x="1101580" y="711750"/>
                    <a:pt x="1117423" y="674341"/>
                  </a:cubicBezTo>
                  <a:cubicBezTo>
                    <a:pt x="1155636" y="584131"/>
                    <a:pt x="1163864" y="557718"/>
                    <a:pt x="1154193" y="487868"/>
                  </a:cubicBezTo>
                  <a:cubicBezTo>
                    <a:pt x="1136127" y="308937"/>
                    <a:pt x="1079660" y="144076"/>
                    <a:pt x="974860" y="0"/>
                  </a:cubicBezTo>
                  <a:lnTo>
                    <a:pt x="418159" y="0"/>
                  </a:lnTo>
                  <a:lnTo>
                    <a:pt x="418159" y="0"/>
                  </a:lnTo>
                  <a:close/>
                  <a:moveTo>
                    <a:pt x="919269" y="711891"/>
                  </a:moveTo>
                  <a:cubicBezTo>
                    <a:pt x="940786" y="749158"/>
                    <a:pt x="938304" y="832960"/>
                    <a:pt x="893447" y="867862"/>
                  </a:cubicBezTo>
                  <a:lnTo>
                    <a:pt x="708013" y="765072"/>
                  </a:lnTo>
                  <a:lnTo>
                    <a:pt x="919269" y="711891"/>
                  </a:lnTo>
                  <a:close/>
                </a:path>
              </a:pathLst>
            </a:custGeom>
            <a:solidFill>
              <a:srgbClr val="000000">
                <a:alpha val="22000"/>
              </a:srgbClr>
            </a:solidFill>
            <a:ln w="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02D75528-3C14-F13E-FDE9-F456E9D7FCF6}"/>
                </a:ext>
              </a:extLst>
            </p:cNvPr>
            <p:cNvSpPr/>
            <p:nvPr/>
          </p:nvSpPr>
          <p:spPr>
            <a:xfrm>
              <a:off x="9221374" y="2530422"/>
              <a:ext cx="1139304" cy="1661811"/>
            </a:xfrm>
            <a:custGeom>
              <a:avLst/>
              <a:gdLst>
                <a:gd name="connsiteX0" fmla="*/ 418206 w 1284695"/>
                <a:gd name="connsiteY0" fmla="*/ 0 h 1873881"/>
                <a:gd name="connsiteX1" fmla="*/ 0 w 1284695"/>
                <a:gd name="connsiteY1" fmla="*/ 352966 h 1873881"/>
                <a:gd name="connsiteX2" fmla="*/ 0 w 1284695"/>
                <a:gd name="connsiteY2" fmla="*/ 687063 h 1873881"/>
                <a:gd name="connsiteX3" fmla="*/ 163253 w 1284695"/>
                <a:gd name="connsiteY3" fmla="*/ 861548 h 1873881"/>
                <a:gd name="connsiteX4" fmla="*/ 170702 w 1284695"/>
                <a:gd name="connsiteY4" fmla="*/ 1290135 h 1873881"/>
                <a:gd name="connsiteX5" fmla="*/ 331141 w 1284695"/>
                <a:gd name="connsiteY5" fmla="*/ 1704274 h 1873881"/>
                <a:gd name="connsiteX6" fmla="*/ 944806 w 1284695"/>
                <a:gd name="connsiteY6" fmla="*/ 1871381 h 1873881"/>
                <a:gd name="connsiteX7" fmla="*/ 1111086 w 1284695"/>
                <a:gd name="connsiteY7" fmla="*/ 1619644 h 1873881"/>
                <a:gd name="connsiteX8" fmla="*/ 1140549 w 1284695"/>
                <a:gd name="connsiteY8" fmla="*/ 1558897 h 1873881"/>
                <a:gd name="connsiteX9" fmla="*/ 1124612 w 1284695"/>
                <a:gd name="connsiteY9" fmla="*/ 1411842 h 1873881"/>
                <a:gd name="connsiteX10" fmla="*/ 1196094 w 1284695"/>
                <a:gd name="connsiteY10" fmla="*/ 1314892 h 1873881"/>
                <a:gd name="connsiteX11" fmla="*/ 1160814 w 1284695"/>
                <a:gd name="connsiteY11" fmla="*/ 1220450 h 1873881"/>
                <a:gd name="connsiteX12" fmla="*/ 1242606 w 1284695"/>
                <a:gd name="connsiteY12" fmla="*/ 1180819 h 1873881"/>
                <a:gd name="connsiteX13" fmla="*/ 1236434 w 1284695"/>
                <a:gd name="connsiteY13" fmla="*/ 1016360 h 1873881"/>
                <a:gd name="connsiteX14" fmla="*/ 1109525 w 1284695"/>
                <a:gd name="connsiteY14" fmla="*/ 804064 h 1873881"/>
                <a:gd name="connsiteX15" fmla="*/ 1117447 w 1284695"/>
                <a:gd name="connsiteY15" fmla="*/ 674341 h 1873881"/>
                <a:gd name="connsiteX16" fmla="*/ 1154217 w 1284695"/>
                <a:gd name="connsiteY16" fmla="*/ 487868 h 1873881"/>
                <a:gd name="connsiteX17" fmla="*/ 974884 w 1284695"/>
                <a:gd name="connsiteY17" fmla="*/ 0 h 1873881"/>
                <a:gd name="connsiteX18" fmla="*/ 418182 w 1284695"/>
                <a:gd name="connsiteY18" fmla="*/ 0 h 1873881"/>
                <a:gd name="connsiteX19" fmla="*/ 418182 w 1284695"/>
                <a:gd name="connsiteY19" fmla="*/ 0 h 18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84695" h="1873881">
                  <a:moveTo>
                    <a:pt x="418206" y="0"/>
                  </a:moveTo>
                  <a:lnTo>
                    <a:pt x="0" y="352966"/>
                  </a:lnTo>
                  <a:lnTo>
                    <a:pt x="0" y="687063"/>
                  </a:lnTo>
                  <a:lnTo>
                    <a:pt x="163253" y="861548"/>
                  </a:lnTo>
                  <a:lnTo>
                    <a:pt x="170702" y="1290135"/>
                  </a:lnTo>
                  <a:cubicBezTo>
                    <a:pt x="169945" y="1447264"/>
                    <a:pt x="157838" y="1643811"/>
                    <a:pt x="331141" y="1704274"/>
                  </a:cubicBezTo>
                  <a:cubicBezTo>
                    <a:pt x="609291" y="1801318"/>
                    <a:pt x="748732" y="1890038"/>
                    <a:pt x="944806" y="1871381"/>
                  </a:cubicBezTo>
                  <a:cubicBezTo>
                    <a:pt x="1094084" y="1857194"/>
                    <a:pt x="1110920" y="1747334"/>
                    <a:pt x="1111086" y="1619644"/>
                  </a:cubicBezTo>
                  <a:cubicBezTo>
                    <a:pt x="1111133" y="1587486"/>
                    <a:pt x="1118369" y="1578311"/>
                    <a:pt x="1140549" y="1558897"/>
                  </a:cubicBezTo>
                  <a:cubicBezTo>
                    <a:pt x="1185595" y="1519455"/>
                    <a:pt x="1194675" y="1434826"/>
                    <a:pt x="1124612" y="1411842"/>
                  </a:cubicBezTo>
                  <a:cubicBezTo>
                    <a:pt x="1188102" y="1400373"/>
                    <a:pt x="1202668" y="1343268"/>
                    <a:pt x="1196094" y="1314892"/>
                  </a:cubicBezTo>
                  <a:cubicBezTo>
                    <a:pt x="1178170" y="1289520"/>
                    <a:pt x="1160837" y="1264101"/>
                    <a:pt x="1160814" y="1220450"/>
                  </a:cubicBezTo>
                  <a:lnTo>
                    <a:pt x="1242606" y="1180819"/>
                  </a:lnTo>
                  <a:cubicBezTo>
                    <a:pt x="1320898" y="1132462"/>
                    <a:pt x="1272660" y="1076988"/>
                    <a:pt x="1236434" y="1016360"/>
                  </a:cubicBezTo>
                  <a:lnTo>
                    <a:pt x="1109525" y="804064"/>
                  </a:lnTo>
                  <a:cubicBezTo>
                    <a:pt x="1083042" y="759751"/>
                    <a:pt x="1101604" y="711750"/>
                    <a:pt x="1117447" y="674341"/>
                  </a:cubicBezTo>
                  <a:cubicBezTo>
                    <a:pt x="1155659" y="584131"/>
                    <a:pt x="1163888" y="557719"/>
                    <a:pt x="1154217" y="487868"/>
                  </a:cubicBezTo>
                  <a:cubicBezTo>
                    <a:pt x="1136151" y="308937"/>
                    <a:pt x="1079684" y="144076"/>
                    <a:pt x="974884" y="0"/>
                  </a:cubicBezTo>
                  <a:lnTo>
                    <a:pt x="418182" y="0"/>
                  </a:lnTo>
                  <a:lnTo>
                    <a:pt x="418182" y="0"/>
                  </a:lnTo>
                  <a:close/>
                </a:path>
              </a:pathLst>
            </a:custGeom>
            <a:gradFill>
              <a:gsLst>
                <a:gs pos="0">
                  <a:srgbClr val="005587"/>
                </a:gs>
                <a:gs pos="100000">
                  <a:srgbClr val="00ABAB"/>
                </a:gs>
              </a:gsLst>
              <a:lin ang="10604113" scaled="1"/>
            </a:gradFill>
            <a:ln w="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9BA89CE9-B1A4-ACA1-409B-A80E76371C69}"/>
                </a:ext>
              </a:extLst>
            </p:cNvPr>
            <p:cNvSpPr/>
            <p:nvPr/>
          </p:nvSpPr>
          <p:spPr>
            <a:xfrm>
              <a:off x="9295461" y="2922793"/>
              <a:ext cx="149474" cy="149474"/>
            </a:xfrm>
            <a:custGeom>
              <a:avLst/>
              <a:gdLst>
                <a:gd name="connsiteX0" fmla="*/ 84228 w 168549"/>
                <a:gd name="connsiteY0" fmla="*/ 0 h 168549"/>
                <a:gd name="connsiteX1" fmla="*/ 0 w 168549"/>
                <a:gd name="connsiteY1" fmla="*/ 84228 h 168549"/>
                <a:gd name="connsiteX2" fmla="*/ 84228 w 168549"/>
                <a:gd name="connsiteY2" fmla="*/ 168550 h 168549"/>
                <a:gd name="connsiteX3" fmla="*/ 168550 w 168549"/>
                <a:gd name="connsiteY3" fmla="*/ 84228 h 168549"/>
                <a:gd name="connsiteX4" fmla="*/ 84228 w 168549"/>
                <a:gd name="connsiteY4" fmla="*/ 0 h 168549"/>
                <a:gd name="connsiteX5" fmla="*/ 84228 w 168549"/>
                <a:gd name="connsiteY5" fmla="*/ 0 h 168549"/>
                <a:gd name="connsiteX6" fmla="*/ 84228 w 168549"/>
                <a:gd name="connsiteY6" fmla="*/ 45661 h 168549"/>
                <a:gd name="connsiteX7" fmla="*/ 122795 w 168549"/>
                <a:gd name="connsiteY7" fmla="*/ 84228 h 168549"/>
                <a:gd name="connsiteX8" fmla="*/ 84228 w 168549"/>
                <a:gd name="connsiteY8" fmla="*/ 122795 h 168549"/>
                <a:gd name="connsiteX9" fmla="*/ 45661 w 168549"/>
                <a:gd name="connsiteY9" fmla="*/ 84228 h 168549"/>
                <a:gd name="connsiteX10" fmla="*/ 84228 w 168549"/>
                <a:gd name="connsiteY10" fmla="*/ 45661 h 16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549" h="168549">
                  <a:moveTo>
                    <a:pt x="84228" y="0"/>
                  </a:moveTo>
                  <a:cubicBezTo>
                    <a:pt x="37692" y="0"/>
                    <a:pt x="0" y="37668"/>
                    <a:pt x="0" y="84228"/>
                  </a:cubicBezTo>
                  <a:cubicBezTo>
                    <a:pt x="0" y="130763"/>
                    <a:pt x="37668" y="168550"/>
                    <a:pt x="84228" y="168550"/>
                  </a:cubicBezTo>
                  <a:cubicBezTo>
                    <a:pt x="130787" y="168550"/>
                    <a:pt x="168550" y="130763"/>
                    <a:pt x="168550" y="84228"/>
                  </a:cubicBezTo>
                  <a:cubicBezTo>
                    <a:pt x="168550" y="37692"/>
                    <a:pt x="130763" y="0"/>
                    <a:pt x="84228" y="0"/>
                  </a:cubicBezTo>
                  <a:lnTo>
                    <a:pt x="84228" y="0"/>
                  </a:lnTo>
                  <a:close/>
                  <a:moveTo>
                    <a:pt x="84228" y="45661"/>
                  </a:moveTo>
                  <a:cubicBezTo>
                    <a:pt x="105533" y="45661"/>
                    <a:pt x="122795" y="62922"/>
                    <a:pt x="122795" y="84228"/>
                  </a:cubicBezTo>
                  <a:cubicBezTo>
                    <a:pt x="122795" y="105533"/>
                    <a:pt x="105533" y="122795"/>
                    <a:pt x="84228" y="122795"/>
                  </a:cubicBezTo>
                  <a:cubicBezTo>
                    <a:pt x="62922" y="122795"/>
                    <a:pt x="45661" y="105533"/>
                    <a:pt x="45661" y="84228"/>
                  </a:cubicBezTo>
                  <a:cubicBezTo>
                    <a:pt x="45661" y="62922"/>
                    <a:pt x="62922" y="45661"/>
                    <a:pt x="84228" y="45661"/>
                  </a:cubicBezTo>
                  <a:close/>
                </a:path>
              </a:pathLst>
            </a:custGeom>
            <a:solidFill>
              <a:srgbClr val="FFFFFF"/>
            </a:solidFill>
            <a:ln w="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9644E76-67EE-EA79-AEC8-84B92EEB0576}"/>
                </a:ext>
              </a:extLst>
            </p:cNvPr>
            <p:cNvSpPr/>
            <p:nvPr/>
          </p:nvSpPr>
          <p:spPr>
            <a:xfrm>
              <a:off x="9444034" y="3117920"/>
              <a:ext cx="68404" cy="68404"/>
            </a:xfrm>
            <a:custGeom>
              <a:avLst/>
              <a:gdLst>
                <a:gd name="connsiteX0" fmla="*/ 77134 w 77133"/>
                <a:gd name="connsiteY0" fmla="*/ 38567 h 77133"/>
                <a:gd name="connsiteX1" fmla="*/ 38567 w 77133"/>
                <a:gd name="connsiteY1" fmla="*/ 77134 h 77133"/>
                <a:gd name="connsiteX2" fmla="*/ 0 w 77133"/>
                <a:gd name="connsiteY2" fmla="*/ 38567 h 77133"/>
                <a:gd name="connsiteX3" fmla="*/ 38567 w 77133"/>
                <a:gd name="connsiteY3" fmla="*/ 0 h 77133"/>
                <a:gd name="connsiteX4" fmla="*/ 77134 w 77133"/>
                <a:gd name="connsiteY4" fmla="*/ 38567 h 77133"/>
                <a:gd name="connsiteX5" fmla="*/ 77134 w 77133"/>
                <a:gd name="connsiteY5" fmla="*/ 38567 h 7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133" h="77133">
                  <a:moveTo>
                    <a:pt x="77134" y="38567"/>
                  </a:moveTo>
                  <a:cubicBezTo>
                    <a:pt x="77134" y="59872"/>
                    <a:pt x="59872" y="77134"/>
                    <a:pt x="38567" y="77134"/>
                  </a:cubicBezTo>
                  <a:cubicBezTo>
                    <a:pt x="17262" y="77134"/>
                    <a:pt x="0" y="59872"/>
                    <a:pt x="0" y="38567"/>
                  </a:cubicBezTo>
                  <a:cubicBezTo>
                    <a:pt x="0" y="17262"/>
                    <a:pt x="17262" y="0"/>
                    <a:pt x="38567" y="0"/>
                  </a:cubicBezTo>
                  <a:cubicBezTo>
                    <a:pt x="59872" y="0"/>
                    <a:pt x="77134" y="17262"/>
                    <a:pt x="77134" y="38567"/>
                  </a:cubicBezTo>
                  <a:lnTo>
                    <a:pt x="77134" y="38567"/>
                  </a:lnTo>
                  <a:close/>
                </a:path>
              </a:pathLst>
            </a:custGeom>
            <a:solidFill>
              <a:srgbClr val="FFFFFF"/>
            </a:solidFill>
            <a:ln w="0" cap="flat">
              <a:noFill/>
              <a:prstDash val="solid"/>
              <a:miter/>
            </a:ln>
          </p:spPr>
          <p:txBody>
            <a:bodyPr rtlCol="0" anchor="ctr"/>
            <a:lstStyle/>
            <a:p>
              <a:endParaRPr lang="en-US"/>
            </a:p>
          </p:txBody>
        </p:sp>
        <p:grpSp>
          <p:nvGrpSpPr>
            <p:cNvPr id="79" name="Group 78">
              <a:extLst>
                <a:ext uri="{FF2B5EF4-FFF2-40B4-BE49-F238E27FC236}">
                  <a16:creationId xmlns:a16="http://schemas.microsoft.com/office/drawing/2014/main" id="{F2ED4357-DAAF-7813-A32F-A1D778B80412}"/>
                </a:ext>
              </a:extLst>
            </p:cNvPr>
            <p:cNvGrpSpPr/>
            <p:nvPr/>
          </p:nvGrpSpPr>
          <p:grpSpPr>
            <a:xfrm>
              <a:off x="8824552" y="2873248"/>
              <a:ext cx="194044" cy="201749"/>
              <a:chOff x="5354076" y="2676663"/>
              <a:chExt cx="1177532" cy="1275671"/>
            </a:xfrm>
            <a:solidFill>
              <a:schemeClr val="bg1"/>
            </a:solidFill>
            <a:effectLst/>
          </p:grpSpPr>
          <p:sp>
            <p:nvSpPr>
              <p:cNvPr id="385" name="Freeform: Shape 384">
                <a:extLst>
                  <a:ext uri="{FF2B5EF4-FFF2-40B4-BE49-F238E27FC236}">
                    <a16:creationId xmlns:a16="http://schemas.microsoft.com/office/drawing/2014/main" id="{A3669B67-1F77-7CE6-0ABB-EC23AED99896}"/>
                  </a:ext>
                </a:extLst>
              </p:cNvPr>
              <p:cNvSpPr/>
              <p:nvPr/>
            </p:nvSpPr>
            <p:spPr>
              <a:xfrm>
                <a:off x="5354076" y="3855128"/>
                <a:ext cx="1177532" cy="97206"/>
              </a:xfrm>
              <a:custGeom>
                <a:avLst/>
                <a:gdLst>
                  <a:gd name="connsiteX0" fmla="*/ 0 w 3114386"/>
                  <a:gd name="connsiteY0" fmla="*/ 0 h 217552"/>
                  <a:gd name="connsiteX1" fmla="*/ 3114387 w 3114386"/>
                  <a:gd name="connsiteY1" fmla="*/ 0 h 217552"/>
                  <a:gd name="connsiteX2" fmla="*/ 3114387 w 3114386"/>
                  <a:gd name="connsiteY2" fmla="*/ 217553 h 217552"/>
                  <a:gd name="connsiteX3" fmla="*/ 0 w 3114386"/>
                  <a:gd name="connsiteY3" fmla="*/ 217553 h 217552"/>
                </a:gdLst>
                <a:ahLst/>
                <a:cxnLst>
                  <a:cxn ang="0">
                    <a:pos x="connsiteX0" y="connsiteY0"/>
                  </a:cxn>
                  <a:cxn ang="0">
                    <a:pos x="connsiteX1" y="connsiteY1"/>
                  </a:cxn>
                  <a:cxn ang="0">
                    <a:pos x="connsiteX2" y="connsiteY2"/>
                  </a:cxn>
                  <a:cxn ang="0">
                    <a:pos x="connsiteX3" y="connsiteY3"/>
                  </a:cxn>
                </a:cxnLst>
                <a:rect l="l" t="t" r="r" b="b"/>
                <a:pathLst>
                  <a:path w="3114386" h="217552">
                    <a:moveTo>
                      <a:pt x="0" y="0"/>
                    </a:moveTo>
                    <a:lnTo>
                      <a:pt x="3114387" y="0"/>
                    </a:lnTo>
                    <a:lnTo>
                      <a:pt x="3114387" y="217553"/>
                    </a:lnTo>
                    <a:lnTo>
                      <a:pt x="0" y="217553"/>
                    </a:lnTo>
                    <a:close/>
                  </a:path>
                </a:pathLst>
              </a:custGeom>
              <a:grpFill/>
              <a:ln w="0" cap="flat">
                <a:no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8359FDCF-DC24-6116-6B5A-CA5D5A891D8D}"/>
                  </a:ext>
                </a:extLst>
              </p:cNvPr>
              <p:cNvSpPr/>
              <p:nvPr/>
            </p:nvSpPr>
            <p:spPr>
              <a:xfrm>
                <a:off x="5354076" y="2676663"/>
                <a:ext cx="1177532" cy="415330"/>
              </a:xfrm>
              <a:custGeom>
                <a:avLst/>
                <a:gdLst>
                  <a:gd name="connsiteX0" fmla="*/ 1557193 w 3114386"/>
                  <a:gd name="connsiteY0" fmla="*/ 0 h 929532"/>
                  <a:gd name="connsiteX1" fmla="*/ 0 w 3114386"/>
                  <a:gd name="connsiteY1" fmla="*/ 803023 h 929532"/>
                  <a:gd name="connsiteX2" fmla="*/ 0 w 3114386"/>
                  <a:gd name="connsiteY2" fmla="*/ 929532 h 929532"/>
                  <a:gd name="connsiteX3" fmla="*/ 3114387 w 3114386"/>
                  <a:gd name="connsiteY3" fmla="*/ 929532 h 929532"/>
                  <a:gd name="connsiteX4" fmla="*/ 3114387 w 3114386"/>
                  <a:gd name="connsiteY4" fmla="*/ 803023 h 929532"/>
                  <a:gd name="connsiteX5" fmla="*/ 1557193 w 3114386"/>
                  <a:gd name="connsiteY5" fmla="*/ 0 h 929532"/>
                  <a:gd name="connsiteX6" fmla="*/ 1557193 w 3114386"/>
                  <a:gd name="connsiteY6" fmla="*/ 675816 h 929532"/>
                  <a:gd name="connsiteX7" fmla="*/ 1388810 w 3114386"/>
                  <a:gd name="connsiteY7" fmla="*/ 507433 h 929532"/>
                  <a:gd name="connsiteX8" fmla="*/ 1557193 w 3114386"/>
                  <a:gd name="connsiteY8" fmla="*/ 339050 h 929532"/>
                  <a:gd name="connsiteX9" fmla="*/ 1725576 w 3114386"/>
                  <a:gd name="connsiteY9" fmla="*/ 507433 h 929532"/>
                  <a:gd name="connsiteX10" fmla="*/ 1557193 w 3114386"/>
                  <a:gd name="connsiteY10" fmla="*/ 675816 h 9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14386" h="929532">
                    <a:moveTo>
                      <a:pt x="1557193" y="0"/>
                    </a:moveTo>
                    <a:lnTo>
                      <a:pt x="0" y="803023"/>
                    </a:lnTo>
                    <a:lnTo>
                      <a:pt x="0" y="929532"/>
                    </a:lnTo>
                    <a:lnTo>
                      <a:pt x="3114387" y="929532"/>
                    </a:lnTo>
                    <a:lnTo>
                      <a:pt x="3114387" y="803023"/>
                    </a:lnTo>
                    <a:lnTo>
                      <a:pt x="1557193" y="0"/>
                    </a:lnTo>
                    <a:close/>
                    <a:moveTo>
                      <a:pt x="1557193" y="675816"/>
                    </a:moveTo>
                    <a:cubicBezTo>
                      <a:pt x="1464373" y="675816"/>
                      <a:pt x="1388810" y="600316"/>
                      <a:pt x="1388810" y="507433"/>
                    </a:cubicBezTo>
                    <a:cubicBezTo>
                      <a:pt x="1388810" y="414549"/>
                      <a:pt x="1464373" y="339050"/>
                      <a:pt x="1557193" y="339050"/>
                    </a:cubicBezTo>
                    <a:cubicBezTo>
                      <a:pt x="1650013" y="339050"/>
                      <a:pt x="1725576" y="414613"/>
                      <a:pt x="1725576" y="507433"/>
                    </a:cubicBezTo>
                    <a:cubicBezTo>
                      <a:pt x="1725576" y="600253"/>
                      <a:pt x="1650013" y="675816"/>
                      <a:pt x="1557193" y="675816"/>
                    </a:cubicBezTo>
                    <a:close/>
                  </a:path>
                </a:pathLst>
              </a:custGeom>
              <a:grpFill/>
              <a:ln w="0" cap="flat">
                <a:no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D4763A0A-116E-2D06-C5FB-D49F64E72226}"/>
                  </a:ext>
                </a:extLst>
              </p:cNvPr>
              <p:cNvSpPr/>
              <p:nvPr/>
            </p:nvSpPr>
            <p:spPr>
              <a:xfrm>
                <a:off x="5412727" y="3721296"/>
                <a:ext cx="1060206" cy="57818"/>
              </a:xfrm>
              <a:custGeom>
                <a:avLst/>
                <a:gdLst>
                  <a:gd name="connsiteX0" fmla="*/ 0 w 2804077"/>
                  <a:gd name="connsiteY0" fmla="*/ 0 h 217552"/>
                  <a:gd name="connsiteX1" fmla="*/ 2804078 w 2804077"/>
                  <a:gd name="connsiteY1" fmla="*/ 0 h 217552"/>
                  <a:gd name="connsiteX2" fmla="*/ 2804078 w 2804077"/>
                  <a:gd name="connsiteY2" fmla="*/ 217553 h 217552"/>
                  <a:gd name="connsiteX3" fmla="*/ 0 w 2804077"/>
                  <a:gd name="connsiteY3" fmla="*/ 217553 h 217552"/>
                </a:gdLst>
                <a:ahLst/>
                <a:cxnLst>
                  <a:cxn ang="0">
                    <a:pos x="connsiteX0" y="connsiteY0"/>
                  </a:cxn>
                  <a:cxn ang="0">
                    <a:pos x="connsiteX1" y="connsiteY1"/>
                  </a:cxn>
                  <a:cxn ang="0">
                    <a:pos x="connsiteX2" y="connsiteY2"/>
                  </a:cxn>
                  <a:cxn ang="0">
                    <a:pos x="connsiteX3" y="connsiteY3"/>
                  </a:cxn>
                </a:cxnLst>
                <a:rect l="l" t="t" r="r" b="b"/>
                <a:pathLst>
                  <a:path w="2804077" h="217552">
                    <a:moveTo>
                      <a:pt x="0" y="0"/>
                    </a:moveTo>
                    <a:lnTo>
                      <a:pt x="2804078" y="0"/>
                    </a:lnTo>
                    <a:lnTo>
                      <a:pt x="2804078" y="217553"/>
                    </a:lnTo>
                    <a:lnTo>
                      <a:pt x="0" y="217553"/>
                    </a:lnTo>
                    <a:close/>
                  </a:path>
                </a:pathLst>
              </a:custGeom>
              <a:grpFill/>
              <a:ln w="0" cap="flat">
                <a:noFill/>
                <a:prstDash val="solid"/>
                <a:miter/>
              </a:ln>
            </p:spPr>
            <p:txBody>
              <a:bodyPr rtlCol="0" anchor="ctr"/>
              <a:lstStyle/>
              <a:p>
                <a:endParaRPr lang="en-US"/>
              </a:p>
            </p:txBody>
          </p:sp>
          <p:sp>
            <p:nvSpPr>
              <p:cNvPr id="388" name="Freeform: Shape 387">
                <a:extLst>
                  <a:ext uri="{FF2B5EF4-FFF2-40B4-BE49-F238E27FC236}">
                    <a16:creationId xmlns:a16="http://schemas.microsoft.com/office/drawing/2014/main" id="{C8C9A9F0-B213-93AB-79A6-75A7B40F0441}"/>
                  </a:ext>
                </a:extLst>
              </p:cNvPr>
              <p:cNvSpPr/>
              <p:nvPr/>
            </p:nvSpPr>
            <p:spPr>
              <a:xfrm>
                <a:off x="6309596" y="3189292"/>
                <a:ext cx="108163" cy="465080"/>
              </a:xfrm>
              <a:custGeom>
                <a:avLst/>
                <a:gdLst>
                  <a:gd name="connsiteX0" fmla="*/ 0 w 286073"/>
                  <a:gd name="connsiteY0" fmla="*/ 0 h 1040878"/>
                  <a:gd name="connsiteX1" fmla="*/ 286073 w 286073"/>
                  <a:gd name="connsiteY1" fmla="*/ 0 h 1040878"/>
                  <a:gd name="connsiteX2" fmla="*/ 286073 w 286073"/>
                  <a:gd name="connsiteY2" fmla="*/ 1040878 h 1040878"/>
                  <a:gd name="connsiteX3" fmla="*/ 0 w 286073"/>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073" h="1040878">
                    <a:moveTo>
                      <a:pt x="0" y="0"/>
                    </a:moveTo>
                    <a:lnTo>
                      <a:pt x="286073" y="0"/>
                    </a:lnTo>
                    <a:lnTo>
                      <a:pt x="286073" y="1040878"/>
                    </a:lnTo>
                    <a:lnTo>
                      <a:pt x="0" y="1040878"/>
                    </a:lnTo>
                    <a:close/>
                  </a:path>
                </a:pathLst>
              </a:custGeom>
              <a:grpFill/>
              <a:ln w="0" cap="flat">
                <a:noFill/>
                <a:prstDash val="solid"/>
                <a:miter/>
              </a:ln>
            </p:spPr>
            <p:txBody>
              <a:bodyPr rtlCol="0" anchor="ctr"/>
              <a:lstStyle/>
              <a:p>
                <a:endParaRPr lang="en-US"/>
              </a:p>
            </p:txBody>
          </p:sp>
          <p:sp>
            <p:nvSpPr>
              <p:cNvPr id="389" name="Freeform: Shape 388">
                <a:extLst>
                  <a:ext uri="{FF2B5EF4-FFF2-40B4-BE49-F238E27FC236}">
                    <a16:creationId xmlns:a16="http://schemas.microsoft.com/office/drawing/2014/main" id="{29AC4521-D87F-CEAB-0A4B-433BC8639049}"/>
                  </a:ext>
                </a:extLst>
              </p:cNvPr>
              <p:cNvSpPr/>
              <p:nvPr/>
            </p:nvSpPr>
            <p:spPr>
              <a:xfrm>
                <a:off x="6141248" y="3189292"/>
                <a:ext cx="108187" cy="465080"/>
              </a:xfrm>
              <a:custGeom>
                <a:avLst/>
                <a:gdLst>
                  <a:gd name="connsiteX0" fmla="*/ 0 w 286136"/>
                  <a:gd name="connsiteY0" fmla="*/ 0 h 1040878"/>
                  <a:gd name="connsiteX1" fmla="*/ 286137 w 286136"/>
                  <a:gd name="connsiteY1" fmla="*/ 0 h 1040878"/>
                  <a:gd name="connsiteX2" fmla="*/ 286137 w 286136"/>
                  <a:gd name="connsiteY2" fmla="*/ 1040878 h 1040878"/>
                  <a:gd name="connsiteX3" fmla="*/ 0 w 286136"/>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136" h="1040878">
                    <a:moveTo>
                      <a:pt x="0" y="0"/>
                    </a:moveTo>
                    <a:lnTo>
                      <a:pt x="286137" y="0"/>
                    </a:lnTo>
                    <a:lnTo>
                      <a:pt x="286137" y="1040878"/>
                    </a:lnTo>
                    <a:lnTo>
                      <a:pt x="0" y="1040878"/>
                    </a:lnTo>
                    <a:close/>
                  </a:path>
                </a:pathLst>
              </a:custGeom>
              <a:grpFill/>
              <a:ln w="0" cap="flat">
                <a:noFill/>
                <a:prstDash val="solid"/>
                <a:miter/>
              </a:ln>
            </p:spPr>
            <p:txBody>
              <a:bodyPr rtlCol="0" anchor="ctr"/>
              <a:lstStyle/>
              <a:p>
                <a:endParaRPr lang="en-US"/>
              </a:p>
            </p:txBody>
          </p:sp>
          <p:sp>
            <p:nvSpPr>
              <p:cNvPr id="390" name="Freeform: Shape 389">
                <a:extLst>
                  <a:ext uri="{FF2B5EF4-FFF2-40B4-BE49-F238E27FC236}">
                    <a16:creationId xmlns:a16="http://schemas.microsoft.com/office/drawing/2014/main" id="{8854EE0C-0ABA-E3E6-13A8-0077E79AC281}"/>
                  </a:ext>
                </a:extLst>
              </p:cNvPr>
              <p:cNvSpPr/>
              <p:nvPr/>
            </p:nvSpPr>
            <p:spPr>
              <a:xfrm>
                <a:off x="5972923" y="3189292"/>
                <a:ext cx="108163" cy="465080"/>
              </a:xfrm>
              <a:custGeom>
                <a:avLst/>
                <a:gdLst>
                  <a:gd name="connsiteX0" fmla="*/ 0 w 286073"/>
                  <a:gd name="connsiteY0" fmla="*/ 0 h 1040878"/>
                  <a:gd name="connsiteX1" fmla="*/ 286073 w 286073"/>
                  <a:gd name="connsiteY1" fmla="*/ 0 h 1040878"/>
                  <a:gd name="connsiteX2" fmla="*/ 286073 w 286073"/>
                  <a:gd name="connsiteY2" fmla="*/ 1040878 h 1040878"/>
                  <a:gd name="connsiteX3" fmla="*/ 0 w 286073"/>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073" h="1040878">
                    <a:moveTo>
                      <a:pt x="0" y="0"/>
                    </a:moveTo>
                    <a:lnTo>
                      <a:pt x="286073" y="0"/>
                    </a:lnTo>
                    <a:lnTo>
                      <a:pt x="286073" y="1040878"/>
                    </a:lnTo>
                    <a:lnTo>
                      <a:pt x="0" y="1040878"/>
                    </a:lnTo>
                    <a:close/>
                  </a:path>
                </a:pathLst>
              </a:custGeom>
              <a:grpFill/>
              <a:ln w="0" cap="flat">
                <a:noFill/>
                <a:prstDash val="solid"/>
                <a:miter/>
              </a:ln>
            </p:spPr>
            <p:txBody>
              <a:bodyPr rtlCol="0" anchor="ctr"/>
              <a:lstStyle/>
              <a:p>
                <a:endParaRPr lang="en-US"/>
              </a:p>
            </p:txBody>
          </p:sp>
          <p:sp>
            <p:nvSpPr>
              <p:cNvPr id="391" name="Freeform: Shape 390">
                <a:extLst>
                  <a:ext uri="{FF2B5EF4-FFF2-40B4-BE49-F238E27FC236}">
                    <a16:creationId xmlns:a16="http://schemas.microsoft.com/office/drawing/2014/main" id="{7C8BCF9E-CBBA-5705-ECBD-98EFE3AA99EB}"/>
                  </a:ext>
                </a:extLst>
              </p:cNvPr>
              <p:cNvSpPr/>
              <p:nvPr/>
            </p:nvSpPr>
            <p:spPr>
              <a:xfrm>
                <a:off x="5804598" y="3189292"/>
                <a:ext cx="108163" cy="465080"/>
              </a:xfrm>
              <a:custGeom>
                <a:avLst/>
                <a:gdLst>
                  <a:gd name="connsiteX0" fmla="*/ 0 w 286073"/>
                  <a:gd name="connsiteY0" fmla="*/ 0 h 1040878"/>
                  <a:gd name="connsiteX1" fmla="*/ 286073 w 286073"/>
                  <a:gd name="connsiteY1" fmla="*/ 0 h 1040878"/>
                  <a:gd name="connsiteX2" fmla="*/ 286073 w 286073"/>
                  <a:gd name="connsiteY2" fmla="*/ 1040878 h 1040878"/>
                  <a:gd name="connsiteX3" fmla="*/ 0 w 286073"/>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073" h="1040878">
                    <a:moveTo>
                      <a:pt x="0" y="0"/>
                    </a:moveTo>
                    <a:lnTo>
                      <a:pt x="286073" y="0"/>
                    </a:lnTo>
                    <a:lnTo>
                      <a:pt x="286073" y="1040878"/>
                    </a:lnTo>
                    <a:lnTo>
                      <a:pt x="0" y="1040878"/>
                    </a:lnTo>
                    <a:close/>
                  </a:path>
                </a:pathLst>
              </a:custGeom>
              <a:grpFill/>
              <a:ln w="0" cap="flat">
                <a:noFill/>
                <a:prstDash val="solid"/>
                <a:miter/>
              </a:ln>
            </p:spPr>
            <p:txBody>
              <a:bodyPr rtlCol="0" anchor="ctr"/>
              <a:lstStyle/>
              <a:p>
                <a:endParaRPr lang="en-US"/>
              </a:p>
            </p:txBody>
          </p:sp>
          <p:sp>
            <p:nvSpPr>
              <p:cNvPr id="392" name="Freeform: Shape 391">
                <a:extLst>
                  <a:ext uri="{FF2B5EF4-FFF2-40B4-BE49-F238E27FC236}">
                    <a16:creationId xmlns:a16="http://schemas.microsoft.com/office/drawing/2014/main" id="{12A3D83C-B923-C778-25C6-DC5D41579591}"/>
                  </a:ext>
                </a:extLst>
              </p:cNvPr>
              <p:cNvSpPr/>
              <p:nvPr/>
            </p:nvSpPr>
            <p:spPr>
              <a:xfrm>
                <a:off x="5636249" y="3189292"/>
                <a:ext cx="108163" cy="465080"/>
              </a:xfrm>
              <a:custGeom>
                <a:avLst/>
                <a:gdLst>
                  <a:gd name="connsiteX0" fmla="*/ 0 w 286073"/>
                  <a:gd name="connsiteY0" fmla="*/ 0 h 1040878"/>
                  <a:gd name="connsiteX1" fmla="*/ 286073 w 286073"/>
                  <a:gd name="connsiteY1" fmla="*/ 0 h 1040878"/>
                  <a:gd name="connsiteX2" fmla="*/ 286073 w 286073"/>
                  <a:gd name="connsiteY2" fmla="*/ 1040878 h 1040878"/>
                  <a:gd name="connsiteX3" fmla="*/ 0 w 286073"/>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073" h="1040878">
                    <a:moveTo>
                      <a:pt x="0" y="0"/>
                    </a:moveTo>
                    <a:lnTo>
                      <a:pt x="286073" y="0"/>
                    </a:lnTo>
                    <a:lnTo>
                      <a:pt x="286073" y="1040878"/>
                    </a:lnTo>
                    <a:lnTo>
                      <a:pt x="0" y="1040878"/>
                    </a:lnTo>
                    <a:close/>
                  </a:path>
                </a:pathLst>
              </a:custGeom>
              <a:grpFill/>
              <a:ln w="0" cap="flat">
                <a:noFill/>
                <a:prstDash val="solid"/>
                <a:miter/>
              </a:ln>
            </p:spPr>
            <p:txBody>
              <a:bodyPr rtlCol="0" anchor="ctr"/>
              <a:lstStyle/>
              <a:p>
                <a:endParaRPr lang="en-US"/>
              </a:p>
            </p:txBody>
          </p:sp>
          <p:sp>
            <p:nvSpPr>
              <p:cNvPr id="393" name="Freeform: Shape 392">
                <a:extLst>
                  <a:ext uri="{FF2B5EF4-FFF2-40B4-BE49-F238E27FC236}">
                    <a16:creationId xmlns:a16="http://schemas.microsoft.com/office/drawing/2014/main" id="{DCC35305-54B6-01E0-C8A2-F96F8A1F2FB3}"/>
                  </a:ext>
                </a:extLst>
              </p:cNvPr>
              <p:cNvSpPr/>
              <p:nvPr/>
            </p:nvSpPr>
            <p:spPr>
              <a:xfrm>
                <a:off x="5467901" y="3189292"/>
                <a:ext cx="108187" cy="465080"/>
              </a:xfrm>
              <a:custGeom>
                <a:avLst/>
                <a:gdLst>
                  <a:gd name="connsiteX0" fmla="*/ 0 w 286136"/>
                  <a:gd name="connsiteY0" fmla="*/ 0 h 1040878"/>
                  <a:gd name="connsiteX1" fmla="*/ 286137 w 286136"/>
                  <a:gd name="connsiteY1" fmla="*/ 0 h 1040878"/>
                  <a:gd name="connsiteX2" fmla="*/ 286137 w 286136"/>
                  <a:gd name="connsiteY2" fmla="*/ 1040878 h 1040878"/>
                  <a:gd name="connsiteX3" fmla="*/ 0 w 286136"/>
                  <a:gd name="connsiteY3" fmla="*/ 1040878 h 1040878"/>
                </a:gdLst>
                <a:ahLst/>
                <a:cxnLst>
                  <a:cxn ang="0">
                    <a:pos x="connsiteX0" y="connsiteY0"/>
                  </a:cxn>
                  <a:cxn ang="0">
                    <a:pos x="connsiteX1" y="connsiteY1"/>
                  </a:cxn>
                  <a:cxn ang="0">
                    <a:pos x="connsiteX2" y="connsiteY2"/>
                  </a:cxn>
                  <a:cxn ang="0">
                    <a:pos x="connsiteX3" y="connsiteY3"/>
                  </a:cxn>
                </a:cxnLst>
                <a:rect l="l" t="t" r="r" b="b"/>
                <a:pathLst>
                  <a:path w="286136" h="1040878">
                    <a:moveTo>
                      <a:pt x="0" y="0"/>
                    </a:moveTo>
                    <a:lnTo>
                      <a:pt x="286137" y="0"/>
                    </a:lnTo>
                    <a:lnTo>
                      <a:pt x="286137" y="1040878"/>
                    </a:lnTo>
                    <a:lnTo>
                      <a:pt x="0" y="1040878"/>
                    </a:lnTo>
                    <a:close/>
                  </a:path>
                </a:pathLst>
              </a:custGeom>
              <a:grpFill/>
              <a:ln w="0" cap="flat">
                <a:noFill/>
                <a:prstDash val="solid"/>
                <a:miter/>
              </a:ln>
            </p:spPr>
            <p:txBody>
              <a:bodyPr rtlCol="0" anchor="ctr"/>
              <a:lstStyle/>
              <a:p>
                <a:endParaRPr lang="en-US"/>
              </a:p>
            </p:txBody>
          </p:sp>
        </p:grpSp>
        <p:grpSp>
          <p:nvGrpSpPr>
            <p:cNvPr id="80" name="Graphic 33">
              <a:extLst>
                <a:ext uri="{FF2B5EF4-FFF2-40B4-BE49-F238E27FC236}">
                  <a16:creationId xmlns:a16="http://schemas.microsoft.com/office/drawing/2014/main" id="{40A44BE5-2553-55B8-FD97-41258BC8E630}"/>
                </a:ext>
              </a:extLst>
            </p:cNvPr>
            <p:cNvGrpSpPr/>
            <p:nvPr/>
          </p:nvGrpSpPr>
          <p:grpSpPr>
            <a:xfrm>
              <a:off x="7142843" y="1155301"/>
              <a:ext cx="4547507" cy="4547398"/>
              <a:chOff x="4095749" y="1428749"/>
              <a:chExt cx="4547507" cy="4547398"/>
            </a:xfrm>
            <a:gradFill>
              <a:gsLst>
                <a:gs pos="0">
                  <a:srgbClr val="005587">
                    <a:alpha val="34000"/>
                  </a:srgbClr>
                </a:gs>
                <a:gs pos="100000">
                  <a:srgbClr val="00ABAB">
                    <a:alpha val="16000"/>
                  </a:srgbClr>
                </a:gs>
              </a:gsLst>
              <a:lin ang="2700000" scaled="1"/>
            </a:gradFill>
          </p:grpSpPr>
          <p:grpSp>
            <p:nvGrpSpPr>
              <p:cNvPr id="183" name="Graphic 33">
                <a:extLst>
                  <a:ext uri="{FF2B5EF4-FFF2-40B4-BE49-F238E27FC236}">
                    <a16:creationId xmlns:a16="http://schemas.microsoft.com/office/drawing/2014/main" id="{8BDD4A6C-F771-7E28-99F9-7337F83BDB52}"/>
                  </a:ext>
                </a:extLst>
              </p:cNvPr>
              <p:cNvGrpSpPr/>
              <p:nvPr/>
            </p:nvGrpSpPr>
            <p:grpSpPr>
              <a:xfrm>
                <a:off x="4095749" y="1428749"/>
                <a:ext cx="4547507" cy="4547398"/>
                <a:chOff x="4095749" y="1428749"/>
                <a:chExt cx="4547507" cy="4547398"/>
              </a:xfrm>
              <a:grpFill/>
            </p:grpSpPr>
            <p:grpSp>
              <p:nvGrpSpPr>
                <p:cNvPr id="356" name="Graphic 33">
                  <a:extLst>
                    <a:ext uri="{FF2B5EF4-FFF2-40B4-BE49-F238E27FC236}">
                      <a16:creationId xmlns:a16="http://schemas.microsoft.com/office/drawing/2014/main" id="{FD9A9606-D15B-64A0-BB37-765723A42AF8}"/>
                    </a:ext>
                  </a:extLst>
                </p:cNvPr>
                <p:cNvGrpSpPr/>
                <p:nvPr/>
              </p:nvGrpSpPr>
              <p:grpSpPr>
                <a:xfrm>
                  <a:off x="4243867" y="1489490"/>
                  <a:ext cx="4395382" cy="4456665"/>
                  <a:chOff x="4243867" y="1489490"/>
                  <a:chExt cx="4395382" cy="4456665"/>
                </a:xfrm>
                <a:grpFill/>
              </p:grpSpPr>
              <p:sp>
                <p:nvSpPr>
                  <p:cNvPr id="375" name="Freeform: Shape 374">
                    <a:extLst>
                      <a:ext uri="{FF2B5EF4-FFF2-40B4-BE49-F238E27FC236}">
                        <a16:creationId xmlns:a16="http://schemas.microsoft.com/office/drawing/2014/main" id="{54A0D6F2-F3D8-18F6-2F18-110B0CBEAE75}"/>
                      </a:ext>
                    </a:extLst>
                  </p:cNvPr>
                  <p:cNvSpPr/>
                  <p:nvPr/>
                </p:nvSpPr>
                <p:spPr>
                  <a:xfrm>
                    <a:off x="6493259" y="1522405"/>
                    <a:ext cx="117369" cy="120942"/>
                  </a:xfrm>
                  <a:custGeom>
                    <a:avLst/>
                    <a:gdLst>
                      <a:gd name="connsiteX0" fmla="*/ 26311 w 117369"/>
                      <a:gd name="connsiteY0" fmla="*/ 1299 h 120942"/>
                      <a:gd name="connsiteX1" fmla="*/ 7579 w 117369"/>
                      <a:gd name="connsiteY1" fmla="*/ 0 h 120942"/>
                      <a:gd name="connsiteX2" fmla="*/ 0 w 117369"/>
                      <a:gd name="connsiteY2" fmla="*/ 111955 h 120942"/>
                      <a:gd name="connsiteX3" fmla="*/ 18732 w 117369"/>
                      <a:gd name="connsiteY3" fmla="*/ 113255 h 120942"/>
                      <a:gd name="connsiteX4" fmla="*/ 87377 w 117369"/>
                      <a:gd name="connsiteY4" fmla="*/ 119101 h 120942"/>
                      <a:gd name="connsiteX5" fmla="*/ 106109 w 117369"/>
                      <a:gd name="connsiteY5" fmla="*/ 120942 h 120942"/>
                      <a:gd name="connsiteX6" fmla="*/ 117369 w 117369"/>
                      <a:gd name="connsiteY6" fmla="*/ 9203 h 120942"/>
                      <a:gd name="connsiteX7" fmla="*/ 98638 w 117369"/>
                      <a:gd name="connsiteY7" fmla="*/ 7363 h 120942"/>
                      <a:gd name="connsiteX8" fmla="*/ 26311 w 117369"/>
                      <a:gd name="connsiteY8" fmla="*/ 1299 h 120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369" h="120942">
                        <a:moveTo>
                          <a:pt x="26311" y="1299"/>
                        </a:moveTo>
                        <a:lnTo>
                          <a:pt x="7579" y="0"/>
                        </a:lnTo>
                        <a:lnTo>
                          <a:pt x="0" y="111955"/>
                        </a:lnTo>
                        <a:lnTo>
                          <a:pt x="18732" y="113255"/>
                        </a:lnTo>
                        <a:cubicBezTo>
                          <a:pt x="41577" y="114770"/>
                          <a:pt x="64640" y="116719"/>
                          <a:pt x="87377" y="119101"/>
                        </a:cubicBezTo>
                        <a:lnTo>
                          <a:pt x="106109" y="120942"/>
                        </a:lnTo>
                        <a:lnTo>
                          <a:pt x="117369" y="9203"/>
                        </a:lnTo>
                        <a:lnTo>
                          <a:pt x="98638" y="7363"/>
                        </a:lnTo>
                        <a:cubicBezTo>
                          <a:pt x="74709" y="4981"/>
                          <a:pt x="50456" y="2923"/>
                          <a:pt x="26311" y="1299"/>
                        </a:cubicBezTo>
                        <a:close/>
                      </a:path>
                    </a:pathLst>
                  </a:custGeom>
                  <a:grpFill/>
                  <a:ln w="0" cap="flat">
                    <a:noFill/>
                    <a:prstDash val="solid"/>
                    <a:miter/>
                  </a:ln>
                </p:spPr>
                <p:txBody>
                  <a:bodyPr rtlCol="0" anchor="ctr"/>
                  <a:lstStyle/>
                  <a:p>
                    <a:endParaRPr lang="en-US"/>
                  </a:p>
                </p:txBody>
              </p:sp>
              <p:sp>
                <p:nvSpPr>
                  <p:cNvPr id="376" name="Freeform: Shape 375">
                    <a:extLst>
                      <a:ext uri="{FF2B5EF4-FFF2-40B4-BE49-F238E27FC236}">
                        <a16:creationId xmlns:a16="http://schemas.microsoft.com/office/drawing/2014/main" id="{C5B3ED3D-4919-26D8-7DA7-2E39D4495108}"/>
                      </a:ext>
                    </a:extLst>
                  </p:cNvPr>
                  <p:cNvSpPr/>
                  <p:nvPr/>
                </p:nvSpPr>
                <p:spPr>
                  <a:xfrm>
                    <a:off x="8173780" y="2629074"/>
                    <a:ext cx="350807" cy="735721"/>
                  </a:xfrm>
                  <a:custGeom>
                    <a:avLst/>
                    <a:gdLst>
                      <a:gd name="connsiteX0" fmla="*/ 347559 w 350807"/>
                      <a:gd name="connsiteY0" fmla="*/ 698151 h 735721"/>
                      <a:gd name="connsiteX1" fmla="*/ 107299 w 350807"/>
                      <a:gd name="connsiteY1" fmla="*/ 16458 h 735721"/>
                      <a:gd name="connsiteX2" fmla="*/ 98204 w 350807"/>
                      <a:gd name="connsiteY2" fmla="*/ 0 h 735721"/>
                      <a:gd name="connsiteX3" fmla="*/ 0 w 350807"/>
                      <a:gd name="connsiteY3" fmla="*/ 54354 h 735721"/>
                      <a:gd name="connsiteX4" fmla="*/ 9095 w 350807"/>
                      <a:gd name="connsiteY4" fmla="*/ 70811 h 735721"/>
                      <a:gd name="connsiteX5" fmla="*/ 236903 w 350807"/>
                      <a:gd name="connsiteY5" fmla="*/ 717207 h 735721"/>
                      <a:gd name="connsiteX6" fmla="*/ 240152 w 350807"/>
                      <a:gd name="connsiteY6" fmla="*/ 735722 h 735721"/>
                      <a:gd name="connsiteX7" fmla="*/ 350808 w 350807"/>
                      <a:gd name="connsiteY7" fmla="*/ 716557 h 735721"/>
                      <a:gd name="connsiteX8" fmla="*/ 347559 w 350807"/>
                      <a:gd name="connsiteY8" fmla="*/ 698042 h 73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807" h="735721">
                        <a:moveTo>
                          <a:pt x="347559" y="698151"/>
                        </a:moveTo>
                        <a:cubicBezTo>
                          <a:pt x="306090" y="458649"/>
                          <a:pt x="225210" y="229324"/>
                          <a:pt x="107299" y="16458"/>
                        </a:cubicBezTo>
                        <a:lnTo>
                          <a:pt x="98204" y="0"/>
                        </a:lnTo>
                        <a:lnTo>
                          <a:pt x="0" y="54354"/>
                        </a:lnTo>
                        <a:lnTo>
                          <a:pt x="9095" y="70811"/>
                        </a:lnTo>
                        <a:cubicBezTo>
                          <a:pt x="120942" y="272634"/>
                          <a:pt x="197600" y="490156"/>
                          <a:pt x="236903" y="717207"/>
                        </a:cubicBezTo>
                        <a:lnTo>
                          <a:pt x="240152" y="735722"/>
                        </a:lnTo>
                        <a:lnTo>
                          <a:pt x="350808" y="716557"/>
                        </a:lnTo>
                        <a:lnTo>
                          <a:pt x="347559" y="698042"/>
                        </a:lnTo>
                        <a:close/>
                      </a:path>
                    </a:pathLst>
                  </a:custGeom>
                  <a:grpFill/>
                  <a:ln w="0" cap="flat">
                    <a:noFill/>
                    <a:prstDash val="solid"/>
                    <a:miter/>
                  </a:ln>
                </p:spPr>
                <p:txBody>
                  <a:bodyPr rtlCol="0" anchor="ctr"/>
                  <a:lstStyle/>
                  <a:p>
                    <a:endParaRPr lang="en-US"/>
                  </a:p>
                </p:txBody>
              </p:sp>
              <p:sp>
                <p:nvSpPr>
                  <p:cNvPr id="377" name="Freeform: Shape 376">
                    <a:extLst>
                      <a:ext uri="{FF2B5EF4-FFF2-40B4-BE49-F238E27FC236}">
                        <a16:creationId xmlns:a16="http://schemas.microsoft.com/office/drawing/2014/main" id="{0881F42E-94AC-512B-7C39-CB1745A6D713}"/>
                      </a:ext>
                    </a:extLst>
                  </p:cNvPr>
                  <p:cNvSpPr/>
                  <p:nvPr/>
                </p:nvSpPr>
                <p:spPr>
                  <a:xfrm>
                    <a:off x="4243867" y="3092162"/>
                    <a:ext cx="136100" cy="133285"/>
                  </a:xfrm>
                  <a:custGeom>
                    <a:avLst/>
                    <a:gdLst>
                      <a:gd name="connsiteX0" fmla="*/ 136100 w 136100"/>
                      <a:gd name="connsiteY0" fmla="*/ 30425 h 133285"/>
                      <a:gd name="connsiteX1" fmla="*/ 28043 w 136100"/>
                      <a:gd name="connsiteY1" fmla="*/ 0 h 133285"/>
                      <a:gd name="connsiteX2" fmla="*/ 22954 w 136100"/>
                      <a:gd name="connsiteY2" fmla="*/ 18082 h 133285"/>
                      <a:gd name="connsiteX3" fmla="*/ 4439 w 136100"/>
                      <a:gd name="connsiteY3" fmla="*/ 88351 h 133285"/>
                      <a:gd name="connsiteX4" fmla="*/ 0 w 136100"/>
                      <a:gd name="connsiteY4" fmla="*/ 106542 h 133285"/>
                      <a:gd name="connsiteX5" fmla="*/ 109032 w 136100"/>
                      <a:gd name="connsiteY5" fmla="*/ 133285 h 133285"/>
                      <a:gd name="connsiteX6" fmla="*/ 113471 w 136100"/>
                      <a:gd name="connsiteY6" fmla="*/ 115095 h 133285"/>
                      <a:gd name="connsiteX7" fmla="*/ 131012 w 136100"/>
                      <a:gd name="connsiteY7" fmla="*/ 48507 h 133285"/>
                      <a:gd name="connsiteX8" fmla="*/ 136100 w 136100"/>
                      <a:gd name="connsiteY8" fmla="*/ 30425 h 13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00" h="133285">
                        <a:moveTo>
                          <a:pt x="136100" y="30425"/>
                        </a:moveTo>
                        <a:lnTo>
                          <a:pt x="28043" y="0"/>
                        </a:lnTo>
                        <a:lnTo>
                          <a:pt x="22954" y="18082"/>
                        </a:lnTo>
                        <a:cubicBezTo>
                          <a:pt x="16349" y="41469"/>
                          <a:pt x="10178" y="65073"/>
                          <a:pt x="4439" y="88351"/>
                        </a:cubicBezTo>
                        <a:lnTo>
                          <a:pt x="0" y="106542"/>
                        </a:lnTo>
                        <a:lnTo>
                          <a:pt x="109032" y="133285"/>
                        </a:lnTo>
                        <a:lnTo>
                          <a:pt x="113471" y="115095"/>
                        </a:lnTo>
                        <a:cubicBezTo>
                          <a:pt x="118885" y="93116"/>
                          <a:pt x="124732" y="70703"/>
                          <a:pt x="131012" y="48507"/>
                        </a:cubicBezTo>
                        <a:lnTo>
                          <a:pt x="136100" y="30425"/>
                        </a:lnTo>
                        <a:close/>
                      </a:path>
                    </a:pathLst>
                  </a:custGeom>
                  <a:grpFill/>
                  <a:ln w="0" cap="flat">
                    <a:noFill/>
                    <a:prstDash val="solid"/>
                    <a:miter/>
                  </a:ln>
                </p:spPr>
                <p:txBody>
                  <a:bodyPr rtlCol="0" anchor="ctr"/>
                  <a:lstStyle/>
                  <a:p>
                    <a:endParaRPr lang="en-US"/>
                  </a:p>
                </p:txBody>
              </p:sp>
              <p:sp>
                <p:nvSpPr>
                  <p:cNvPr id="378" name="Freeform: Shape 377">
                    <a:extLst>
                      <a:ext uri="{FF2B5EF4-FFF2-40B4-BE49-F238E27FC236}">
                        <a16:creationId xmlns:a16="http://schemas.microsoft.com/office/drawing/2014/main" id="{74EDA61C-E3A4-9FAB-FE32-D3315D09ED04}"/>
                      </a:ext>
                    </a:extLst>
                  </p:cNvPr>
                  <p:cNvSpPr/>
                  <p:nvPr/>
                </p:nvSpPr>
                <p:spPr>
                  <a:xfrm>
                    <a:off x="4370115" y="4536536"/>
                    <a:ext cx="147685" cy="146061"/>
                  </a:xfrm>
                  <a:custGeom>
                    <a:avLst/>
                    <a:gdLst>
                      <a:gd name="connsiteX0" fmla="*/ 139457 w 147685"/>
                      <a:gd name="connsiteY0" fmla="*/ 79581 h 146061"/>
                      <a:gd name="connsiteX1" fmla="*/ 110006 w 147685"/>
                      <a:gd name="connsiteY1" fmla="*/ 17107 h 146061"/>
                      <a:gd name="connsiteX2" fmla="*/ 102319 w 147685"/>
                      <a:gd name="connsiteY2" fmla="*/ 0 h 146061"/>
                      <a:gd name="connsiteX3" fmla="*/ 0 w 147685"/>
                      <a:gd name="connsiteY3" fmla="*/ 46233 h 146061"/>
                      <a:gd name="connsiteX4" fmla="*/ 7687 w 147685"/>
                      <a:gd name="connsiteY4" fmla="*/ 63340 h 146061"/>
                      <a:gd name="connsiteX5" fmla="*/ 38654 w 147685"/>
                      <a:gd name="connsiteY5" fmla="*/ 129171 h 146061"/>
                      <a:gd name="connsiteX6" fmla="*/ 46991 w 147685"/>
                      <a:gd name="connsiteY6" fmla="*/ 146061 h 146061"/>
                      <a:gd name="connsiteX7" fmla="*/ 147686 w 147685"/>
                      <a:gd name="connsiteY7" fmla="*/ 96472 h 146061"/>
                      <a:gd name="connsiteX8" fmla="*/ 139349 w 147685"/>
                      <a:gd name="connsiteY8" fmla="*/ 79581 h 14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85" h="146061">
                        <a:moveTo>
                          <a:pt x="139457" y="79581"/>
                        </a:moveTo>
                        <a:cubicBezTo>
                          <a:pt x="129387" y="59118"/>
                          <a:pt x="119534" y="38112"/>
                          <a:pt x="110006" y="17107"/>
                        </a:cubicBezTo>
                        <a:lnTo>
                          <a:pt x="102319" y="0"/>
                        </a:lnTo>
                        <a:lnTo>
                          <a:pt x="0" y="46233"/>
                        </a:lnTo>
                        <a:lnTo>
                          <a:pt x="7687" y="63340"/>
                        </a:lnTo>
                        <a:cubicBezTo>
                          <a:pt x="17540" y="85104"/>
                          <a:pt x="27935" y="107300"/>
                          <a:pt x="38654" y="129171"/>
                        </a:cubicBezTo>
                        <a:lnTo>
                          <a:pt x="46991" y="146061"/>
                        </a:lnTo>
                        <a:lnTo>
                          <a:pt x="147686" y="96472"/>
                        </a:lnTo>
                        <a:lnTo>
                          <a:pt x="139349" y="79581"/>
                        </a:lnTo>
                        <a:close/>
                      </a:path>
                    </a:pathLst>
                  </a:custGeom>
                  <a:grpFill/>
                  <a:ln w="0" cap="flat">
                    <a:noFill/>
                    <a:prstDash val="solid"/>
                    <a:miter/>
                  </a:ln>
                </p:spPr>
                <p:txBody>
                  <a:bodyPr rtlCol="0" anchor="ctr"/>
                  <a:lstStyle/>
                  <a:p>
                    <a:endParaRPr lang="en-US"/>
                  </a:p>
                </p:txBody>
              </p:sp>
              <p:sp>
                <p:nvSpPr>
                  <p:cNvPr id="379" name="Freeform: Shape 378">
                    <a:extLst>
                      <a:ext uri="{FF2B5EF4-FFF2-40B4-BE49-F238E27FC236}">
                        <a16:creationId xmlns:a16="http://schemas.microsoft.com/office/drawing/2014/main" id="{1B6494B0-0DEA-7E67-C40E-8A1C77AE6F54}"/>
                      </a:ext>
                    </a:extLst>
                  </p:cNvPr>
                  <p:cNvSpPr/>
                  <p:nvPr/>
                </p:nvSpPr>
                <p:spPr>
                  <a:xfrm>
                    <a:off x="4467886" y="4721468"/>
                    <a:ext cx="557069" cy="642173"/>
                  </a:xfrm>
                  <a:custGeom>
                    <a:avLst/>
                    <a:gdLst>
                      <a:gd name="connsiteX0" fmla="*/ 106650 w 557069"/>
                      <a:gd name="connsiteY0" fmla="*/ 16241 h 642173"/>
                      <a:gd name="connsiteX1" fmla="*/ 97230 w 557069"/>
                      <a:gd name="connsiteY1" fmla="*/ 0 h 642173"/>
                      <a:gd name="connsiteX2" fmla="*/ 0 w 557069"/>
                      <a:gd name="connsiteY2" fmla="*/ 56194 h 642173"/>
                      <a:gd name="connsiteX3" fmla="*/ 9420 w 557069"/>
                      <a:gd name="connsiteY3" fmla="*/ 72435 h 642173"/>
                      <a:gd name="connsiteX4" fmla="*/ 469259 w 557069"/>
                      <a:gd name="connsiteY4" fmla="*/ 629830 h 642173"/>
                      <a:gd name="connsiteX5" fmla="*/ 483443 w 557069"/>
                      <a:gd name="connsiteY5" fmla="*/ 642173 h 642173"/>
                      <a:gd name="connsiteX6" fmla="*/ 557070 w 557069"/>
                      <a:gd name="connsiteY6" fmla="*/ 557503 h 642173"/>
                      <a:gd name="connsiteX7" fmla="*/ 542886 w 557069"/>
                      <a:gd name="connsiteY7" fmla="*/ 545160 h 642173"/>
                      <a:gd name="connsiteX8" fmla="*/ 106650 w 557069"/>
                      <a:gd name="connsiteY8" fmla="*/ 16349 h 64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69" h="642173">
                        <a:moveTo>
                          <a:pt x="106650" y="16241"/>
                        </a:moveTo>
                        <a:lnTo>
                          <a:pt x="97230" y="0"/>
                        </a:lnTo>
                        <a:lnTo>
                          <a:pt x="0" y="56194"/>
                        </a:lnTo>
                        <a:lnTo>
                          <a:pt x="9420" y="72435"/>
                        </a:lnTo>
                        <a:cubicBezTo>
                          <a:pt x="130903" y="282595"/>
                          <a:pt x="285627" y="470126"/>
                          <a:pt x="469259" y="629830"/>
                        </a:cubicBezTo>
                        <a:lnTo>
                          <a:pt x="483443" y="642173"/>
                        </a:lnTo>
                        <a:lnTo>
                          <a:pt x="557070" y="557503"/>
                        </a:lnTo>
                        <a:lnTo>
                          <a:pt x="542886" y="545160"/>
                        </a:lnTo>
                        <a:cubicBezTo>
                          <a:pt x="368673" y="393684"/>
                          <a:pt x="221853" y="215790"/>
                          <a:pt x="106650" y="16349"/>
                        </a:cubicBezTo>
                        <a:close/>
                      </a:path>
                    </a:pathLst>
                  </a:custGeom>
                  <a:grpFill/>
                  <a:ln w="0" cap="flat">
                    <a:noFill/>
                    <a:prstDash val="solid"/>
                    <a:miter/>
                  </a:ln>
                </p:spPr>
                <p:txBody>
                  <a:bodyPr rtlCol="0" anchor="ctr"/>
                  <a:lstStyle/>
                  <a:p>
                    <a:endParaRPr lang="en-US"/>
                  </a:p>
                </p:txBody>
              </p:sp>
              <p:sp>
                <p:nvSpPr>
                  <p:cNvPr id="380" name="Freeform: Shape 379">
                    <a:extLst>
                      <a:ext uri="{FF2B5EF4-FFF2-40B4-BE49-F238E27FC236}">
                        <a16:creationId xmlns:a16="http://schemas.microsoft.com/office/drawing/2014/main" id="{DCC9B5F9-862B-2D9B-1681-A32CA2148635}"/>
                      </a:ext>
                    </a:extLst>
                  </p:cNvPr>
                  <p:cNvSpPr/>
                  <p:nvPr/>
                </p:nvSpPr>
                <p:spPr>
                  <a:xfrm>
                    <a:off x="8513327" y="3831348"/>
                    <a:ext cx="125922" cy="122241"/>
                  </a:xfrm>
                  <a:custGeom>
                    <a:avLst/>
                    <a:gdLst>
                      <a:gd name="connsiteX0" fmla="*/ 9311 w 125922"/>
                      <a:gd name="connsiteY0" fmla="*/ 0 h 122241"/>
                      <a:gd name="connsiteX1" fmla="*/ 8012 w 125922"/>
                      <a:gd name="connsiteY1" fmla="*/ 19489 h 122241"/>
                      <a:gd name="connsiteX2" fmla="*/ 1949 w 125922"/>
                      <a:gd name="connsiteY2" fmla="*/ 90950 h 122241"/>
                      <a:gd name="connsiteX3" fmla="*/ 0 w 125922"/>
                      <a:gd name="connsiteY3" fmla="*/ 110440 h 122241"/>
                      <a:gd name="connsiteX4" fmla="*/ 116286 w 125922"/>
                      <a:gd name="connsiteY4" fmla="*/ 122241 h 122241"/>
                      <a:gd name="connsiteX5" fmla="*/ 118235 w 125922"/>
                      <a:gd name="connsiteY5" fmla="*/ 102752 h 122241"/>
                      <a:gd name="connsiteX6" fmla="*/ 124623 w 125922"/>
                      <a:gd name="connsiteY6" fmla="*/ 27502 h 122241"/>
                      <a:gd name="connsiteX7" fmla="*/ 125923 w 125922"/>
                      <a:gd name="connsiteY7" fmla="*/ 8012 h 122241"/>
                      <a:gd name="connsiteX8" fmla="*/ 9311 w 125922"/>
                      <a:gd name="connsiteY8" fmla="*/ 108 h 12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22" h="122241">
                        <a:moveTo>
                          <a:pt x="9311" y="0"/>
                        </a:moveTo>
                        <a:lnTo>
                          <a:pt x="8012" y="19489"/>
                        </a:lnTo>
                        <a:cubicBezTo>
                          <a:pt x="6388" y="43310"/>
                          <a:pt x="4331" y="67346"/>
                          <a:pt x="1949" y="90950"/>
                        </a:cubicBezTo>
                        <a:lnTo>
                          <a:pt x="0" y="110440"/>
                        </a:lnTo>
                        <a:lnTo>
                          <a:pt x="116286" y="122241"/>
                        </a:lnTo>
                        <a:lnTo>
                          <a:pt x="118235" y="102752"/>
                        </a:lnTo>
                        <a:cubicBezTo>
                          <a:pt x="120725" y="77849"/>
                          <a:pt x="122891" y="52513"/>
                          <a:pt x="124623" y="27502"/>
                        </a:cubicBezTo>
                        <a:lnTo>
                          <a:pt x="125923" y="8012"/>
                        </a:lnTo>
                        <a:lnTo>
                          <a:pt x="9311" y="108"/>
                        </a:lnTo>
                        <a:close/>
                      </a:path>
                    </a:pathLst>
                  </a:custGeom>
                  <a:grpFill/>
                  <a:ln w="0"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C7977304-2263-47C8-1C0C-3B97BB98B9FC}"/>
                      </a:ext>
                    </a:extLst>
                  </p:cNvPr>
                  <p:cNvSpPr/>
                  <p:nvPr/>
                </p:nvSpPr>
                <p:spPr>
                  <a:xfrm>
                    <a:off x="6720959" y="5580947"/>
                    <a:ext cx="765930" cy="365208"/>
                  </a:xfrm>
                  <a:custGeom>
                    <a:avLst/>
                    <a:gdLst>
                      <a:gd name="connsiteX0" fmla="*/ 692304 w 765930"/>
                      <a:gd name="connsiteY0" fmla="*/ 9528 h 365208"/>
                      <a:gd name="connsiteX1" fmla="*/ 19273 w 765930"/>
                      <a:gd name="connsiteY1" fmla="*/ 246648 h 365208"/>
                      <a:gd name="connsiteX2" fmla="*/ 0 w 765930"/>
                      <a:gd name="connsiteY2" fmla="*/ 250005 h 365208"/>
                      <a:gd name="connsiteX3" fmla="*/ 19922 w 765930"/>
                      <a:gd name="connsiteY3" fmla="*/ 365208 h 365208"/>
                      <a:gd name="connsiteX4" fmla="*/ 39195 w 765930"/>
                      <a:gd name="connsiteY4" fmla="*/ 361852 h 365208"/>
                      <a:gd name="connsiteX5" fmla="*/ 748823 w 765930"/>
                      <a:gd name="connsiteY5" fmla="*/ 111739 h 365208"/>
                      <a:gd name="connsiteX6" fmla="*/ 765930 w 765930"/>
                      <a:gd name="connsiteY6" fmla="*/ 102211 h 365208"/>
                      <a:gd name="connsiteX7" fmla="*/ 709303 w 765930"/>
                      <a:gd name="connsiteY7" fmla="*/ 0 h 365208"/>
                      <a:gd name="connsiteX8" fmla="*/ 692196 w 765930"/>
                      <a:gd name="connsiteY8" fmla="*/ 9420 h 36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930" h="365208">
                        <a:moveTo>
                          <a:pt x="692304" y="9528"/>
                        </a:moveTo>
                        <a:cubicBezTo>
                          <a:pt x="482144" y="125923"/>
                          <a:pt x="255743" y="205721"/>
                          <a:pt x="19273" y="246648"/>
                        </a:cubicBezTo>
                        <a:lnTo>
                          <a:pt x="0" y="250005"/>
                        </a:lnTo>
                        <a:lnTo>
                          <a:pt x="19922" y="365208"/>
                        </a:lnTo>
                        <a:lnTo>
                          <a:pt x="39195" y="361852"/>
                        </a:lnTo>
                        <a:cubicBezTo>
                          <a:pt x="288550" y="318651"/>
                          <a:pt x="527294" y="234521"/>
                          <a:pt x="748823" y="111739"/>
                        </a:cubicBezTo>
                        <a:lnTo>
                          <a:pt x="765930" y="102211"/>
                        </a:lnTo>
                        <a:lnTo>
                          <a:pt x="709303" y="0"/>
                        </a:lnTo>
                        <a:lnTo>
                          <a:pt x="692196" y="9420"/>
                        </a:lnTo>
                        <a:close/>
                      </a:path>
                    </a:pathLst>
                  </a:custGeom>
                  <a:grpFill/>
                  <a:ln w="0" cap="flat">
                    <a:noFill/>
                    <a:prstDash val="solid"/>
                    <a:miter/>
                  </a:ln>
                </p:spPr>
                <p:txBody>
                  <a:bodyPr rtlCol="0" anchor="ctr"/>
                  <a:lstStyle/>
                  <a:p>
                    <a:endParaRPr lang="en-US"/>
                  </a:p>
                </p:txBody>
              </p:sp>
              <p:sp>
                <p:nvSpPr>
                  <p:cNvPr id="382" name="Freeform: Shape 381">
                    <a:extLst>
                      <a:ext uri="{FF2B5EF4-FFF2-40B4-BE49-F238E27FC236}">
                        <a16:creationId xmlns:a16="http://schemas.microsoft.com/office/drawing/2014/main" id="{827C5C16-77F6-C7F2-ECFC-042B0471CF05}"/>
                      </a:ext>
                    </a:extLst>
                  </p:cNvPr>
                  <p:cNvSpPr/>
                  <p:nvPr/>
                </p:nvSpPr>
                <p:spPr>
                  <a:xfrm>
                    <a:off x="6866263" y="1489490"/>
                    <a:ext cx="138698" cy="141730"/>
                  </a:xfrm>
                  <a:custGeom>
                    <a:avLst/>
                    <a:gdLst>
                      <a:gd name="connsiteX0" fmla="*/ 88243 w 138698"/>
                      <a:gd name="connsiteY0" fmla="*/ 136425 h 141730"/>
                      <a:gd name="connsiteX1" fmla="*/ 107083 w 138698"/>
                      <a:gd name="connsiteY1" fmla="*/ 141731 h 141730"/>
                      <a:gd name="connsiteX2" fmla="*/ 138699 w 138698"/>
                      <a:gd name="connsiteY2" fmla="*/ 29234 h 141730"/>
                      <a:gd name="connsiteX3" fmla="*/ 119859 w 138698"/>
                      <a:gd name="connsiteY3" fmla="*/ 23929 h 141730"/>
                      <a:gd name="connsiteX4" fmla="*/ 46774 w 138698"/>
                      <a:gd name="connsiteY4" fmla="*/ 4656 h 141730"/>
                      <a:gd name="connsiteX5" fmla="*/ 27826 w 138698"/>
                      <a:gd name="connsiteY5" fmla="*/ 0 h 141730"/>
                      <a:gd name="connsiteX6" fmla="*/ 0 w 138698"/>
                      <a:gd name="connsiteY6" fmla="*/ 113579 h 141730"/>
                      <a:gd name="connsiteX7" fmla="*/ 18948 w 138698"/>
                      <a:gd name="connsiteY7" fmla="*/ 118235 h 141730"/>
                      <a:gd name="connsiteX8" fmla="*/ 88243 w 138698"/>
                      <a:gd name="connsiteY8" fmla="*/ 136425 h 14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98" h="141730">
                        <a:moveTo>
                          <a:pt x="88243" y="136425"/>
                        </a:moveTo>
                        <a:lnTo>
                          <a:pt x="107083" y="141731"/>
                        </a:lnTo>
                        <a:lnTo>
                          <a:pt x="138699" y="29234"/>
                        </a:lnTo>
                        <a:lnTo>
                          <a:pt x="119859" y="23929"/>
                        </a:lnTo>
                        <a:cubicBezTo>
                          <a:pt x="95498" y="17107"/>
                          <a:pt x="70919" y="10611"/>
                          <a:pt x="46774" y="4656"/>
                        </a:cubicBezTo>
                        <a:lnTo>
                          <a:pt x="27826" y="0"/>
                        </a:lnTo>
                        <a:lnTo>
                          <a:pt x="0" y="113579"/>
                        </a:lnTo>
                        <a:lnTo>
                          <a:pt x="18948" y="118235"/>
                        </a:lnTo>
                        <a:cubicBezTo>
                          <a:pt x="41902" y="123865"/>
                          <a:pt x="65181" y="130037"/>
                          <a:pt x="88243" y="136425"/>
                        </a:cubicBezTo>
                        <a:close/>
                      </a:path>
                    </a:pathLst>
                  </a:custGeom>
                  <a:grpFill/>
                  <a:ln w="0" cap="flat">
                    <a:noFill/>
                    <a:prstDash val="solid"/>
                    <a:miter/>
                  </a:ln>
                </p:spPr>
                <p:txBody>
                  <a:bodyPr rtlCol="0" anchor="ctr"/>
                  <a:lstStyle/>
                  <a:p>
                    <a:endParaRPr lang="en-US"/>
                  </a:p>
                </p:txBody>
              </p:sp>
              <p:sp>
                <p:nvSpPr>
                  <p:cNvPr id="383" name="Freeform: Shape 382">
                    <a:extLst>
                      <a:ext uri="{FF2B5EF4-FFF2-40B4-BE49-F238E27FC236}">
                        <a16:creationId xmlns:a16="http://schemas.microsoft.com/office/drawing/2014/main" id="{25577684-3AF2-5480-2B9E-46754B2945EA}"/>
                      </a:ext>
                    </a:extLst>
                  </p:cNvPr>
                  <p:cNvSpPr/>
                  <p:nvPr/>
                </p:nvSpPr>
                <p:spPr>
                  <a:xfrm>
                    <a:off x="5349128" y="1620935"/>
                    <a:ext cx="152016" cy="153857"/>
                  </a:xfrm>
                  <a:custGeom>
                    <a:avLst/>
                    <a:gdLst>
                      <a:gd name="connsiteX0" fmla="*/ 86078 w 152016"/>
                      <a:gd name="connsiteY0" fmla="*/ 8012 h 153857"/>
                      <a:gd name="connsiteX1" fmla="*/ 17540 w 152016"/>
                      <a:gd name="connsiteY1" fmla="*/ 40278 h 153857"/>
                      <a:gd name="connsiteX2" fmla="*/ 0 w 152016"/>
                      <a:gd name="connsiteY2" fmla="*/ 48940 h 153857"/>
                      <a:gd name="connsiteX3" fmla="*/ 51647 w 152016"/>
                      <a:gd name="connsiteY3" fmla="*/ 153857 h 153857"/>
                      <a:gd name="connsiteX4" fmla="*/ 69187 w 152016"/>
                      <a:gd name="connsiteY4" fmla="*/ 145195 h 153857"/>
                      <a:gd name="connsiteX5" fmla="*/ 134151 w 152016"/>
                      <a:gd name="connsiteY5" fmla="*/ 114554 h 153857"/>
                      <a:gd name="connsiteX6" fmla="*/ 152017 w 152016"/>
                      <a:gd name="connsiteY6" fmla="*/ 106542 h 153857"/>
                      <a:gd name="connsiteX7" fmla="*/ 103943 w 152016"/>
                      <a:gd name="connsiteY7" fmla="*/ 0 h 153857"/>
                      <a:gd name="connsiteX8" fmla="*/ 86078 w 152016"/>
                      <a:gd name="connsiteY8" fmla="*/ 8012 h 15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16" h="153857">
                        <a:moveTo>
                          <a:pt x="86078" y="8012"/>
                        </a:moveTo>
                        <a:cubicBezTo>
                          <a:pt x="63340" y="18298"/>
                          <a:pt x="40386" y="29126"/>
                          <a:pt x="17540" y="40278"/>
                        </a:cubicBezTo>
                        <a:lnTo>
                          <a:pt x="0" y="48940"/>
                        </a:lnTo>
                        <a:lnTo>
                          <a:pt x="51647" y="153857"/>
                        </a:lnTo>
                        <a:lnTo>
                          <a:pt x="69187" y="145195"/>
                        </a:lnTo>
                        <a:cubicBezTo>
                          <a:pt x="90409" y="134693"/>
                          <a:pt x="112280" y="124407"/>
                          <a:pt x="134151" y="114554"/>
                        </a:cubicBezTo>
                        <a:lnTo>
                          <a:pt x="152017" y="106542"/>
                        </a:lnTo>
                        <a:lnTo>
                          <a:pt x="103943" y="0"/>
                        </a:lnTo>
                        <a:lnTo>
                          <a:pt x="86078" y="8012"/>
                        </a:lnTo>
                        <a:close/>
                      </a:path>
                    </a:pathLst>
                  </a:custGeom>
                  <a:grpFill/>
                  <a:ln w="0" cap="flat">
                    <a:noFill/>
                    <a:prstDash val="solid"/>
                    <a:miter/>
                  </a:ln>
                </p:spPr>
                <p:txBody>
                  <a:bodyPr rtlCol="0" anchor="ctr"/>
                  <a:lstStyle/>
                  <a:p>
                    <a:endParaRPr lang="en-US"/>
                  </a:p>
                </p:txBody>
              </p:sp>
              <p:sp>
                <p:nvSpPr>
                  <p:cNvPr id="384" name="Freeform: Shape 383">
                    <a:extLst>
                      <a:ext uri="{FF2B5EF4-FFF2-40B4-BE49-F238E27FC236}">
                        <a16:creationId xmlns:a16="http://schemas.microsoft.com/office/drawing/2014/main" id="{821301C8-E9DC-E4E4-7527-CECED62F76C9}"/>
                      </a:ext>
                    </a:extLst>
                  </p:cNvPr>
                  <p:cNvSpPr/>
                  <p:nvPr/>
                </p:nvSpPr>
                <p:spPr>
                  <a:xfrm>
                    <a:off x="4640258" y="1722712"/>
                    <a:ext cx="668483" cy="579915"/>
                  </a:xfrm>
                  <a:custGeom>
                    <a:avLst/>
                    <a:gdLst>
                      <a:gd name="connsiteX0" fmla="*/ 593017 w 668483"/>
                      <a:gd name="connsiteY0" fmla="*/ 9853 h 579915"/>
                      <a:gd name="connsiteX1" fmla="*/ 12776 w 668483"/>
                      <a:gd name="connsiteY1" fmla="*/ 488532 h 579915"/>
                      <a:gd name="connsiteX2" fmla="*/ 0 w 668483"/>
                      <a:gd name="connsiteY2" fmla="*/ 503257 h 579915"/>
                      <a:gd name="connsiteX3" fmla="*/ 88243 w 668483"/>
                      <a:gd name="connsiteY3" fmla="*/ 579915 h 579915"/>
                      <a:gd name="connsiteX4" fmla="*/ 101020 w 668483"/>
                      <a:gd name="connsiteY4" fmla="*/ 565190 h 579915"/>
                      <a:gd name="connsiteX5" fmla="*/ 651593 w 668483"/>
                      <a:gd name="connsiteY5" fmla="*/ 110981 h 579915"/>
                      <a:gd name="connsiteX6" fmla="*/ 668484 w 668483"/>
                      <a:gd name="connsiteY6" fmla="*/ 101236 h 579915"/>
                      <a:gd name="connsiteX7" fmla="*/ 610016 w 668483"/>
                      <a:gd name="connsiteY7" fmla="*/ 0 h 579915"/>
                      <a:gd name="connsiteX8" fmla="*/ 593125 w 668483"/>
                      <a:gd name="connsiteY8" fmla="*/ 9745 h 579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483" h="579915">
                        <a:moveTo>
                          <a:pt x="593017" y="9853"/>
                        </a:moveTo>
                        <a:cubicBezTo>
                          <a:pt x="374195" y="136317"/>
                          <a:pt x="178977" y="297429"/>
                          <a:pt x="12776" y="488532"/>
                        </a:cubicBezTo>
                        <a:lnTo>
                          <a:pt x="0" y="503257"/>
                        </a:lnTo>
                        <a:lnTo>
                          <a:pt x="88243" y="579915"/>
                        </a:lnTo>
                        <a:lnTo>
                          <a:pt x="101020" y="565190"/>
                        </a:lnTo>
                        <a:cubicBezTo>
                          <a:pt x="258775" y="383831"/>
                          <a:pt x="443923" y="230948"/>
                          <a:pt x="651593" y="110981"/>
                        </a:cubicBezTo>
                        <a:lnTo>
                          <a:pt x="668484" y="101236"/>
                        </a:lnTo>
                        <a:lnTo>
                          <a:pt x="610016" y="0"/>
                        </a:lnTo>
                        <a:lnTo>
                          <a:pt x="593125" y="9745"/>
                        </a:lnTo>
                        <a:close/>
                      </a:path>
                    </a:pathLst>
                  </a:custGeom>
                  <a:grpFill/>
                  <a:ln w="0" cap="flat">
                    <a:noFill/>
                    <a:prstDash val="solid"/>
                    <a:miter/>
                  </a:ln>
                </p:spPr>
                <p:txBody>
                  <a:bodyPr rtlCol="0" anchor="ctr"/>
                  <a:lstStyle/>
                  <a:p>
                    <a:endParaRPr lang="en-US"/>
                  </a:p>
                </p:txBody>
              </p:sp>
            </p:grpSp>
            <p:grpSp>
              <p:nvGrpSpPr>
                <p:cNvPr id="357" name="Graphic 33">
                  <a:extLst>
                    <a:ext uri="{FF2B5EF4-FFF2-40B4-BE49-F238E27FC236}">
                      <a16:creationId xmlns:a16="http://schemas.microsoft.com/office/drawing/2014/main" id="{749341D4-FA6A-ECED-D9BD-EC7FED66A258}"/>
                    </a:ext>
                  </a:extLst>
                </p:cNvPr>
                <p:cNvGrpSpPr/>
                <p:nvPr/>
              </p:nvGrpSpPr>
              <p:grpSpPr>
                <a:xfrm>
                  <a:off x="4095749" y="1428749"/>
                  <a:ext cx="4547507" cy="4547398"/>
                  <a:chOff x="4095749" y="1428749"/>
                  <a:chExt cx="4547507" cy="4547398"/>
                </a:xfrm>
                <a:grpFill/>
              </p:grpSpPr>
              <p:sp>
                <p:nvSpPr>
                  <p:cNvPr id="358" name="Freeform: Shape 357">
                    <a:extLst>
                      <a:ext uri="{FF2B5EF4-FFF2-40B4-BE49-F238E27FC236}">
                        <a16:creationId xmlns:a16="http://schemas.microsoft.com/office/drawing/2014/main" id="{AC7C590E-EBCD-D503-7E9F-819BB86B8E6B}"/>
                      </a:ext>
                    </a:extLst>
                  </p:cNvPr>
                  <p:cNvSpPr/>
                  <p:nvPr/>
                </p:nvSpPr>
                <p:spPr>
                  <a:xfrm>
                    <a:off x="7072633" y="1552614"/>
                    <a:ext cx="718289" cy="577425"/>
                  </a:xfrm>
                  <a:custGeom>
                    <a:avLst/>
                    <a:gdLst>
                      <a:gd name="connsiteX0" fmla="*/ 374628 w 718289"/>
                      <a:gd name="connsiteY0" fmla="*/ 250005 h 577425"/>
                      <a:gd name="connsiteX1" fmla="*/ 418370 w 718289"/>
                      <a:gd name="connsiteY1" fmla="*/ 171398 h 577425"/>
                      <a:gd name="connsiteX2" fmla="*/ 401263 w 718289"/>
                      <a:gd name="connsiteY2" fmla="*/ 161870 h 577425"/>
                      <a:gd name="connsiteX3" fmla="*/ 57493 w 718289"/>
                      <a:gd name="connsiteY3" fmla="*/ 6496 h 577425"/>
                      <a:gd name="connsiteX4" fmla="*/ 39087 w 718289"/>
                      <a:gd name="connsiteY4" fmla="*/ 0 h 577425"/>
                      <a:gd name="connsiteX5" fmla="*/ 0 w 718289"/>
                      <a:gd name="connsiteY5" fmla="*/ 110115 h 577425"/>
                      <a:gd name="connsiteX6" fmla="*/ 18407 w 718289"/>
                      <a:gd name="connsiteY6" fmla="*/ 116611 h 577425"/>
                      <a:gd name="connsiteX7" fmla="*/ 55111 w 718289"/>
                      <a:gd name="connsiteY7" fmla="*/ 130037 h 577425"/>
                      <a:gd name="connsiteX8" fmla="*/ 24470 w 718289"/>
                      <a:gd name="connsiteY8" fmla="*/ 209402 h 577425"/>
                      <a:gd name="connsiteX9" fmla="*/ 42010 w 718289"/>
                      <a:gd name="connsiteY9" fmla="*/ 216115 h 577425"/>
                      <a:gd name="connsiteX10" fmla="*/ 631562 w 718289"/>
                      <a:gd name="connsiteY10" fmla="*/ 565298 h 577425"/>
                      <a:gd name="connsiteX11" fmla="*/ 645963 w 718289"/>
                      <a:gd name="connsiteY11" fmla="*/ 577425 h 577425"/>
                      <a:gd name="connsiteX12" fmla="*/ 718290 w 718289"/>
                      <a:gd name="connsiteY12" fmla="*/ 491564 h 577425"/>
                      <a:gd name="connsiteX13" fmla="*/ 703889 w 718289"/>
                      <a:gd name="connsiteY13" fmla="*/ 479437 h 577425"/>
                      <a:gd name="connsiteX14" fmla="*/ 374628 w 718289"/>
                      <a:gd name="connsiteY14" fmla="*/ 249788 h 57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8289" h="577425">
                        <a:moveTo>
                          <a:pt x="374628" y="250005"/>
                        </a:moveTo>
                        <a:lnTo>
                          <a:pt x="418370" y="171398"/>
                        </a:lnTo>
                        <a:lnTo>
                          <a:pt x="401263" y="161870"/>
                        </a:lnTo>
                        <a:cubicBezTo>
                          <a:pt x="291365" y="100695"/>
                          <a:pt x="175729" y="48398"/>
                          <a:pt x="57493" y="6496"/>
                        </a:cubicBezTo>
                        <a:lnTo>
                          <a:pt x="39087" y="0"/>
                        </a:lnTo>
                        <a:lnTo>
                          <a:pt x="0" y="110115"/>
                        </a:lnTo>
                        <a:lnTo>
                          <a:pt x="18407" y="116611"/>
                        </a:lnTo>
                        <a:cubicBezTo>
                          <a:pt x="30641" y="120942"/>
                          <a:pt x="42876" y="125490"/>
                          <a:pt x="55111" y="130037"/>
                        </a:cubicBezTo>
                        <a:lnTo>
                          <a:pt x="24470" y="209402"/>
                        </a:lnTo>
                        <a:lnTo>
                          <a:pt x="42010" y="216115"/>
                        </a:lnTo>
                        <a:cubicBezTo>
                          <a:pt x="256609" y="298836"/>
                          <a:pt x="454967" y="416313"/>
                          <a:pt x="631562" y="565298"/>
                        </a:cubicBezTo>
                        <a:lnTo>
                          <a:pt x="645963" y="577425"/>
                        </a:lnTo>
                        <a:lnTo>
                          <a:pt x="718290" y="491564"/>
                        </a:lnTo>
                        <a:lnTo>
                          <a:pt x="703889" y="479437"/>
                        </a:lnTo>
                        <a:cubicBezTo>
                          <a:pt x="600812" y="392493"/>
                          <a:pt x="490698" y="315835"/>
                          <a:pt x="374628" y="249788"/>
                        </a:cubicBezTo>
                        <a:close/>
                      </a:path>
                    </a:pathLst>
                  </a:custGeom>
                  <a:grpFill/>
                  <a:ln w="0" cap="flat">
                    <a:noFill/>
                    <a:prstDash val="solid"/>
                    <a:miter/>
                  </a:ln>
                </p:spPr>
                <p:txBody>
                  <a:bodyPr rtlCol="0" anchor="ctr"/>
                  <a:lstStyle/>
                  <a:p>
                    <a:endParaRPr lang="en-US"/>
                  </a:p>
                </p:txBody>
              </p:sp>
              <p:sp>
                <p:nvSpPr>
                  <p:cNvPr id="359" name="Freeform: Shape 358">
                    <a:extLst>
                      <a:ext uri="{FF2B5EF4-FFF2-40B4-BE49-F238E27FC236}">
                        <a16:creationId xmlns:a16="http://schemas.microsoft.com/office/drawing/2014/main" id="{EAC28C75-AA71-2741-C0F3-EC075F9ABFFC}"/>
                      </a:ext>
                    </a:extLst>
                  </p:cNvPr>
                  <p:cNvSpPr/>
                  <p:nvPr/>
                </p:nvSpPr>
                <p:spPr>
                  <a:xfrm>
                    <a:off x="5064584" y="1887289"/>
                    <a:ext cx="153315" cy="154290"/>
                  </a:xfrm>
                  <a:custGeom>
                    <a:avLst/>
                    <a:gdLst>
                      <a:gd name="connsiteX0" fmla="*/ 81530 w 153315"/>
                      <a:gd name="connsiteY0" fmla="*/ 143138 h 154290"/>
                      <a:gd name="connsiteX1" fmla="*/ 137833 w 153315"/>
                      <a:gd name="connsiteY1" fmla="*/ 103293 h 154290"/>
                      <a:gd name="connsiteX2" fmla="*/ 153316 w 153315"/>
                      <a:gd name="connsiteY2" fmla="*/ 92683 h 154290"/>
                      <a:gd name="connsiteX3" fmla="*/ 89976 w 153315"/>
                      <a:gd name="connsiteY3" fmla="*/ 0 h 154290"/>
                      <a:gd name="connsiteX4" fmla="*/ 74492 w 153315"/>
                      <a:gd name="connsiteY4" fmla="*/ 10611 h 154290"/>
                      <a:gd name="connsiteX5" fmla="*/ 15158 w 153315"/>
                      <a:gd name="connsiteY5" fmla="*/ 52621 h 154290"/>
                      <a:gd name="connsiteX6" fmla="*/ 0 w 153315"/>
                      <a:gd name="connsiteY6" fmla="*/ 63773 h 154290"/>
                      <a:gd name="connsiteX7" fmla="*/ 66372 w 153315"/>
                      <a:gd name="connsiteY7" fmla="*/ 154290 h 154290"/>
                      <a:gd name="connsiteX8" fmla="*/ 81530 w 153315"/>
                      <a:gd name="connsiteY8" fmla="*/ 143247 h 15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15" h="154290">
                        <a:moveTo>
                          <a:pt x="81530" y="143138"/>
                        </a:moveTo>
                        <a:cubicBezTo>
                          <a:pt x="100045" y="129604"/>
                          <a:pt x="118885" y="116178"/>
                          <a:pt x="137833" y="103293"/>
                        </a:cubicBezTo>
                        <a:lnTo>
                          <a:pt x="153316" y="92683"/>
                        </a:lnTo>
                        <a:lnTo>
                          <a:pt x="89976" y="0"/>
                        </a:lnTo>
                        <a:lnTo>
                          <a:pt x="74492" y="10611"/>
                        </a:lnTo>
                        <a:cubicBezTo>
                          <a:pt x="54678" y="24145"/>
                          <a:pt x="34756" y="38221"/>
                          <a:pt x="15158" y="52621"/>
                        </a:cubicBezTo>
                        <a:lnTo>
                          <a:pt x="0" y="63773"/>
                        </a:lnTo>
                        <a:lnTo>
                          <a:pt x="66372" y="154290"/>
                        </a:lnTo>
                        <a:lnTo>
                          <a:pt x="81530" y="143247"/>
                        </a:lnTo>
                        <a:close/>
                      </a:path>
                    </a:pathLst>
                  </a:custGeom>
                  <a:grpFill/>
                  <a:ln w="0" cap="flat">
                    <a:noFill/>
                    <a:prstDash val="solid"/>
                    <a:miter/>
                  </a:ln>
                </p:spPr>
                <p:txBody>
                  <a:bodyPr rtlCol="0" anchor="ctr"/>
                  <a:lstStyle/>
                  <a:p>
                    <a:endParaRPr lang="en-US"/>
                  </a:p>
                </p:txBody>
              </p:sp>
              <p:sp>
                <p:nvSpPr>
                  <p:cNvPr id="360" name="Freeform: Shape 359">
                    <a:extLst>
                      <a:ext uri="{FF2B5EF4-FFF2-40B4-BE49-F238E27FC236}">
                        <a16:creationId xmlns:a16="http://schemas.microsoft.com/office/drawing/2014/main" id="{E7C7FF02-6AFB-CA34-BE43-0781B9EF6543}"/>
                      </a:ext>
                    </a:extLst>
                  </p:cNvPr>
                  <p:cNvSpPr/>
                  <p:nvPr/>
                </p:nvSpPr>
                <p:spPr>
                  <a:xfrm>
                    <a:off x="7792980" y="2116397"/>
                    <a:ext cx="156022" cy="155914"/>
                  </a:xfrm>
                  <a:custGeom>
                    <a:avLst/>
                    <a:gdLst>
                      <a:gd name="connsiteX0" fmla="*/ 155914 w 156022"/>
                      <a:gd name="connsiteY0" fmla="*/ 77632 h 155914"/>
                      <a:gd name="connsiteX1" fmla="*/ 142813 w 156022"/>
                      <a:gd name="connsiteY1" fmla="*/ 64207 h 155914"/>
                      <a:gd name="connsiteX2" fmla="*/ 91383 w 156022"/>
                      <a:gd name="connsiteY2" fmla="*/ 12993 h 155914"/>
                      <a:gd name="connsiteX3" fmla="*/ 77849 w 156022"/>
                      <a:gd name="connsiteY3" fmla="*/ 0 h 155914"/>
                      <a:gd name="connsiteX4" fmla="*/ 0 w 156022"/>
                      <a:gd name="connsiteY4" fmla="*/ 80881 h 155914"/>
                      <a:gd name="connsiteX5" fmla="*/ 13534 w 156022"/>
                      <a:gd name="connsiteY5" fmla="*/ 93874 h 155914"/>
                      <a:gd name="connsiteX6" fmla="*/ 62366 w 156022"/>
                      <a:gd name="connsiteY6" fmla="*/ 142489 h 155914"/>
                      <a:gd name="connsiteX7" fmla="*/ 75467 w 156022"/>
                      <a:gd name="connsiteY7" fmla="*/ 155915 h 155914"/>
                      <a:gd name="connsiteX8" fmla="*/ 156023 w 156022"/>
                      <a:gd name="connsiteY8" fmla="*/ 77632 h 15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022" h="155914">
                        <a:moveTo>
                          <a:pt x="155914" y="77632"/>
                        </a:moveTo>
                        <a:lnTo>
                          <a:pt x="142813" y="64207"/>
                        </a:lnTo>
                        <a:cubicBezTo>
                          <a:pt x="126031" y="46883"/>
                          <a:pt x="108707" y="29667"/>
                          <a:pt x="91383" y="12993"/>
                        </a:cubicBezTo>
                        <a:lnTo>
                          <a:pt x="77849" y="0"/>
                        </a:lnTo>
                        <a:lnTo>
                          <a:pt x="0" y="80881"/>
                        </a:lnTo>
                        <a:lnTo>
                          <a:pt x="13534" y="93874"/>
                        </a:lnTo>
                        <a:cubicBezTo>
                          <a:pt x="30100" y="109790"/>
                          <a:pt x="46558" y="126139"/>
                          <a:pt x="62366" y="142489"/>
                        </a:cubicBezTo>
                        <a:lnTo>
                          <a:pt x="75467" y="155915"/>
                        </a:lnTo>
                        <a:lnTo>
                          <a:pt x="156023" y="77632"/>
                        </a:lnTo>
                        <a:close/>
                      </a:path>
                    </a:pathLst>
                  </a:custGeom>
                  <a:grpFill/>
                  <a:ln w="0" cap="flat">
                    <a:noFill/>
                    <a:prstDash val="solid"/>
                    <a:miter/>
                  </a:ln>
                </p:spPr>
                <p:txBody>
                  <a:bodyPr rtlCol="0" anchor="ctr"/>
                  <a:lstStyle/>
                  <a:p>
                    <a:endParaRPr lang="en-US"/>
                  </a:p>
                </p:txBody>
              </p:sp>
              <p:sp>
                <p:nvSpPr>
                  <p:cNvPr id="361" name="Freeform: Shape 360">
                    <a:extLst>
                      <a:ext uri="{FF2B5EF4-FFF2-40B4-BE49-F238E27FC236}">
                        <a16:creationId xmlns:a16="http://schemas.microsoft.com/office/drawing/2014/main" id="{875F3D25-04D6-A0DC-2ACC-C5DAA54DD490}"/>
                      </a:ext>
                    </a:extLst>
                  </p:cNvPr>
                  <p:cNvSpPr/>
                  <p:nvPr/>
                </p:nvSpPr>
                <p:spPr>
                  <a:xfrm>
                    <a:off x="4978073" y="5299002"/>
                    <a:ext cx="385455" cy="313019"/>
                  </a:xfrm>
                  <a:custGeom>
                    <a:avLst/>
                    <a:gdLst>
                      <a:gd name="connsiteX0" fmla="*/ 85428 w 385455"/>
                      <a:gd name="connsiteY0" fmla="*/ 11802 h 313019"/>
                      <a:gd name="connsiteX1" fmla="*/ 70811 w 385455"/>
                      <a:gd name="connsiteY1" fmla="*/ 0 h 313019"/>
                      <a:gd name="connsiteX2" fmla="*/ 0 w 385455"/>
                      <a:gd name="connsiteY2" fmla="*/ 87160 h 313019"/>
                      <a:gd name="connsiteX3" fmla="*/ 14617 w 385455"/>
                      <a:gd name="connsiteY3" fmla="*/ 98962 h 313019"/>
                      <a:gd name="connsiteX4" fmla="*/ 98204 w 385455"/>
                      <a:gd name="connsiteY4" fmla="*/ 163493 h 313019"/>
                      <a:gd name="connsiteX5" fmla="*/ 45475 w 385455"/>
                      <a:gd name="connsiteY5" fmla="*/ 236470 h 313019"/>
                      <a:gd name="connsiteX6" fmla="*/ 61283 w 385455"/>
                      <a:gd name="connsiteY6" fmla="*/ 247947 h 313019"/>
                      <a:gd name="connsiteX7" fmla="*/ 123216 w 385455"/>
                      <a:gd name="connsiteY7" fmla="*/ 291149 h 313019"/>
                      <a:gd name="connsiteX8" fmla="*/ 139457 w 385455"/>
                      <a:gd name="connsiteY8" fmla="*/ 302084 h 313019"/>
                      <a:gd name="connsiteX9" fmla="*/ 189696 w 385455"/>
                      <a:gd name="connsiteY9" fmla="*/ 227483 h 313019"/>
                      <a:gd name="connsiteX10" fmla="*/ 313670 w 385455"/>
                      <a:gd name="connsiteY10" fmla="*/ 303708 h 313019"/>
                      <a:gd name="connsiteX11" fmla="*/ 330019 w 385455"/>
                      <a:gd name="connsiteY11" fmla="*/ 313020 h 313019"/>
                      <a:gd name="connsiteX12" fmla="*/ 385455 w 385455"/>
                      <a:gd name="connsiteY12" fmla="*/ 215465 h 313019"/>
                      <a:gd name="connsiteX13" fmla="*/ 369106 w 385455"/>
                      <a:gd name="connsiteY13" fmla="*/ 206153 h 313019"/>
                      <a:gd name="connsiteX14" fmla="*/ 85320 w 385455"/>
                      <a:gd name="connsiteY14" fmla="*/ 12018 h 31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5455" h="313019">
                        <a:moveTo>
                          <a:pt x="85428" y="11802"/>
                        </a:moveTo>
                        <a:lnTo>
                          <a:pt x="70811" y="0"/>
                        </a:lnTo>
                        <a:lnTo>
                          <a:pt x="0" y="87160"/>
                        </a:lnTo>
                        <a:lnTo>
                          <a:pt x="14617" y="98962"/>
                        </a:lnTo>
                        <a:cubicBezTo>
                          <a:pt x="41902" y="121159"/>
                          <a:pt x="69837" y="142597"/>
                          <a:pt x="98204" y="163493"/>
                        </a:cubicBezTo>
                        <a:lnTo>
                          <a:pt x="45475" y="236470"/>
                        </a:lnTo>
                        <a:lnTo>
                          <a:pt x="61283" y="247947"/>
                        </a:lnTo>
                        <a:cubicBezTo>
                          <a:pt x="81639" y="262672"/>
                          <a:pt x="102427" y="277181"/>
                          <a:pt x="123216" y="291149"/>
                        </a:cubicBezTo>
                        <a:lnTo>
                          <a:pt x="139457" y="302084"/>
                        </a:lnTo>
                        <a:lnTo>
                          <a:pt x="189696" y="227483"/>
                        </a:lnTo>
                        <a:cubicBezTo>
                          <a:pt x="230299" y="254227"/>
                          <a:pt x="271659" y="279780"/>
                          <a:pt x="313670" y="303708"/>
                        </a:cubicBezTo>
                        <a:lnTo>
                          <a:pt x="330019" y="313020"/>
                        </a:lnTo>
                        <a:lnTo>
                          <a:pt x="385455" y="215465"/>
                        </a:lnTo>
                        <a:lnTo>
                          <a:pt x="369106" y="206153"/>
                        </a:lnTo>
                        <a:cubicBezTo>
                          <a:pt x="269711" y="149634"/>
                          <a:pt x="174213" y="84345"/>
                          <a:pt x="85320" y="12018"/>
                        </a:cubicBezTo>
                        <a:close/>
                      </a:path>
                    </a:pathLst>
                  </a:custGeom>
                  <a:grpFill/>
                  <a:ln w="0" cap="flat">
                    <a:noFill/>
                    <a:prstDash val="solid"/>
                    <a:miter/>
                  </a:ln>
                </p:spPr>
                <p:txBody>
                  <a:bodyPr rtlCol="0" anchor="ctr"/>
                  <a:lstStyle/>
                  <a:p>
                    <a:endParaRPr lang="en-US"/>
                  </a:p>
                </p:txBody>
              </p:sp>
              <p:sp>
                <p:nvSpPr>
                  <p:cNvPr id="362" name="Freeform: Shape 361">
                    <a:extLst>
                      <a:ext uri="{FF2B5EF4-FFF2-40B4-BE49-F238E27FC236}">
                        <a16:creationId xmlns:a16="http://schemas.microsoft.com/office/drawing/2014/main" id="{1516A147-4174-3304-1EAB-416F1172EBB6}"/>
                      </a:ext>
                    </a:extLst>
                  </p:cNvPr>
                  <p:cNvSpPr/>
                  <p:nvPr/>
                </p:nvSpPr>
                <p:spPr>
                  <a:xfrm>
                    <a:off x="7058125" y="5301492"/>
                    <a:ext cx="699558" cy="461138"/>
                  </a:xfrm>
                  <a:custGeom>
                    <a:avLst/>
                    <a:gdLst>
                      <a:gd name="connsiteX0" fmla="*/ 614346 w 699558"/>
                      <a:gd name="connsiteY0" fmla="*/ 11802 h 461138"/>
                      <a:gd name="connsiteX1" fmla="*/ 17649 w 699558"/>
                      <a:gd name="connsiteY1" fmla="*/ 349184 h 461138"/>
                      <a:gd name="connsiteX2" fmla="*/ 0 w 699558"/>
                      <a:gd name="connsiteY2" fmla="*/ 355572 h 461138"/>
                      <a:gd name="connsiteX3" fmla="*/ 38221 w 699558"/>
                      <a:gd name="connsiteY3" fmla="*/ 461139 h 461138"/>
                      <a:gd name="connsiteX4" fmla="*/ 55869 w 699558"/>
                      <a:gd name="connsiteY4" fmla="*/ 454751 h 461138"/>
                      <a:gd name="connsiteX5" fmla="*/ 684941 w 699558"/>
                      <a:gd name="connsiteY5" fmla="*/ 99071 h 461138"/>
                      <a:gd name="connsiteX6" fmla="*/ 699558 w 699558"/>
                      <a:gd name="connsiteY6" fmla="*/ 87269 h 461138"/>
                      <a:gd name="connsiteX7" fmla="*/ 628855 w 699558"/>
                      <a:gd name="connsiteY7" fmla="*/ 0 h 461138"/>
                      <a:gd name="connsiteX8" fmla="*/ 614238 w 699558"/>
                      <a:gd name="connsiteY8" fmla="*/ 11802 h 4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9558" h="461138">
                        <a:moveTo>
                          <a:pt x="614346" y="11802"/>
                        </a:moveTo>
                        <a:cubicBezTo>
                          <a:pt x="434720" y="157322"/>
                          <a:pt x="233980" y="270793"/>
                          <a:pt x="17649" y="349184"/>
                        </a:cubicBezTo>
                        <a:lnTo>
                          <a:pt x="0" y="355572"/>
                        </a:lnTo>
                        <a:lnTo>
                          <a:pt x="38221" y="461139"/>
                        </a:lnTo>
                        <a:lnTo>
                          <a:pt x="55869" y="454751"/>
                        </a:lnTo>
                        <a:cubicBezTo>
                          <a:pt x="283894" y="372030"/>
                          <a:pt x="495570" y="252387"/>
                          <a:pt x="684941" y="99071"/>
                        </a:cubicBezTo>
                        <a:lnTo>
                          <a:pt x="699558" y="87269"/>
                        </a:lnTo>
                        <a:lnTo>
                          <a:pt x="628855" y="0"/>
                        </a:lnTo>
                        <a:lnTo>
                          <a:pt x="614238" y="11802"/>
                        </a:lnTo>
                        <a:close/>
                      </a:path>
                    </a:pathLst>
                  </a:custGeom>
                  <a:grpFill/>
                  <a:ln w="0" cap="flat">
                    <a:noFill/>
                    <a:prstDash val="solid"/>
                    <a:miter/>
                  </a:ln>
                </p:spPr>
                <p:txBody>
                  <a:bodyPr rtlCol="0" anchor="ctr"/>
                  <a:lstStyle/>
                  <a:p>
                    <a:endParaRPr lang="en-US"/>
                  </a:p>
                </p:txBody>
              </p:sp>
              <p:sp>
                <p:nvSpPr>
                  <p:cNvPr id="363" name="Freeform: Shape 362">
                    <a:extLst>
                      <a:ext uri="{FF2B5EF4-FFF2-40B4-BE49-F238E27FC236}">
                        <a16:creationId xmlns:a16="http://schemas.microsoft.com/office/drawing/2014/main" id="{B37666AF-E473-19AE-03D3-7CDB3D6955E1}"/>
                      </a:ext>
                    </a:extLst>
                  </p:cNvPr>
                  <p:cNvSpPr/>
                  <p:nvPr/>
                </p:nvSpPr>
                <p:spPr>
                  <a:xfrm>
                    <a:off x="5403373" y="5560700"/>
                    <a:ext cx="145303" cy="147252"/>
                  </a:xfrm>
                  <a:custGeom>
                    <a:avLst/>
                    <a:gdLst>
                      <a:gd name="connsiteX0" fmla="*/ 65722 w 145303"/>
                      <a:gd name="connsiteY0" fmla="*/ 8121 h 147252"/>
                      <a:gd name="connsiteX1" fmla="*/ 48832 w 145303"/>
                      <a:gd name="connsiteY1" fmla="*/ 0 h 147252"/>
                      <a:gd name="connsiteX2" fmla="*/ 0 w 145303"/>
                      <a:gd name="connsiteY2" fmla="*/ 101128 h 147252"/>
                      <a:gd name="connsiteX3" fmla="*/ 16891 w 145303"/>
                      <a:gd name="connsiteY3" fmla="*/ 109248 h 147252"/>
                      <a:gd name="connsiteX4" fmla="*/ 82613 w 145303"/>
                      <a:gd name="connsiteY4" fmla="*/ 139673 h 147252"/>
                      <a:gd name="connsiteX5" fmla="*/ 99829 w 145303"/>
                      <a:gd name="connsiteY5" fmla="*/ 147253 h 147252"/>
                      <a:gd name="connsiteX6" fmla="*/ 145304 w 145303"/>
                      <a:gd name="connsiteY6" fmla="*/ 44609 h 147252"/>
                      <a:gd name="connsiteX7" fmla="*/ 128088 w 145303"/>
                      <a:gd name="connsiteY7" fmla="*/ 37030 h 147252"/>
                      <a:gd name="connsiteX8" fmla="*/ 65722 w 145303"/>
                      <a:gd name="connsiteY8" fmla="*/ 8229 h 147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03" h="147252">
                        <a:moveTo>
                          <a:pt x="65722" y="8121"/>
                        </a:moveTo>
                        <a:lnTo>
                          <a:pt x="48832" y="0"/>
                        </a:lnTo>
                        <a:lnTo>
                          <a:pt x="0" y="101128"/>
                        </a:lnTo>
                        <a:lnTo>
                          <a:pt x="16891" y="109248"/>
                        </a:lnTo>
                        <a:cubicBezTo>
                          <a:pt x="38437" y="119643"/>
                          <a:pt x="60525" y="129929"/>
                          <a:pt x="82613" y="139673"/>
                        </a:cubicBezTo>
                        <a:lnTo>
                          <a:pt x="99829" y="147253"/>
                        </a:lnTo>
                        <a:lnTo>
                          <a:pt x="145304" y="44609"/>
                        </a:lnTo>
                        <a:lnTo>
                          <a:pt x="128088" y="37030"/>
                        </a:lnTo>
                        <a:cubicBezTo>
                          <a:pt x="107191" y="27718"/>
                          <a:pt x="86186" y="18082"/>
                          <a:pt x="65722" y="8229"/>
                        </a:cubicBezTo>
                        <a:close/>
                      </a:path>
                    </a:pathLst>
                  </a:custGeom>
                  <a:grpFill/>
                  <a:ln w="0" cap="flat">
                    <a:noFill/>
                    <a:prstDash val="solid"/>
                    <a:miter/>
                  </a:ln>
                </p:spPr>
                <p:txBody>
                  <a:bodyPr rtlCol="0" anchor="ctr"/>
                  <a:lstStyle/>
                  <a:p>
                    <a:endParaRPr lang="en-US"/>
                  </a:p>
                </p:txBody>
              </p:sp>
              <p:sp>
                <p:nvSpPr>
                  <p:cNvPr id="364" name="Freeform: Shape 363">
                    <a:extLst>
                      <a:ext uri="{FF2B5EF4-FFF2-40B4-BE49-F238E27FC236}">
                        <a16:creationId xmlns:a16="http://schemas.microsoft.com/office/drawing/2014/main" id="{DA4705FD-2585-98BA-8496-F77120A47C95}"/>
                      </a:ext>
                    </a:extLst>
                  </p:cNvPr>
                  <p:cNvSpPr/>
                  <p:nvPr/>
                </p:nvSpPr>
                <p:spPr>
                  <a:xfrm>
                    <a:off x="6860200" y="5688139"/>
                    <a:ext cx="133826" cy="136533"/>
                  </a:xfrm>
                  <a:custGeom>
                    <a:avLst/>
                    <a:gdLst>
                      <a:gd name="connsiteX0" fmla="*/ 84670 w 133826"/>
                      <a:gd name="connsiteY0" fmla="*/ 5197 h 136533"/>
                      <a:gd name="connsiteX1" fmla="*/ 18190 w 133826"/>
                      <a:gd name="connsiteY1" fmla="*/ 23170 h 136533"/>
                      <a:gd name="connsiteX2" fmla="*/ 0 w 133826"/>
                      <a:gd name="connsiteY2" fmla="*/ 27718 h 136533"/>
                      <a:gd name="connsiteX3" fmla="*/ 27501 w 133826"/>
                      <a:gd name="connsiteY3" fmla="*/ 136533 h 136533"/>
                      <a:gd name="connsiteX4" fmla="*/ 45692 w 133826"/>
                      <a:gd name="connsiteY4" fmla="*/ 131986 h 136533"/>
                      <a:gd name="connsiteX5" fmla="*/ 115745 w 133826"/>
                      <a:gd name="connsiteY5" fmla="*/ 113038 h 136533"/>
                      <a:gd name="connsiteX6" fmla="*/ 133826 w 133826"/>
                      <a:gd name="connsiteY6" fmla="*/ 107841 h 136533"/>
                      <a:gd name="connsiteX7" fmla="*/ 102752 w 133826"/>
                      <a:gd name="connsiteY7" fmla="*/ 0 h 136533"/>
                      <a:gd name="connsiteX8" fmla="*/ 84670 w 133826"/>
                      <a:gd name="connsiteY8" fmla="*/ 5197 h 1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26" h="136533">
                        <a:moveTo>
                          <a:pt x="84670" y="5197"/>
                        </a:moveTo>
                        <a:cubicBezTo>
                          <a:pt x="62690" y="11477"/>
                          <a:pt x="40386" y="17540"/>
                          <a:pt x="18190" y="23170"/>
                        </a:cubicBezTo>
                        <a:lnTo>
                          <a:pt x="0" y="27718"/>
                        </a:lnTo>
                        <a:lnTo>
                          <a:pt x="27501" y="136533"/>
                        </a:lnTo>
                        <a:lnTo>
                          <a:pt x="45692" y="131986"/>
                        </a:lnTo>
                        <a:cubicBezTo>
                          <a:pt x="68970" y="126139"/>
                          <a:pt x="92574" y="119751"/>
                          <a:pt x="115745" y="113038"/>
                        </a:cubicBezTo>
                        <a:lnTo>
                          <a:pt x="133826" y="107841"/>
                        </a:lnTo>
                        <a:lnTo>
                          <a:pt x="102752" y="0"/>
                        </a:lnTo>
                        <a:lnTo>
                          <a:pt x="84670" y="5197"/>
                        </a:lnTo>
                        <a:close/>
                      </a:path>
                    </a:pathLst>
                  </a:custGeom>
                  <a:grpFill/>
                  <a:ln w="0"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FB30855A-2C47-2A1F-9294-BA4416F10531}"/>
                      </a:ext>
                    </a:extLst>
                  </p:cNvPr>
                  <p:cNvSpPr/>
                  <p:nvPr/>
                </p:nvSpPr>
                <p:spPr>
                  <a:xfrm>
                    <a:off x="8402454" y="2941877"/>
                    <a:ext cx="240801" cy="1126265"/>
                  </a:xfrm>
                  <a:custGeom>
                    <a:avLst/>
                    <a:gdLst>
                      <a:gd name="connsiteX0" fmla="*/ 240801 w 240801"/>
                      <a:gd name="connsiteY0" fmla="*/ 760625 h 1126265"/>
                      <a:gd name="connsiteX1" fmla="*/ 116936 w 240801"/>
                      <a:gd name="connsiteY1" fmla="*/ 18515 h 1126265"/>
                      <a:gd name="connsiteX2" fmla="*/ 110548 w 240801"/>
                      <a:gd name="connsiteY2" fmla="*/ 0 h 1126265"/>
                      <a:gd name="connsiteX3" fmla="*/ 0 w 240801"/>
                      <a:gd name="connsiteY3" fmla="*/ 38112 h 1126265"/>
                      <a:gd name="connsiteX4" fmla="*/ 6388 w 240801"/>
                      <a:gd name="connsiteY4" fmla="*/ 56627 h 1126265"/>
                      <a:gd name="connsiteX5" fmla="*/ 109790 w 240801"/>
                      <a:gd name="connsiteY5" fmla="*/ 513327 h 1126265"/>
                      <a:gd name="connsiteX6" fmla="*/ 25228 w 240801"/>
                      <a:gd name="connsiteY6" fmla="*/ 522205 h 1126265"/>
                      <a:gd name="connsiteX7" fmla="*/ 27177 w 240801"/>
                      <a:gd name="connsiteY7" fmla="*/ 540829 h 1126265"/>
                      <a:gd name="connsiteX8" fmla="*/ 33240 w 240801"/>
                      <a:gd name="connsiteY8" fmla="*/ 609366 h 1126265"/>
                      <a:gd name="connsiteX9" fmla="*/ 34539 w 240801"/>
                      <a:gd name="connsiteY9" fmla="*/ 628097 h 1126265"/>
                      <a:gd name="connsiteX10" fmla="*/ 119426 w 240801"/>
                      <a:gd name="connsiteY10" fmla="*/ 622034 h 1126265"/>
                      <a:gd name="connsiteX11" fmla="*/ 123541 w 240801"/>
                      <a:gd name="connsiteY11" fmla="*/ 727709 h 1126265"/>
                      <a:gd name="connsiteX12" fmla="*/ 38546 w 240801"/>
                      <a:gd name="connsiteY12" fmla="*/ 728251 h 1126265"/>
                      <a:gd name="connsiteX13" fmla="*/ 38546 w 240801"/>
                      <a:gd name="connsiteY13" fmla="*/ 746982 h 1126265"/>
                      <a:gd name="connsiteX14" fmla="*/ 38762 w 240801"/>
                      <a:gd name="connsiteY14" fmla="*/ 760625 h 1126265"/>
                      <a:gd name="connsiteX15" fmla="*/ 12776 w 240801"/>
                      <a:gd name="connsiteY15" fmla="*/ 1089994 h 1126265"/>
                      <a:gd name="connsiteX16" fmla="*/ 9853 w 240801"/>
                      <a:gd name="connsiteY16" fmla="*/ 1108509 h 1126265"/>
                      <a:gd name="connsiteX17" fmla="*/ 120725 w 240801"/>
                      <a:gd name="connsiteY17" fmla="*/ 1126266 h 1126265"/>
                      <a:gd name="connsiteX18" fmla="*/ 123649 w 240801"/>
                      <a:gd name="connsiteY18" fmla="*/ 1107751 h 1126265"/>
                      <a:gd name="connsiteX19" fmla="*/ 150826 w 240801"/>
                      <a:gd name="connsiteY19" fmla="*/ 785203 h 1126265"/>
                      <a:gd name="connsiteX20" fmla="*/ 240801 w 240801"/>
                      <a:gd name="connsiteY20" fmla="*/ 785636 h 1126265"/>
                      <a:gd name="connsiteX21" fmla="*/ 240801 w 240801"/>
                      <a:gd name="connsiteY21" fmla="*/ 760733 h 112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0801" h="1126265">
                        <a:moveTo>
                          <a:pt x="240801" y="760625"/>
                        </a:moveTo>
                        <a:cubicBezTo>
                          <a:pt x="240801" y="506397"/>
                          <a:pt x="199116" y="256718"/>
                          <a:pt x="116936" y="18515"/>
                        </a:cubicBezTo>
                        <a:lnTo>
                          <a:pt x="110548" y="0"/>
                        </a:lnTo>
                        <a:lnTo>
                          <a:pt x="0" y="38112"/>
                        </a:lnTo>
                        <a:lnTo>
                          <a:pt x="6388" y="56627"/>
                        </a:lnTo>
                        <a:cubicBezTo>
                          <a:pt x="57493" y="204746"/>
                          <a:pt x="91925" y="357521"/>
                          <a:pt x="109790" y="513327"/>
                        </a:cubicBezTo>
                        <a:lnTo>
                          <a:pt x="25228" y="522205"/>
                        </a:lnTo>
                        <a:lnTo>
                          <a:pt x="27177" y="540829"/>
                        </a:lnTo>
                        <a:cubicBezTo>
                          <a:pt x="29559" y="563566"/>
                          <a:pt x="31616" y="586628"/>
                          <a:pt x="33240" y="609366"/>
                        </a:cubicBezTo>
                        <a:lnTo>
                          <a:pt x="34539" y="628097"/>
                        </a:lnTo>
                        <a:lnTo>
                          <a:pt x="119426" y="622034"/>
                        </a:lnTo>
                        <a:cubicBezTo>
                          <a:pt x="121700" y="657115"/>
                          <a:pt x="122999" y="692412"/>
                          <a:pt x="123541" y="727709"/>
                        </a:cubicBezTo>
                        <a:lnTo>
                          <a:pt x="38546" y="728251"/>
                        </a:lnTo>
                        <a:lnTo>
                          <a:pt x="38546" y="746982"/>
                        </a:lnTo>
                        <a:cubicBezTo>
                          <a:pt x="38654" y="751530"/>
                          <a:pt x="38762" y="756077"/>
                          <a:pt x="38762" y="760625"/>
                        </a:cubicBezTo>
                        <a:cubicBezTo>
                          <a:pt x="38762" y="871064"/>
                          <a:pt x="29992" y="981828"/>
                          <a:pt x="12776" y="1089994"/>
                        </a:cubicBezTo>
                        <a:lnTo>
                          <a:pt x="9853" y="1108509"/>
                        </a:lnTo>
                        <a:lnTo>
                          <a:pt x="120725" y="1126266"/>
                        </a:lnTo>
                        <a:lnTo>
                          <a:pt x="123649" y="1107751"/>
                        </a:lnTo>
                        <a:cubicBezTo>
                          <a:pt x="140539" y="1001751"/>
                          <a:pt x="149634" y="893369"/>
                          <a:pt x="150826" y="785203"/>
                        </a:cubicBezTo>
                        <a:lnTo>
                          <a:pt x="240801" y="785636"/>
                        </a:lnTo>
                        <a:lnTo>
                          <a:pt x="240801" y="760733"/>
                        </a:lnTo>
                        <a:close/>
                      </a:path>
                    </a:pathLst>
                  </a:custGeom>
                  <a:grpFill/>
                  <a:ln w="0" cap="flat">
                    <a:noFill/>
                    <a:prstDash val="solid"/>
                    <a:miter/>
                  </a:ln>
                </p:spPr>
                <p:txBody>
                  <a:bodyPr rtlCol="0" anchor="ctr"/>
                  <a:lstStyle/>
                  <a:p>
                    <a:endParaRPr lang="en-US"/>
                  </a:p>
                </p:txBody>
              </p:sp>
              <p:sp>
                <p:nvSpPr>
                  <p:cNvPr id="366" name="Freeform: Shape 365">
                    <a:extLst>
                      <a:ext uri="{FF2B5EF4-FFF2-40B4-BE49-F238E27FC236}">
                        <a16:creationId xmlns:a16="http://schemas.microsoft.com/office/drawing/2014/main" id="{4D714D78-2048-A05C-A882-B6372F5C052C}"/>
                      </a:ext>
                    </a:extLst>
                  </p:cNvPr>
                  <p:cNvSpPr/>
                  <p:nvPr/>
                </p:nvSpPr>
                <p:spPr>
                  <a:xfrm>
                    <a:off x="8006496" y="4460095"/>
                    <a:ext cx="492105" cy="722295"/>
                  </a:xfrm>
                  <a:custGeom>
                    <a:avLst/>
                    <a:gdLst>
                      <a:gd name="connsiteX0" fmla="*/ 376144 w 492105"/>
                      <a:gd name="connsiteY0" fmla="*/ 18190 h 722295"/>
                      <a:gd name="connsiteX1" fmla="*/ 163927 w 492105"/>
                      <a:gd name="connsiteY1" fmla="*/ 429631 h 722295"/>
                      <a:gd name="connsiteX2" fmla="*/ 93332 w 492105"/>
                      <a:gd name="connsiteY2" fmla="*/ 382099 h 722295"/>
                      <a:gd name="connsiteX3" fmla="*/ 82830 w 492105"/>
                      <a:gd name="connsiteY3" fmla="*/ 397690 h 722295"/>
                      <a:gd name="connsiteX4" fmla="*/ 43526 w 492105"/>
                      <a:gd name="connsiteY4" fmla="*/ 454101 h 722295"/>
                      <a:gd name="connsiteX5" fmla="*/ 32482 w 492105"/>
                      <a:gd name="connsiteY5" fmla="*/ 469368 h 722295"/>
                      <a:gd name="connsiteX6" fmla="*/ 101453 w 492105"/>
                      <a:gd name="connsiteY6" fmla="*/ 519174 h 722295"/>
                      <a:gd name="connsiteX7" fmla="*/ 12560 w 492105"/>
                      <a:gd name="connsiteY7" fmla="*/ 631995 h 722295"/>
                      <a:gd name="connsiteX8" fmla="*/ 0 w 492105"/>
                      <a:gd name="connsiteY8" fmla="*/ 646937 h 722295"/>
                      <a:gd name="connsiteX9" fmla="*/ 89326 w 492105"/>
                      <a:gd name="connsiteY9" fmla="*/ 722296 h 722295"/>
                      <a:gd name="connsiteX10" fmla="*/ 101886 w 492105"/>
                      <a:gd name="connsiteY10" fmla="*/ 707354 h 722295"/>
                      <a:gd name="connsiteX11" fmla="*/ 485067 w 492105"/>
                      <a:gd name="connsiteY11" fmla="*/ 60200 h 722295"/>
                      <a:gd name="connsiteX12" fmla="*/ 492105 w 492105"/>
                      <a:gd name="connsiteY12" fmla="*/ 42010 h 722295"/>
                      <a:gd name="connsiteX13" fmla="*/ 383073 w 492105"/>
                      <a:gd name="connsiteY13" fmla="*/ 0 h 722295"/>
                      <a:gd name="connsiteX14" fmla="*/ 376036 w 492105"/>
                      <a:gd name="connsiteY14" fmla="*/ 18190 h 72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2105" h="722295">
                        <a:moveTo>
                          <a:pt x="376144" y="18190"/>
                        </a:moveTo>
                        <a:cubicBezTo>
                          <a:pt x="320274" y="162952"/>
                          <a:pt x="249247" y="300677"/>
                          <a:pt x="163927" y="429631"/>
                        </a:cubicBezTo>
                        <a:lnTo>
                          <a:pt x="93332" y="382099"/>
                        </a:lnTo>
                        <a:lnTo>
                          <a:pt x="82830" y="397690"/>
                        </a:lnTo>
                        <a:cubicBezTo>
                          <a:pt x="70053" y="416638"/>
                          <a:pt x="56844" y="435694"/>
                          <a:pt x="43526" y="454101"/>
                        </a:cubicBezTo>
                        <a:lnTo>
                          <a:pt x="32482" y="469368"/>
                        </a:lnTo>
                        <a:lnTo>
                          <a:pt x="101453" y="519174"/>
                        </a:lnTo>
                        <a:cubicBezTo>
                          <a:pt x="73193" y="557611"/>
                          <a:pt x="43526" y="595290"/>
                          <a:pt x="12560" y="631995"/>
                        </a:cubicBezTo>
                        <a:lnTo>
                          <a:pt x="0" y="646937"/>
                        </a:lnTo>
                        <a:lnTo>
                          <a:pt x="89326" y="722296"/>
                        </a:lnTo>
                        <a:lnTo>
                          <a:pt x="101886" y="707354"/>
                        </a:lnTo>
                        <a:cubicBezTo>
                          <a:pt x="265380" y="513543"/>
                          <a:pt x="394334" y="295805"/>
                          <a:pt x="485067" y="60200"/>
                        </a:cubicBezTo>
                        <a:lnTo>
                          <a:pt x="492105" y="42010"/>
                        </a:lnTo>
                        <a:lnTo>
                          <a:pt x="383073" y="0"/>
                        </a:lnTo>
                        <a:lnTo>
                          <a:pt x="376036" y="18190"/>
                        </a:lnTo>
                        <a:close/>
                      </a:path>
                    </a:pathLst>
                  </a:custGeom>
                  <a:grpFill/>
                  <a:ln w="0" cap="flat">
                    <a:noFill/>
                    <a:prstDash val="solid"/>
                    <a:miter/>
                  </a:ln>
                </p:spPr>
                <p:txBody>
                  <a:bodyPr rtlCol="0" anchor="ctr"/>
                  <a:lstStyle/>
                  <a:p>
                    <a:endParaRPr lang="en-US"/>
                  </a:p>
                </p:txBody>
              </p:sp>
              <p:sp>
                <p:nvSpPr>
                  <p:cNvPr id="367" name="Freeform: Shape 366">
                    <a:extLst>
                      <a:ext uri="{FF2B5EF4-FFF2-40B4-BE49-F238E27FC236}">
                        <a16:creationId xmlns:a16="http://schemas.microsoft.com/office/drawing/2014/main" id="{DFFD0914-98A1-E085-7BBE-00EAAA22EC63}"/>
                      </a:ext>
                    </a:extLst>
                  </p:cNvPr>
                  <p:cNvSpPr/>
                  <p:nvPr/>
                </p:nvSpPr>
                <p:spPr>
                  <a:xfrm>
                    <a:off x="8098638" y="2343880"/>
                    <a:ext cx="160678" cy="159595"/>
                  </a:xfrm>
                  <a:custGeom>
                    <a:avLst/>
                    <a:gdLst>
                      <a:gd name="connsiteX0" fmla="*/ 53162 w 160678"/>
                      <a:gd name="connsiteY0" fmla="*/ 143463 h 159595"/>
                      <a:gd name="connsiteX1" fmla="*/ 64206 w 160678"/>
                      <a:gd name="connsiteY1" fmla="*/ 159596 h 159595"/>
                      <a:gd name="connsiteX2" fmla="*/ 160679 w 160678"/>
                      <a:gd name="connsiteY2" fmla="*/ 93657 h 159595"/>
                      <a:gd name="connsiteX3" fmla="*/ 149634 w 160678"/>
                      <a:gd name="connsiteY3" fmla="*/ 77524 h 159595"/>
                      <a:gd name="connsiteX4" fmla="*/ 105892 w 160678"/>
                      <a:gd name="connsiteY4" fmla="*/ 15808 h 159595"/>
                      <a:gd name="connsiteX5" fmla="*/ 94307 w 160678"/>
                      <a:gd name="connsiteY5" fmla="*/ 0 h 159595"/>
                      <a:gd name="connsiteX6" fmla="*/ 0 w 160678"/>
                      <a:gd name="connsiteY6" fmla="*/ 69079 h 159595"/>
                      <a:gd name="connsiteX7" fmla="*/ 11585 w 160678"/>
                      <a:gd name="connsiteY7" fmla="*/ 84887 h 159595"/>
                      <a:gd name="connsiteX8" fmla="*/ 53054 w 160678"/>
                      <a:gd name="connsiteY8" fmla="*/ 143463 h 15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78" h="159595">
                        <a:moveTo>
                          <a:pt x="53162" y="143463"/>
                        </a:moveTo>
                        <a:lnTo>
                          <a:pt x="64206" y="159596"/>
                        </a:lnTo>
                        <a:lnTo>
                          <a:pt x="160679" y="93657"/>
                        </a:lnTo>
                        <a:lnTo>
                          <a:pt x="149634" y="77524"/>
                        </a:lnTo>
                        <a:cubicBezTo>
                          <a:pt x="135559" y="56952"/>
                          <a:pt x="120833" y="36164"/>
                          <a:pt x="105892" y="15808"/>
                        </a:cubicBezTo>
                        <a:lnTo>
                          <a:pt x="94307" y="0"/>
                        </a:lnTo>
                        <a:lnTo>
                          <a:pt x="0" y="69079"/>
                        </a:lnTo>
                        <a:lnTo>
                          <a:pt x="11585" y="84887"/>
                        </a:lnTo>
                        <a:cubicBezTo>
                          <a:pt x="25661" y="104160"/>
                          <a:pt x="39628" y="123865"/>
                          <a:pt x="53054" y="143463"/>
                        </a:cubicBezTo>
                        <a:close/>
                      </a:path>
                    </a:pathLst>
                  </a:custGeom>
                  <a:grpFill/>
                  <a:ln w="0" cap="flat">
                    <a:noFill/>
                    <a:prstDash val="solid"/>
                    <a:miter/>
                  </a:ln>
                </p:spPr>
                <p:txBody>
                  <a:bodyPr rtlCol="0" anchor="ctr"/>
                  <a:lstStyle/>
                  <a:p>
                    <a:endParaRPr lang="en-US"/>
                  </a:p>
                </p:txBody>
              </p:sp>
              <p:sp>
                <p:nvSpPr>
                  <p:cNvPr id="368" name="Freeform: Shape 367">
                    <a:extLst>
                      <a:ext uri="{FF2B5EF4-FFF2-40B4-BE49-F238E27FC236}">
                        <a16:creationId xmlns:a16="http://schemas.microsoft.com/office/drawing/2014/main" id="{55C7E733-95F4-EFE7-0BE2-B748DD3DE6C0}"/>
                      </a:ext>
                    </a:extLst>
                  </p:cNvPr>
                  <p:cNvSpPr/>
                  <p:nvPr/>
                </p:nvSpPr>
                <p:spPr>
                  <a:xfrm>
                    <a:off x="7858486" y="5184556"/>
                    <a:ext cx="162302" cy="162302"/>
                  </a:xfrm>
                  <a:custGeom>
                    <a:avLst/>
                    <a:gdLst>
                      <a:gd name="connsiteX0" fmla="*/ 64640 w 162302"/>
                      <a:gd name="connsiteY0" fmla="*/ 14075 h 162302"/>
                      <a:gd name="connsiteX1" fmla="*/ 14076 w 162302"/>
                      <a:gd name="connsiteY1" fmla="*/ 64856 h 162302"/>
                      <a:gd name="connsiteX2" fmla="*/ 0 w 162302"/>
                      <a:gd name="connsiteY2" fmla="*/ 78499 h 162302"/>
                      <a:gd name="connsiteX3" fmla="*/ 81530 w 162302"/>
                      <a:gd name="connsiteY3" fmla="*/ 162303 h 162302"/>
                      <a:gd name="connsiteX4" fmla="*/ 95498 w 162302"/>
                      <a:gd name="connsiteY4" fmla="*/ 148660 h 162302"/>
                      <a:gd name="connsiteX5" fmla="*/ 148769 w 162302"/>
                      <a:gd name="connsiteY5" fmla="*/ 95173 h 162302"/>
                      <a:gd name="connsiteX6" fmla="*/ 162303 w 162302"/>
                      <a:gd name="connsiteY6" fmla="*/ 81097 h 162302"/>
                      <a:gd name="connsiteX7" fmla="*/ 78066 w 162302"/>
                      <a:gd name="connsiteY7" fmla="*/ 0 h 162302"/>
                      <a:gd name="connsiteX8" fmla="*/ 64532 w 162302"/>
                      <a:gd name="connsiteY8" fmla="*/ 14075 h 1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302" h="162302">
                        <a:moveTo>
                          <a:pt x="64640" y="14075"/>
                        </a:moveTo>
                        <a:cubicBezTo>
                          <a:pt x="48074" y="31291"/>
                          <a:pt x="30967" y="48398"/>
                          <a:pt x="14076" y="64856"/>
                        </a:cubicBezTo>
                        <a:lnTo>
                          <a:pt x="0" y="78499"/>
                        </a:lnTo>
                        <a:lnTo>
                          <a:pt x="81530" y="162303"/>
                        </a:lnTo>
                        <a:lnTo>
                          <a:pt x="95498" y="148660"/>
                        </a:lnTo>
                        <a:cubicBezTo>
                          <a:pt x="113471" y="131120"/>
                          <a:pt x="131445" y="113146"/>
                          <a:pt x="148769" y="95173"/>
                        </a:cubicBezTo>
                        <a:lnTo>
                          <a:pt x="162303" y="81097"/>
                        </a:lnTo>
                        <a:lnTo>
                          <a:pt x="78066" y="0"/>
                        </a:lnTo>
                        <a:lnTo>
                          <a:pt x="64532" y="14075"/>
                        </a:lnTo>
                        <a:close/>
                      </a:path>
                    </a:pathLst>
                  </a:custGeom>
                  <a:grpFill/>
                  <a:ln w="0" cap="flat">
                    <a:noFill/>
                    <a:prstDash val="solid"/>
                    <a:miter/>
                  </a:ln>
                </p:spPr>
                <p:txBody>
                  <a:bodyPr rtlCol="0" anchor="ctr"/>
                  <a:lstStyle/>
                  <a:p>
                    <a:endParaRPr lang="en-US"/>
                  </a:p>
                </p:txBody>
              </p:sp>
              <p:sp>
                <p:nvSpPr>
                  <p:cNvPr id="369" name="Freeform: Shape 368">
                    <a:extLst>
                      <a:ext uri="{FF2B5EF4-FFF2-40B4-BE49-F238E27FC236}">
                        <a16:creationId xmlns:a16="http://schemas.microsoft.com/office/drawing/2014/main" id="{53546531-AB7A-DC31-13CF-F5D50C116448}"/>
                      </a:ext>
                    </a:extLst>
                  </p:cNvPr>
                  <p:cNvSpPr/>
                  <p:nvPr/>
                </p:nvSpPr>
                <p:spPr>
                  <a:xfrm>
                    <a:off x="5638977" y="1428749"/>
                    <a:ext cx="1145646" cy="321140"/>
                  </a:xfrm>
                  <a:custGeom>
                    <a:avLst/>
                    <a:gdLst>
                      <a:gd name="connsiteX0" fmla="*/ 730525 w 1145646"/>
                      <a:gd name="connsiteY0" fmla="*/ 0 h 321140"/>
                      <a:gd name="connsiteX1" fmla="*/ 374087 w 1145646"/>
                      <a:gd name="connsiteY1" fmla="*/ 27826 h 321140"/>
                      <a:gd name="connsiteX2" fmla="*/ 354814 w 1145646"/>
                      <a:gd name="connsiteY2" fmla="*/ 30858 h 321140"/>
                      <a:gd name="connsiteX3" fmla="*/ 368781 w 1145646"/>
                      <a:gd name="connsiteY3" fmla="*/ 119643 h 321140"/>
                      <a:gd name="connsiteX4" fmla="*/ 17757 w 1145646"/>
                      <a:gd name="connsiteY4" fmla="*/ 208861 h 321140"/>
                      <a:gd name="connsiteX5" fmla="*/ 0 w 1145646"/>
                      <a:gd name="connsiteY5" fmla="*/ 215032 h 321140"/>
                      <a:gd name="connsiteX6" fmla="*/ 36597 w 1145646"/>
                      <a:gd name="connsiteY6" fmla="*/ 321141 h 321140"/>
                      <a:gd name="connsiteX7" fmla="*/ 54354 w 1145646"/>
                      <a:gd name="connsiteY7" fmla="*/ 314969 h 321140"/>
                      <a:gd name="connsiteX8" fmla="*/ 730741 w 1145646"/>
                      <a:gd name="connsiteY8" fmla="*/ 202148 h 321140"/>
                      <a:gd name="connsiteX9" fmla="*/ 754020 w 1145646"/>
                      <a:gd name="connsiteY9" fmla="*/ 202148 h 321140"/>
                      <a:gd name="connsiteX10" fmla="*/ 754453 w 1145646"/>
                      <a:gd name="connsiteY10" fmla="*/ 117152 h 321140"/>
                      <a:gd name="connsiteX11" fmla="*/ 1106127 w 1145646"/>
                      <a:gd name="connsiteY11" fmla="*/ 149418 h 321140"/>
                      <a:gd name="connsiteX12" fmla="*/ 1125400 w 1145646"/>
                      <a:gd name="connsiteY12" fmla="*/ 152775 h 321140"/>
                      <a:gd name="connsiteX13" fmla="*/ 1145647 w 1145646"/>
                      <a:gd name="connsiteY13" fmla="*/ 37679 h 321140"/>
                      <a:gd name="connsiteX14" fmla="*/ 1126374 w 1145646"/>
                      <a:gd name="connsiteY14" fmla="*/ 34323 h 321140"/>
                      <a:gd name="connsiteX15" fmla="*/ 730525 w 1145646"/>
                      <a:gd name="connsiteY15" fmla="*/ 0 h 32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5646" h="321140">
                        <a:moveTo>
                          <a:pt x="730525" y="0"/>
                        </a:moveTo>
                        <a:cubicBezTo>
                          <a:pt x="611098" y="0"/>
                          <a:pt x="491131" y="9312"/>
                          <a:pt x="374087" y="27826"/>
                        </a:cubicBezTo>
                        <a:lnTo>
                          <a:pt x="354814" y="30858"/>
                        </a:lnTo>
                        <a:lnTo>
                          <a:pt x="368781" y="119643"/>
                        </a:lnTo>
                        <a:cubicBezTo>
                          <a:pt x="249572" y="139565"/>
                          <a:pt x="132203" y="169341"/>
                          <a:pt x="17757" y="208861"/>
                        </a:cubicBezTo>
                        <a:lnTo>
                          <a:pt x="0" y="215032"/>
                        </a:lnTo>
                        <a:lnTo>
                          <a:pt x="36597" y="321141"/>
                        </a:lnTo>
                        <a:lnTo>
                          <a:pt x="54354" y="314969"/>
                        </a:lnTo>
                        <a:cubicBezTo>
                          <a:pt x="271335" y="240043"/>
                          <a:pt x="498927" y="202148"/>
                          <a:pt x="730741" y="202148"/>
                        </a:cubicBezTo>
                        <a:lnTo>
                          <a:pt x="754020" y="202148"/>
                        </a:lnTo>
                        <a:lnTo>
                          <a:pt x="754453" y="117152"/>
                        </a:lnTo>
                        <a:cubicBezTo>
                          <a:pt x="872580" y="118452"/>
                          <a:pt x="990707" y="129171"/>
                          <a:pt x="1106127" y="149418"/>
                        </a:cubicBezTo>
                        <a:lnTo>
                          <a:pt x="1125400" y="152775"/>
                        </a:lnTo>
                        <a:lnTo>
                          <a:pt x="1145647" y="37679"/>
                        </a:lnTo>
                        <a:lnTo>
                          <a:pt x="1126374" y="34323"/>
                        </a:lnTo>
                        <a:cubicBezTo>
                          <a:pt x="996445" y="11585"/>
                          <a:pt x="863268" y="0"/>
                          <a:pt x="730525" y="0"/>
                        </a:cubicBezTo>
                        <a:close/>
                      </a:path>
                    </a:pathLst>
                  </a:custGeom>
                  <a:grpFill/>
                  <a:ln w="0" cap="flat">
                    <a:noFill/>
                    <a:prstDash val="solid"/>
                    <a:miter/>
                  </a:ln>
                </p:spPr>
                <p:txBody>
                  <a:bodyPr rtlCol="0" anchor="ctr"/>
                  <a:lstStyle/>
                  <a:p>
                    <a:endParaRPr lang="en-US"/>
                  </a:p>
                </p:txBody>
              </p:sp>
              <p:sp>
                <p:nvSpPr>
                  <p:cNvPr id="370" name="Freeform: Shape 369">
                    <a:extLst>
                      <a:ext uri="{FF2B5EF4-FFF2-40B4-BE49-F238E27FC236}">
                        <a16:creationId xmlns:a16="http://schemas.microsoft.com/office/drawing/2014/main" id="{033A1EA7-BD32-B9AE-7866-995FC7E247A9}"/>
                      </a:ext>
                    </a:extLst>
                  </p:cNvPr>
                  <p:cNvSpPr/>
                  <p:nvPr/>
                </p:nvSpPr>
                <p:spPr>
                  <a:xfrm>
                    <a:off x="6507443" y="5845352"/>
                    <a:ext cx="122674" cy="126463"/>
                  </a:xfrm>
                  <a:custGeom>
                    <a:avLst/>
                    <a:gdLst>
                      <a:gd name="connsiteX0" fmla="*/ 90842 w 122674"/>
                      <a:gd name="connsiteY0" fmla="*/ 2057 h 126463"/>
                      <a:gd name="connsiteX1" fmla="*/ 19489 w 122674"/>
                      <a:gd name="connsiteY1" fmla="*/ 8445 h 126463"/>
                      <a:gd name="connsiteX2" fmla="*/ 0 w 122674"/>
                      <a:gd name="connsiteY2" fmla="*/ 9853 h 126463"/>
                      <a:gd name="connsiteX3" fmla="*/ 8445 w 122674"/>
                      <a:gd name="connsiteY3" fmla="*/ 126464 h 126463"/>
                      <a:gd name="connsiteX4" fmla="*/ 27935 w 122674"/>
                      <a:gd name="connsiteY4" fmla="*/ 125056 h 126463"/>
                      <a:gd name="connsiteX5" fmla="*/ 103185 w 122674"/>
                      <a:gd name="connsiteY5" fmla="*/ 118343 h 126463"/>
                      <a:gd name="connsiteX6" fmla="*/ 122674 w 122674"/>
                      <a:gd name="connsiteY6" fmla="*/ 116286 h 126463"/>
                      <a:gd name="connsiteX7" fmla="*/ 110439 w 122674"/>
                      <a:gd name="connsiteY7" fmla="*/ 0 h 126463"/>
                      <a:gd name="connsiteX8" fmla="*/ 90950 w 122674"/>
                      <a:gd name="connsiteY8" fmla="*/ 2057 h 12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674" h="126463">
                        <a:moveTo>
                          <a:pt x="90842" y="2057"/>
                        </a:moveTo>
                        <a:cubicBezTo>
                          <a:pt x="67238" y="4547"/>
                          <a:pt x="43201" y="6713"/>
                          <a:pt x="19489" y="8445"/>
                        </a:cubicBezTo>
                        <a:lnTo>
                          <a:pt x="0" y="9853"/>
                        </a:lnTo>
                        <a:lnTo>
                          <a:pt x="8445" y="126464"/>
                        </a:lnTo>
                        <a:lnTo>
                          <a:pt x="27935" y="125056"/>
                        </a:lnTo>
                        <a:cubicBezTo>
                          <a:pt x="52946" y="123216"/>
                          <a:pt x="78282" y="121050"/>
                          <a:pt x="103185" y="118343"/>
                        </a:cubicBezTo>
                        <a:lnTo>
                          <a:pt x="122674" y="116286"/>
                        </a:lnTo>
                        <a:lnTo>
                          <a:pt x="110439" y="0"/>
                        </a:lnTo>
                        <a:lnTo>
                          <a:pt x="90950" y="2057"/>
                        </a:lnTo>
                        <a:close/>
                      </a:path>
                    </a:pathLst>
                  </a:custGeom>
                  <a:grpFill/>
                  <a:ln w="0" cap="flat">
                    <a:noFill/>
                    <a:prstDash val="solid"/>
                    <a:miter/>
                  </a:ln>
                </p:spPr>
                <p:txBody>
                  <a:bodyPr rtlCol="0" anchor="ctr"/>
                  <a:lstStyle/>
                  <a:p>
                    <a:endParaRPr lang="en-US"/>
                  </a:p>
                </p:txBody>
              </p:sp>
              <p:sp>
                <p:nvSpPr>
                  <p:cNvPr id="371" name="Freeform: Shape 370">
                    <a:extLst>
                      <a:ext uri="{FF2B5EF4-FFF2-40B4-BE49-F238E27FC236}">
                        <a16:creationId xmlns:a16="http://schemas.microsoft.com/office/drawing/2014/main" id="{438065E8-4CAF-5CB1-76F1-0C8B277FEB6D}"/>
                      </a:ext>
                    </a:extLst>
                  </p:cNvPr>
                  <p:cNvSpPr/>
                  <p:nvPr/>
                </p:nvSpPr>
                <p:spPr>
                  <a:xfrm>
                    <a:off x="5602706" y="5642555"/>
                    <a:ext cx="801227" cy="333592"/>
                  </a:xfrm>
                  <a:custGeom>
                    <a:avLst/>
                    <a:gdLst>
                      <a:gd name="connsiteX0" fmla="*/ 780980 w 801227"/>
                      <a:gd name="connsiteY0" fmla="*/ 216765 h 333592"/>
                      <a:gd name="connsiteX1" fmla="*/ 766796 w 801227"/>
                      <a:gd name="connsiteY1" fmla="*/ 216765 h 333592"/>
                      <a:gd name="connsiteX2" fmla="*/ 747307 w 801227"/>
                      <a:gd name="connsiteY2" fmla="*/ 216548 h 333592"/>
                      <a:gd name="connsiteX3" fmla="*/ 748823 w 801227"/>
                      <a:gd name="connsiteY3" fmla="*/ 131553 h 333592"/>
                      <a:gd name="connsiteX4" fmla="*/ 730092 w 801227"/>
                      <a:gd name="connsiteY4" fmla="*/ 131228 h 333592"/>
                      <a:gd name="connsiteX5" fmla="*/ 56194 w 801227"/>
                      <a:gd name="connsiteY5" fmla="*/ 6497 h 333592"/>
                      <a:gd name="connsiteX6" fmla="*/ 38546 w 801227"/>
                      <a:gd name="connsiteY6" fmla="*/ 0 h 333592"/>
                      <a:gd name="connsiteX7" fmla="*/ 0 w 801227"/>
                      <a:gd name="connsiteY7" fmla="*/ 105459 h 333592"/>
                      <a:gd name="connsiteX8" fmla="*/ 17649 w 801227"/>
                      <a:gd name="connsiteY8" fmla="*/ 111847 h 333592"/>
                      <a:gd name="connsiteX9" fmla="*/ 400289 w 801227"/>
                      <a:gd name="connsiteY9" fmla="*/ 213083 h 333592"/>
                      <a:gd name="connsiteX10" fmla="*/ 386105 w 801227"/>
                      <a:gd name="connsiteY10" fmla="*/ 301976 h 333592"/>
                      <a:gd name="connsiteX11" fmla="*/ 405378 w 801227"/>
                      <a:gd name="connsiteY11" fmla="*/ 305008 h 333592"/>
                      <a:gd name="connsiteX12" fmla="*/ 766688 w 801227"/>
                      <a:gd name="connsiteY12" fmla="*/ 333592 h 333592"/>
                      <a:gd name="connsiteX13" fmla="*/ 781630 w 801227"/>
                      <a:gd name="connsiteY13" fmla="*/ 333592 h 333592"/>
                      <a:gd name="connsiteX14" fmla="*/ 801227 w 801227"/>
                      <a:gd name="connsiteY14" fmla="*/ 333592 h 333592"/>
                      <a:gd name="connsiteX15" fmla="*/ 800470 w 801227"/>
                      <a:gd name="connsiteY15" fmla="*/ 216548 h 333592"/>
                      <a:gd name="connsiteX16" fmla="*/ 780872 w 801227"/>
                      <a:gd name="connsiteY16" fmla="*/ 216548 h 333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1227" h="333592">
                        <a:moveTo>
                          <a:pt x="780980" y="216765"/>
                        </a:moveTo>
                        <a:cubicBezTo>
                          <a:pt x="776216" y="216765"/>
                          <a:pt x="771560" y="216765"/>
                          <a:pt x="766796" y="216765"/>
                        </a:cubicBezTo>
                        <a:cubicBezTo>
                          <a:pt x="760300" y="216765"/>
                          <a:pt x="753804" y="216656"/>
                          <a:pt x="747307" y="216548"/>
                        </a:cubicBezTo>
                        <a:lnTo>
                          <a:pt x="748823" y="131553"/>
                        </a:lnTo>
                        <a:lnTo>
                          <a:pt x="730092" y="131228"/>
                        </a:lnTo>
                        <a:cubicBezTo>
                          <a:pt x="498602" y="127222"/>
                          <a:pt x="271876" y="85212"/>
                          <a:pt x="56194" y="6497"/>
                        </a:cubicBezTo>
                        <a:lnTo>
                          <a:pt x="38546" y="0"/>
                        </a:lnTo>
                        <a:lnTo>
                          <a:pt x="0" y="105459"/>
                        </a:lnTo>
                        <a:lnTo>
                          <a:pt x="17649" y="111847"/>
                        </a:lnTo>
                        <a:cubicBezTo>
                          <a:pt x="142056" y="157322"/>
                          <a:pt x="270035" y="190995"/>
                          <a:pt x="400289" y="213083"/>
                        </a:cubicBezTo>
                        <a:lnTo>
                          <a:pt x="386105" y="301976"/>
                        </a:lnTo>
                        <a:lnTo>
                          <a:pt x="405378" y="305008"/>
                        </a:lnTo>
                        <a:cubicBezTo>
                          <a:pt x="524046" y="323956"/>
                          <a:pt x="645638" y="333592"/>
                          <a:pt x="766688" y="333592"/>
                        </a:cubicBezTo>
                        <a:cubicBezTo>
                          <a:pt x="771669" y="333592"/>
                          <a:pt x="776649" y="333592"/>
                          <a:pt x="781630" y="333592"/>
                        </a:cubicBezTo>
                        <a:lnTo>
                          <a:pt x="801227" y="333592"/>
                        </a:lnTo>
                        <a:cubicBezTo>
                          <a:pt x="801227" y="333592"/>
                          <a:pt x="800470" y="216548"/>
                          <a:pt x="800470" y="216548"/>
                        </a:cubicBezTo>
                        <a:lnTo>
                          <a:pt x="780872" y="216548"/>
                        </a:lnTo>
                        <a:close/>
                      </a:path>
                    </a:pathLst>
                  </a:custGeom>
                  <a:grpFill/>
                  <a:ln w="0" cap="flat">
                    <a:no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49A9E3DC-694A-CA5E-C7A3-65FE626E77CD}"/>
                      </a:ext>
                    </a:extLst>
                  </p:cNvPr>
                  <p:cNvSpPr/>
                  <p:nvPr/>
                </p:nvSpPr>
                <p:spPr>
                  <a:xfrm>
                    <a:off x="4095749" y="2253904"/>
                    <a:ext cx="611423" cy="1809474"/>
                  </a:xfrm>
                  <a:custGeom>
                    <a:avLst/>
                    <a:gdLst>
                      <a:gd name="connsiteX0" fmla="*/ 508671 w 611423"/>
                      <a:gd name="connsiteY0" fmla="*/ 15158 h 1809474"/>
                      <a:gd name="connsiteX1" fmla="*/ 295696 w 611423"/>
                      <a:gd name="connsiteY1" fmla="*/ 326663 h 1809474"/>
                      <a:gd name="connsiteX2" fmla="*/ 286060 w 611423"/>
                      <a:gd name="connsiteY2" fmla="*/ 343662 h 1809474"/>
                      <a:gd name="connsiteX3" fmla="*/ 364234 w 611423"/>
                      <a:gd name="connsiteY3" fmla="*/ 388054 h 1809474"/>
                      <a:gd name="connsiteX4" fmla="*/ 315077 w 611423"/>
                      <a:gd name="connsiteY4" fmla="*/ 481928 h 1809474"/>
                      <a:gd name="connsiteX5" fmla="*/ 233980 w 611423"/>
                      <a:gd name="connsiteY5" fmla="*/ 442732 h 1809474"/>
                      <a:gd name="connsiteX6" fmla="*/ 225426 w 611423"/>
                      <a:gd name="connsiteY6" fmla="*/ 460381 h 1809474"/>
                      <a:gd name="connsiteX7" fmla="*/ 193810 w 611423"/>
                      <a:gd name="connsiteY7" fmla="*/ 528810 h 1809474"/>
                      <a:gd name="connsiteX8" fmla="*/ 185906 w 611423"/>
                      <a:gd name="connsiteY8" fmla="*/ 546675 h 1809474"/>
                      <a:gd name="connsiteX9" fmla="*/ 268195 w 611423"/>
                      <a:gd name="connsiteY9" fmla="*/ 583164 h 1809474"/>
                      <a:gd name="connsiteX10" fmla="*/ 228566 w 611423"/>
                      <a:gd name="connsiteY10" fmla="*/ 681260 h 1809474"/>
                      <a:gd name="connsiteX11" fmla="*/ 144113 w 611423"/>
                      <a:gd name="connsiteY11" fmla="*/ 650402 h 1809474"/>
                      <a:gd name="connsiteX12" fmla="*/ 137400 w 611423"/>
                      <a:gd name="connsiteY12" fmla="*/ 668808 h 1809474"/>
                      <a:gd name="connsiteX13" fmla="*/ 325 w 611423"/>
                      <a:gd name="connsiteY13" fmla="*/ 1408320 h 1809474"/>
                      <a:gd name="connsiteX14" fmla="*/ 0 w 611423"/>
                      <a:gd name="connsiteY14" fmla="*/ 1427917 h 1809474"/>
                      <a:gd name="connsiteX15" fmla="*/ 89976 w 611423"/>
                      <a:gd name="connsiteY15" fmla="*/ 1429433 h 1809474"/>
                      <a:gd name="connsiteX16" fmla="*/ 89759 w 611423"/>
                      <a:gd name="connsiteY16" fmla="*/ 1448598 h 1809474"/>
                      <a:gd name="connsiteX17" fmla="*/ 116395 w 611423"/>
                      <a:gd name="connsiteY17" fmla="*/ 1790960 h 1809474"/>
                      <a:gd name="connsiteX18" fmla="*/ 119318 w 611423"/>
                      <a:gd name="connsiteY18" fmla="*/ 1809475 h 1809474"/>
                      <a:gd name="connsiteX19" fmla="*/ 230190 w 611423"/>
                      <a:gd name="connsiteY19" fmla="*/ 1792043 h 1809474"/>
                      <a:gd name="connsiteX20" fmla="*/ 227267 w 611423"/>
                      <a:gd name="connsiteY20" fmla="*/ 1773528 h 1809474"/>
                      <a:gd name="connsiteX21" fmla="*/ 201931 w 611423"/>
                      <a:gd name="connsiteY21" fmla="*/ 1448598 h 1809474"/>
                      <a:gd name="connsiteX22" fmla="*/ 233222 w 611423"/>
                      <a:gd name="connsiteY22" fmla="*/ 1087937 h 1809474"/>
                      <a:gd name="connsiteX23" fmla="*/ 236470 w 611423"/>
                      <a:gd name="connsiteY23" fmla="*/ 1069422 h 1809474"/>
                      <a:gd name="connsiteX24" fmla="*/ 152666 w 611423"/>
                      <a:gd name="connsiteY24" fmla="*/ 1054697 h 1809474"/>
                      <a:gd name="connsiteX25" fmla="*/ 234305 w 611423"/>
                      <a:gd name="connsiteY25" fmla="*/ 744709 h 1809474"/>
                      <a:gd name="connsiteX26" fmla="*/ 314428 w 611423"/>
                      <a:gd name="connsiteY26" fmla="*/ 773184 h 1809474"/>
                      <a:gd name="connsiteX27" fmla="*/ 320708 w 611423"/>
                      <a:gd name="connsiteY27" fmla="*/ 755536 h 1809474"/>
                      <a:gd name="connsiteX28" fmla="*/ 462222 w 611423"/>
                      <a:gd name="connsiteY28" fmla="*/ 442407 h 1809474"/>
                      <a:gd name="connsiteX29" fmla="*/ 471317 w 611423"/>
                      <a:gd name="connsiteY29" fmla="*/ 425950 h 1809474"/>
                      <a:gd name="connsiteX30" fmla="*/ 396932 w 611423"/>
                      <a:gd name="connsiteY30" fmla="*/ 384589 h 1809474"/>
                      <a:gd name="connsiteX31" fmla="*/ 396932 w 611423"/>
                      <a:gd name="connsiteY31" fmla="*/ 384373 h 1809474"/>
                      <a:gd name="connsiteX32" fmla="*/ 599080 w 611423"/>
                      <a:gd name="connsiteY32" fmla="*/ 88893 h 1809474"/>
                      <a:gd name="connsiteX33" fmla="*/ 611423 w 611423"/>
                      <a:gd name="connsiteY33" fmla="*/ 73735 h 1809474"/>
                      <a:gd name="connsiteX34" fmla="*/ 520690 w 611423"/>
                      <a:gd name="connsiteY34" fmla="*/ 0 h 1809474"/>
                      <a:gd name="connsiteX35" fmla="*/ 508346 w 611423"/>
                      <a:gd name="connsiteY35" fmla="*/ 15158 h 180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11423" h="1809474">
                        <a:moveTo>
                          <a:pt x="508671" y="15158"/>
                        </a:moveTo>
                        <a:cubicBezTo>
                          <a:pt x="429306" y="112713"/>
                          <a:pt x="357629" y="217522"/>
                          <a:pt x="295696" y="326663"/>
                        </a:cubicBezTo>
                        <a:lnTo>
                          <a:pt x="286060" y="343662"/>
                        </a:lnTo>
                        <a:lnTo>
                          <a:pt x="364234" y="388054"/>
                        </a:lnTo>
                        <a:cubicBezTo>
                          <a:pt x="347126" y="418912"/>
                          <a:pt x="330777" y="450203"/>
                          <a:pt x="315077" y="481928"/>
                        </a:cubicBezTo>
                        <a:lnTo>
                          <a:pt x="233980" y="442732"/>
                        </a:lnTo>
                        <a:lnTo>
                          <a:pt x="225426" y="460381"/>
                        </a:lnTo>
                        <a:cubicBezTo>
                          <a:pt x="214599" y="482794"/>
                          <a:pt x="203880" y="505856"/>
                          <a:pt x="193810" y="528810"/>
                        </a:cubicBezTo>
                        <a:lnTo>
                          <a:pt x="185906" y="546675"/>
                        </a:lnTo>
                        <a:lnTo>
                          <a:pt x="268195" y="583164"/>
                        </a:lnTo>
                        <a:cubicBezTo>
                          <a:pt x="254227" y="615538"/>
                          <a:pt x="240910" y="648345"/>
                          <a:pt x="228566" y="681260"/>
                        </a:cubicBezTo>
                        <a:lnTo>
                          <a:pt x="144113" y="650402"/>
                        </a:lnTo>
                        <a:lnTo>
                          <a:pt x="137400" y="668808"/>
                        </a:lnTo>
                        <a:cubicBezTo>
                          <a:pt x="50889" y="905495"/>
                          <a:pt x="4764" y="1154309"/>
                          <a:pt x="325" y="1408320"/>
                        </a:cubicBezTo>
                        <a:lnTo>
                          <a:pt x="0" y="1427917"/>
                        </a:lnTo>
                        <a:lnTo>
                          <a:pt x="89976" y="1429433"/>
                        </a:lnTo>
                        <a:cubicBezTo>
                          <a:pt x="89976" y="1435821"/>
                          <a:pt x="89759" y="1442209"/>
                          <a:pt x="89759" y="1448598"/>
                        </a:cubicBezTo>
                        <a:cubicBezTo>
                          <a:pt x="89759" y="1563368"/>
                          <a:pt x="98746" y="1678463"/>
                          <a:pt x="116395" y="1790960"/>
                        </a:cubicBezTo>
                        <a:lnTo>
                          <a:pt x="119318" y="1809475"/>
                        </a:lnTo>
                        <a:lnTo>
                          <a:pt x="230190" y="1792043"/>
                        </a:lnTo>
                        <a:lnTo>
                          <a:pt x="227267" y="1773528"/>
                        </a:lnTo>
                        <a:cubicBezTo>
                          <a:pt x="210485" y="1666878"/>
                          <a:pt x="201931" y="1557521"/>
                          <a:pt x="201931" y="1448598"/>
                        </a:cubicBezTo>
                        <a:cubicBezTo>
                          <a:pt x="201931" y="1327547"/>
                          <a:pt x="212434" y="1206172"/>
                          <a:pt x="233222" y="1087937"/>
                        </a:cubicBezTo>
                        <a:lnTo>
                          <a:pt x="236470" y="1069422"/>
                        </a:lnTo>
                        <a:lnTo>
                          <a:pt x="152666" y="1054697"/>
                        </a:lnTo>
                        <a:cubicBezTo>
                          <a:pt x="172047" y="949563"/>
                          <a:pt x="199332" y="845945"/>
                          <a:pt x="234305" y="744709"/>
                        </a:cubicBezTo>
                        <a:lnTo>
                          <a:pt x="314428" y="773184"/>
                        </a:lnTo>
                        <a:lnTo>
                          <a:pt x="320708" y="755536"/>
                        </a:lnTo>
                        <a:cubicBezTo>
                          <a:pt x="358928" y="647803"/>
                          <a:pt x="406569" y="542453"/>
                          <a:pt x="462222" y="442407"/>
                        </a:cubicBezTo>
                        <a:lnTo>
                          <a:pt x="471317" y="425950"/>
                        </a:lnTo>
                        <a:lnTo>
                          <a:pt x="396932" y="384589"/>
                        </a:lnTo>
                        <a:lnTo>
                          <a:pt x="396932" y="384373"/>
                        </a:lnTo>
                        <a:cubicBezTo>
                          <a:pt x="455833" y="280863"/>
                          <a:pt x="523830" y="181467"/>
                          <a:pt x="599080" y="88893"/>
                        </a:cubicBezTo>
                        <a:lnTo>
                          <a:pt x="611423" y="73735"/>
                        </a:lnTo>
                        <a:lnTo>
                          <a:pt x="520690" y="0"/>
                        </a:lnTo>
                        <a:lnTo>
                          <a:pt x="508346" y="15158"/>
                        </a:lnTo>
                        <a:close/>
                      </a:path>
                    </a:pathLst>
                  </a:custGeom>
                  <a:grpFill/>
                  <a:ln w="0" cap="flat">
                    <a:no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88793EE9-52B8-841F-9B74-614B8469460B}"/>
                      </a:ext>
                    </a:extLst>
                  </p:cNvPr>
                  <p:cNvSpPr/>
                  <p:nvPr/>
                </p:nvSpPr>
                <p:spPr>
                  <a:xfrm>
                    <a:off x="4224595" y="4419384"/>
                    <a:ext cx="480303" cy="728359"/>
                  </a:xfrm>
                  <a:custGeom>
                    <a:avLst/>
                    <a:gdLst>
                      <a:gd name="connsiteX0" fmla="*/ 116611 w 480303"/>
                      <a:gd name="connsiteY0" fmla="*/ 18407 h 728359"/>
                      <a:gd name="connsiteX1" fmla="*/ 109898 w 480303"/>
                      <a:gd name="connsiteY1" fmla="*/ 0 h 728359"/>
                      <a:gd name="connsiteX2" fmla="*/ 0 w 480303"/>
                      <a:gd name="connsiteY2" fmla="*/ 39845 h 728359"/>
                      <a:gd name="connsiteX3" fmla="*/ 6713 w 480303"/>
                      <a:gd name="connsiteY3" fmla="*/ 58251 h 728359"/>
                      <a:gd name="connsiteX4" fmla="*/ 377118 w 480303"/>
                      <a:gd name="connsiteY4" fmla="*/ 713201 h 728359"/>
                      <a:gd name="connsiteX5" fmla="*/ 389462 w 480303"/>
                      <a:gd name="connsiteY5" fmla="*/ 728359 h 728359"/>
                      <a:gd name="connsiteX6" fmla="*/ 480303 w 480303"/>
                      <a:gd name="connsiteY6" fmla="*/ 654841 h 728359"/>
                      <a:gd name="connsiteX7" fmla="*/ 467960 w 480303"/>
                      <a:gd name="connsiteY7" fmla="*/ 639683 h 728359"/>
                      <a:gd name="connsiteX8" fmla="*/ 116611 w 480303"/>
                      <a:gd name="connsiteY8" fmla="*/ 18515 h 72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303" h="728359">
                        <a:moveTo>
                          <a:pt x="116611" y="18407"/>
                        </a:moveTo>
                        <a:lnTo>
                          <a:pt x="109898" y="0"/>
                        </a:lnTo>
                        <a:lnTo>
                          <a:pt x="0" y="39845"/>
                        </a:lnTo>
                        <a:lnTo>
                          <a:pt x="6713" y="58251"/>
                        </a:lnTo>
                        <a:cubicBezTo>
                          <a:pt x="92791" y="295696"/>
                          <a:pt x="217414" y="516034"/>
                          <a:pt x="377118" y="713201"/>
                        </a:cubicBezTo>
                        <a:lnTo>
                          <a:pt x="389462" y="728359"/>
                        </a:lnTo>
                        <a:lnTo>
                          <a:pt x="480303" y="654841"/>
                        </a:lnTo>
                        <a:lnTo>
                          <a:pt x="467960" y="639683"/>
                        </a:lnTo>
                        <a:cubicBezTo>
                          <a:pt x="316485" y="452693"/>
                          <a:pt x="198358" y="243725"/>
                          <a:pt x="116611" y="18515"/>
                        </a:cubicBezTo>
                        <a:close/>
                      </a:path>
                    </a:pathLst>
                  </a:custGeom>
                  <a:grpFill/>
                  <a:ln w="0" cap="flat">
                    <a:noFill/>
                    <a:prstDash val="solid"/>
                    <a:miter/>
                  </a:ln>
                </p:spPr>
                <p:txBody>
                  <a:bodyPr rtlCol="0" anchor="ctr"/>
                  <a:lstStyle/>
                  <a:p>
                    <a:endParaRPr lang="en-US"/>
                  </a:p>
                </p:txBody>
              </p:sp>
              <p:sp>
                <p:nvSpPr>
                  <p:cNvPr id="374" name="Freeform: Shape 373">
                    <a:extLst>
                      <a:ext uri="{FF2B5EF4-FFF2-40B4-BE49-F238E27FC236}">
                        <a16:creationId xmlns:a16="http://schemas.microsoft.com/office/drawing/2014/main" id="{9D88D978-BA5B-4F51-C0A9-0F135F78087A}"/>
                      </a:ext>
                    </a:extLst>
                  </p:cNvPr>
                  <p:cNvSpPr/>
                  <p:nvPr/>
                </p:nvSpPr>
                <p:spPr>
                  <a:xfrm>
                    <a:off x="4160063" y="4213447"/>
                    <a:ext cx="142163" cy="139348"/>
                  </a:xfrm>
                  <a:custGeom>
                    <a:avLst/>
                    <a:gdLst>
                      <a:gd name="connsiteX0" fmla="*/ 136858 w 142163"/>
                      <a:gd name="connsiteY0" fmla="*/ 88135 h 139348"/>
                      <a:gd name="connsiteX1" fmla="*/ 118127 w 142163"/>
                      <a:gd name="connsiteY1" fmla="*/ 18948 h 139348"/>
                      <a:gd name="connsiteX2" fmla="*/ 113363 w 142163"/>
                      <a:gd name="connsiteY2" fmla="*/ 0 h 139348"/>
                      <a:gd name="connsiteX3" fmla="*/ 0 w 142163"/>
                      <a:gd name="connsiteY3" fmla="*/ 28584 h 139348"/>
                      <a:gd name="connsiteX4" fmla="*/ 4764 w 142163"/>
                      <a:gd name="connsiteY4" fmla="*/ 47532 h 139348"/>
                      <a:gd name="connsiteX5" fmla="*/ 24470 w 142163"/>
                      <a:gd name="connsiteY5" fmla="*/ 120509 h 139348"/>
                      <a:gd name="connsiteX6" fmla="*/ 29884 w 142163"/>
                      <a:gd name="connsiteY6" fmla="*/ 139349 h 139348"/>
                      <a:gd name="connsiteX7" fmla="*/ 142164 w 142163"/>
                      <a:gd name="connsiteY7" fmla="*/ 106975 h 139348"/>
                      <a:gd name="connsiteX8" fmla="*/ 136750 w 142163"/>
                      <a:gd name="connsiteY8" fmla="*/ 88135 h 13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63" h="139348">
                        <a:moveTo>
                          <a:pt x="136858" y="88135"/>
                        </a:moveTo>
                        <a:cubicBezTo>
                          <a:pt x="130254" y="65289"/>
                          <a:pt x="123974" y="42010"/>
                          <a:pt x="118127" y="18948"/>
                        </a:cubicBezTo>
                        <a:lnTo>
                          <a:pt x="113363" y="0"/>
                        </a:lnTo>
                        <a:lnTo>
                          <a:pt x="0" y="28584"/>
                        </a:lnTo>
                        <a:lnTo>
                          <a:pt x="4764" y="47532"/>
                        </a:lnTo>
                        <a:cubicBezTo>
                          <a:pt x="10936" y="71786"/>
                          <a:pt x="17540" y="96255"/>
                          <a:pt x="24470" y="120509"/>
                        </a:cubicBezTo>
                        <a:lnTo>
                          <a:pt x="29884" y="139349"/>
                        </a:lnTo>
                        <a:lnTo>
                          <a:pt x="142164" y="106975"/>
                        </a:lnTo>
                        <a:lnTo>
                          <a:pt x="136750" y="88135"/>
                        </a:lnTo>
                        <a:close/>
                      </a:path>
                    </a:pathLst>
                  </a:custGeom>
                  <a:grpFill/>
                  <a:ln w="0" cap="flat">
                    <a:noFill/>
                    <a:prstDash val="solid"/>
                    <a:miter/>
                  </a:ln>
                </p:spPr>
                <p:txBody>
                  <a:bodyPr rtlCol="0" anchor="ctr"/>
                  <a:lstStyle/>
                  <a:p>
                    <a:endParaRPr lang="en-US"/>
                  </a:p>
                </p:txBody>
              </p:sp>
            </p:grpSp>
          </p:grpSp>
          <p:grpSp>
            <p:nvGrpSpPr>
              <p:cNvPr id="184" name="Graphic 33">
                <a:extLst>
                  <a:ext uri="{FF2B5EF4-FFF2-40B4-BE49-F238E27FC236}">
                    <a16:creationId xmlns:a16="http://schemas.microsoft.com/office/drawing/2014/main" id="{751109C5-A2B7-8EC0-6874-CEE4BD56126A}"/>
                  </a:ext>
                </a:extLst>
              </p:cNvPr>
              <p:cNvGrpSpPr/>
              <p:nvPr/>
            </p:nvGrpSpPr>
            <p:grpSpPr>
              <a:xfrm>
                <a:off x="4354632" y="1679836"/>
                <a:ext cx="4037644" cy="4046739"/>
                <a:chOff x="4354632" y="1679836"/>
                <a:chExt cx="4037644" cy="4046739"/>
              </a:xfrm>
              <a:grpFill/>
            </p:grpSpPr>
            <p:grpSp>
              <p:nvGrpSpPr>
                <p:cNvPr id="316" name="Graphic 33">
                  <a:extLst>
                    <a:ext uri="{FF2B5EF4-FFF2-40B4-BE49-F238E27FC236}">
                      <a16:creationId xmlns:a16="http://schemas.microsoft.com/office/drawing/2014/main" id="{A391CC95-31B3-C492-0D8E-D7BAD2491C75}"/>
                    </a:ext>
                  </a:extLst>
                </p:cNvPr>
                <p:cNvGrpSpPr/>
                <p:nvPr/>
              </p:nvGrpSpPr>
              <p:grpSpPr>
                <a:xfrm>
                  <a:off x="4369682" y="1707554"/>
                  <a:ext cx="4022594" cy="4019021"/>
                  <a:chOff x="4369682" y="1707554"/>
                  <a:chExt cx="4022594" cy="4019021"/>
                </a:xfrm>
                <a:grpFill/>
              </p:grpSpPr>
              <p:sp>
                <p:nvSpPr>
                  <p:cNvPr id="339" name="Freeform: Shape 338">
                    <a:extLst>
                      <a:ext uri="{FF2B5EF4-FFF2-40B4-BE49-F238E27FC236}">
                        <a16:creationId xmlns:a16="http://schemas.microsoft.com/office/drawing/2014/main" id="{9AC83B5F-1D40-2804-E706-7FF7CAE697F1}"/>
                      </a:ext>
                    </a:extLst>
                  </p:cNvPr>
                  <p:cNvSpPr/>
                  <p:nvPr/>
                </p:nvSpPr>
                <p:spPr>
                  <a:xfrm>
                    <a:off x="4851393" y="2029669"/>
                    <a:ext cx="395200" cy="353081"/>
                  </a:xfrm>
                  <a:custGeom>
                    <a:avLst/>
                    <a:gdLst>
                      <a:gd name="connsiteX0" fmla="*/ 0 w 395200"/>
                      <a:gd name="connsiteY0" fmla="*/ 335541 h 353081"/>
                      <a:gd name="connsiteX1" fmla="*/ 19922 w 395200"/>
                      <a:gd name="connsiteY1" fmla="*/ 353081 h 353081"/>
                      <a:gd name="connsiteX2" fmla="*/ 395200 w 395200"/>
                      <a:gd name="connsiteY2" fmla="*/ 21980 h 353081"/>
                      <a:gd name="connsiteX3" fmla="*/ 380258 w 395200"/>
                      <a:gd name="connsiteY3" fmla="*/ 0 h 353081"/>
                      <a:gd name="connsiteX4" fmla="*/ 0 w 395200"/>
                      <a:gd name="connsiteY4" fmla="*/ 335541 h 35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00" h="353081">
                        <a:moveTo>
                          <a:pt x="0" y="335541"/>
                        </a:moveTo>
                        <a:lnTo>
                          <a:pt x="19922" y="353081"/>
                        </a:lnTo>
                        <a:cubicBezTo>
                          <a:pt x="130687" y="227484"/>
                          <a:pt x="256934" y="116070"/>
                          <a:pt x="395200" y="21980"/>
                        </a:cubicBezTo>
                        <a:lnTo>
                          <a:pt x="380258" y="0"/>
                        </a:lnTo>
                        <a:cubicBezTo>
                          <a:pt x="240152" y="95389"/>
                          <a:pt x="112280" y="208211"/>
                          <a:pt x="0" y="335541"/>
                        </a:cubicBezTo>
                        <a:close/>
                      </a:path>
                    </a:pathLst>
                  </a:custGeom>
                  <a:grpFill/>
                  <a:ln w="0"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23921E70-56CB-DB1B-0FAE-13CA0836F279}"/>
                      </a:ext>
                    </a:extLst>
                  </p:cNvPr>
                  <p:cNvSpPr/>
                  <p:nvPr/>
                </p:nvSpPr>
                <p:spPr>
                  <a:xfrm>
                    <a:off x="4424143" y="4255782"/>
                    <a:ext cx="96472" cy="214057"/>
                  </a:xfrm>
                  <a:custGeom>
                    <a:avLst/>
                    <a:gdLst>
                      <a:gd name="connsiteX0" fmla="*/ 108 w 96472"/>
                      <a:gd name="connsiteY0" fmla="*/ 7363 h 214057"/>
                      <a:gd name="connsiteX1" fmla="*/ 71894 w 96472"/>
                      <a:gd name="connsiteY1" fmla="*/ 214058 h 214057"/>
                      <a:gd name="connsiteX2" fmla="*/ 96472 w 96472"/>
                      <a:gd name="connsiteY2" fmla="*/ 203988 h 214057"/>
                      <a:gd name="connsiteX3" fmla="*/ 25553 w 96472"/>
                      <a:gd name="connsiteY3" fmla="*/ 0 h 214057"/>
                      <a:gd name="connsiteX4" fmla="*/ 0 w 96472"/>
                      <a:gd name="connsiteY4" fmla="*/ 7363 h 214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72" h="214057">
                        <a:moveTo>
                          <a:pt x="108" y="7363"/>
                        </a:moveTo>
                        <a:cubicBezTo>
                          <a:pt x="20139" y="77199"/>
                          <a:pt x="44392" y="146819"/>
                          <a:pt x="71894" y="214058"/>
                        </a:cubicBezTo>
                        <a:lnTo>
                          <a:pt x="96472" y="203988"/>
                        </a:lnTo>
                        <a:cubicBezTo>
                          <a:pt x="69295" y="137508"/>
                          <a:pt x="45367" y="68862"/>
                          <a:pt x="25553" y="0"/>
                        </a:cubicBezTo>
                        <a:lnTo>
                          <a:pt x="0" y="7363"/>
                        </a:lnTo>
                        <a:close/>
                      </a:path>
                    </a:pathLst>
                  </a:custGeom>
                  <a:grpFill/>
                  <a:ln w="0"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E3885DB6-D429-E78C-7384-D33896D0C70D}"/>
                      </a:ext>
                    </a:extLst>
                  </p:cNvPr>
                  <p:cNvSpPr/>
                  <p:nvPr/>
                </p:nvSpPr>
                <p:spPr>
                  <a:xfrm>
                    <a:off x="4396967" y="4151298"/>
                    <a:ext cx="43309" cy="76766"/>
                  </a:xfrm>
                  <a:custGeom>
                    <a:avLst/>
                    <a:gdLst>
                      <a:gd name="connsiteX0" fmla="*/ 25877 w 43309"/>
                      <a:gd name="connsiteY0" fmla="*/ 0 h 76766"/>
                      <a:gd name="connsiteX1" fmla="*/ 0 w 43309"/>
                      <a:gd name="connsiteY1" fmla="*/ 5955 h 76766"/>
                      <a:gd name="connsiteX2" fmla="*/ 17649 w 43309"/>
                      <a:gd name="connsiteY2" fmla="*/ 76766 h 76766"/>
                      <a:gd name="connsiteX3" fmla="*/ 43310 w 43309"/>
                      <a:gd name="connsiteY3" fmla="*/ 69945 h 76766"/>
                      <a:gd name="connsiteX4" fmla="*/ 25986 w 43309"/>
                      <a:gd name="connsiteY4" fmla="*/ 0 h 7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09" h="76766">
                        <a:moveTo>
                          <a:pt x="25877" y="0"/>
                        </a:moveTo>
                        <a:lnTo>
                          <a:pt x="0" y="5955"/>
                        </a:lnTo>
                        <a:cubicBezTo>
                          <a:pt x="5414" y="29559"/>
                          <a:pt x="11369" y="53379"/>
                          <a:pt x="17649" y="76766"/>
                        </a:cubicBezTo>
                        <a:lnTo>
                          <a:pt x="43310" y="69945"/>
                        </a:lnTo>
                        <a:cubicBezTo>
                          <a:pt x="37138" y="46883"/>
                          <a:pt x="31291" y="23387"/>
                          <a:pt x="25986" y="0"/>
                        </a:cubicBezTo>
                        <a:close/>
                      </a:path>
                    </a:pathLst>
                  </a:custGeom>
                  <a:grpFill/>
                  <a:ln w="0"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68DF3678-3ADD-0AA1-90C2-981F5A8A1B7E}"/>
                      </a:ext>
                    </a:extLst>
                  </p:cNvPr>
                  <p:cNvSpPr/>
                  <p:nvPr/>
                </p:nvSpPr>
                <p:spPr>
                  <a:xfrm>
                    <a:off x="5808426" y="5622199"/>
                    <a:ext cx="217738" cy="74492"/>
                  </a:xfrm>
                  <a:custGeom>
                    <a:avLst/>
                    <a:gdLst>
                      <a:gd name="connsiteX0" fmla="*/ 0 w 217738"/>
                      <a:gd name="connsiteY0" fmla="*/ 25553 h 74492"/>
                      <a:gd name="connsiteX1" fmla="*/ 213191 w 217738"/>
                      <a:gd name="connsiteY1" fmla="*/ 74493 h 74492"/>
                      <a:gd name="connsiteX2" fmla="*/ 217739 w 217738"/>
                      <a:gd name="connsiteY2" fmla="*/ 48290 h 74492"/>
                      <a:gd name="connsiteX3" fmla="*/ 7363 w 217738"/>
                      <a:gd name="connsiteY3" fmla="*/ 0 h 74492"/>
                      <a:gd name="connsiteX4" fmla="*/ 0 w 217738"/>
                      <a:gd name="connsiteY4" fmla="*/ 25553 h 7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738" h="74492">
                        <a:moveTo>
                          <a:pt x="0" y="25553"/>
                        </a:moveTo>
                        <a:cubicBezTo>
                          <a:pt x="69837" y="45692"/>
                          <a:pt x="141514" y="62149"/>
                          <a:pt x="213191" y="74493"/>
                        </a:cubicBezTo>
                        <a:lnTo>
                          <a:pt x="217739" y="48290"/>
                        </a:lnTo>
                        <a:cubicBezTo>
                          <a:pt x="147036" y="36055"/>
                          <a:pt x="76225" y="19814"/>
                          <a:pt x="7363" y="0"/>
                        </a:cubicBezTo>
                        <a:lnTo>
                          <a:pt x="0" y="25553"/>
                        </a:lnTo>
                        <a:close/>
                      </a:path>
                    </a:pathLst>
                  </a:custGeom>
                  <a:grpFill/>
                  <a:ln w="0" cap="flat">
                    <a:noFill/>
                    <a:prstDash val="solid"/>
                    <a:miter/>
                  </a:ln>
                </p:spPr>
                <p:txBody>
                  <a:bodyPr rtlCol="0" anchor="ctr"/>
                  <a:lstStyle/>
                  <a:p>
                    <a:endParaRPr lang="en-US"/>
                  </a:p>
                </p:txBody>
              </p:sp>
              <p:sp>
                <p:nvSpPr>
                  <p:cNvPr id="343" name="Freeform: Shape 342">
                    <a:extLst>
                      <a:ext uri="{FF2B5EF4-FFF2-40B4-BE49-F238E27FC236}">
                        <a16:creationId xmlns:a16="http://schemas.microsoft.com/office/drawing/2014/main" id="{ABA77770-34C0-4472-2A26-8E57B88B953A}"/>
                      </a:ext>
                    </a:extLst>
                  </p:cNvPr>
                  <p:cNvSpPr/>
                  <p:nvPr/>
                </p:nvSpPr>
                <p:spPr>
                  <a:xfrm>
                    <a:off x="6058431" y="5662045"/>
                    <a:ext cx="355138" cy="64531"/>
                  </a:xfrm>
                  <a:custGeom>
                    <a:avLst/>
                    <a:gdLst>
                      <a:gd name="connsiteX0" fmla="*/ 310530 w 355138"/>
                      <a:gd name="connsiteY0" fmla="*/ 37788 h 64531"/>
                      <a:gd name="connsiteX1" fmla="*/ 120834 w 355138"/>
                      <a:gd name="connsiteY1" fmla="*/ 28909 h 64531"/>
                      <a:gd name="connsiteX2" fmla="*/ 123107 w 355138"/>
                      <a:gd name="connsiteY2" fmla="*/ 5197 h 64531"/>
                      <a:gd name="connsiteX3" fmla="*/ 73951 w 355138"/>
                      <a:gd name="connsiteY3" fmla="*/ 0 h 64531"/>
                      <a:gd name="connsiteX4" fmla="*/ 71136 w 355138"/>
                      <a:gd name="connsiteY4" fmla="*/ 23712 h 64531"/>
                      <a:gd name="connsiteX5" fmla="*/ 4006 w 355138"/>
                      <a:gd name="connsiteY5" fmla="*/ 14617 h 64531"/>
                      <a:gd name="connsiteX6" fmla="*/ 0 w 355138"/>
                      <a:gd name="connsiteY6" fmla="*/ 40819 h 64531"/>
                      <a:gd name="connsiteX7" fmla="*/ 310638 w 355138"/>
                      <a:gd name="connsiteY7" fmla="*/ 64531 h 64531"/>
                      <a:gd name="connsiteX8" fmla="*/ 355139 w 355138"/>
                      <a:gd name="connsiteY8" fmla="*/ 64098 h 64531"/>
                      <a:gd name="connsiteX9" fmla="*/ 354597 w 355138"/>
                      <a:gd name="connsiteY9" fmla="*/ 37571 h 64531"/>
                      <a:gd name="connsiteX10" fmla="*/ 310638 w 355138"/>
                      <a:gd name="connsiteY10" fmla="*/ 38004 h 6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5138" h="64531">
                        <a:moveTo>
                          <a:pt x="310530" y="37788"/>
                        </a:moveTo>
                        <a:cubicBezTo>
                          <a:pt x="247190" y="37788"/>
                          <a:pt x="183849" y="34756"/>
                          <a:pt x="120834" y="28909"/>
                        </a:cubicBezTo>
                        <a:lnTo>
                          <a:pt x="123107" y="5197"/>
                        </a:lnTo>
                        <a:cubicBezTo>
                          <a:pt x="106866" y="3681"/>
                          <a:pt x="90300" y="1949"/>
                          <a:pt x="73951" y="0"/>
                        </a:cubicBezTo>
                        <a:lnTo>
                          <a:pt x="71136" y="23712"/>
                        </a:lnTo>
                        <a:cubicBezTo>
                          <a:pt x="48615" y="21005"/>
                          <a:pt x="26202" y="18082"/>
                          <a:pt x="4006" y="14617"/>
                        </a:cubicBezTo>
                        <a:lnTo>
                          <a:pt x="0" y="40819"/>
                        </a:lnTo>
                        <a:cubicBezTo>
                          <a:pt x="101994" y="56519"/>
                          <a:pt x="206478" y="64531"/>
                          <a:pt x="310638" y="64531"/>
                        </a:cubicBezTo>
                        <a:cubicBezTo>
                          <a:pt x="325472" y="64531"/>
                          <a:pt x="340413" y="64423"/>
                          <a:pt x="355139" y="64098"/>
                        </a:cubicBezTo>
                        <a:lnTo>
                          <a:pt x="354597" y="37571"/>
                        </a:lnTo>
                        <a:cubicBezTo>
                          <a:pt x="339980" y="37896"/>
                          <a:pt x="325363" y="38004"/>
                          <a:pt x="310638" y="38004"/>
                        </a:cubicBezTo>
                        <a:close/>
                      </a:path>
                    </a:pathLst>
                  </a:custGeom>
                  <a:grpFill/>
                  <a:ln w="0" cap="flat">
                    <a:no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CDDDBE71-F9AD-4124-D023-D8ED058F80E9}"/>
                      </a:ext>
                    </a:extLst>
                  </p:cNvPr>
                  <p:cNvSpPr/>
                  <p:nvPr/>
                </p:nvSpPr>
                <p:spPr>
                  <a:xfrm>
                    <a:off x="7151457" y="5155431"/>
                    <a:ext cx="606117" cy="383614"/>
                  </a:xfrm>
                  <a:custGeom>
                    <a:avLst/>
                    <a:gdLst>
                      <a:gd name="connsiteX0" fmla="*/ 440892 w 606117"/>
                      <a:gd name="connsiteY0" fmla="*/ 125706 h 383614"/>
                      <a:gd name="connsiteX1" fmla="*/ 426275 w 606117"/>
                      <a:gd name="connsiteY1" fmla="*/ 106975 h 383614"/>
                      <a:gd name="connsiteX2" fmla="*/ 0 w 606117"/>
                      <a:gd name="connsiteY2" fmla="*/ 359253 h 383614"/>
                      <a:gd name="connsiteX3" fmla="*/ 10503 w 606117"/>
                      <a:gd name="connsiteY3" fmla="*/ 383615 h 383614"/>
                      <a:gd name="connsiteX4" fmla="*/ 381016 w 606117"/>
                      <a:gd name="connsiteY4" fmla="*/ 173563 h 383614"/>
                      <a:gd name="connsiteX5" fmla="*/ 395092 w 606117"/>
                      <a:gd name="connsiteY5" fmla="*/ 193161 h 383614"/>
                      <a:gd name="connsiteX6" fmla="*/ 606118 w 606117"/>
                      <a:gd name="connsiteY6" fmla="*/ 19273 h 383614"/>
                      <a:gd name="connsiteX7" fmla="*/ 587928 w 606117"/>
                      <a:gd name="connsiteY7" fmla="*/ 0 h 383614"/>
                      <a:gd name="connsiteX8" fmla="*/ 440892 w 606117"/>
                      <a:gd name="connsiteY8" fmla="*/ 125814 h 38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6117" h="383614">
                        <a:moveTo>
                          <a:pt x="440892" y="125706"/>
                        </a:moveTo>
                        <a:lnTo>
                          <a:pt x="426275" y="106975"/>
                        </a:lnTo>
                        <a:cubicBezTo>
                          <a:pt x="295155" y="208752"/>
                          <a:pt x="151692" y="293639"/>
                          <a:pt x="0" y="359253"/>
                        </a:cubicBezTo>
                        <a:lnTo>
                          <a:pt x="10503" y="383615"/>
                        </a:lnTo>
                        <a:cubicBezTo>
                          <a:pt x="140973" y="327204"/>
                          <a:pt x="265163" y="256609"/>
                          <a:pt x="381016" y="173563"/>
                        </a:cubicBezTo>
                        <a:lnTo>
                          <a:pt x="395092" y="193161"/>
                        </a:lnTo>
                        <a:cubicBezTo>
                          <a:pt x="468935" y="140215"/>
                          <a:pt x="539962" y="81747"/>
                          <a:pt x="606118" y="19273"/>
                        </a:cubicBezTo>
                        <a:lnTo>
                          <a:pt x="587928" y="0"/>
                        </a:lnTo>
                        <a:cubicBezTo>
                          <a:pt x="541153" y="44176"/>
                          <a:pt x="491781" y="86186"/>
                          <a:pt x="440892" y="125814"/>
                        </a:cubicBezTo>
                        <a:close/>
                      </a:path>
                    </a:pathLst>
                  </a:custGeom>
                  <a:grpFill/>
                  <a:ln w="0" cap="flat">
                    <a:noFill/>
                    <a:prstDash val="solid"/>
                    <a:miter/>
                  </a:ln>
                </p:spPr>
                <p:txBody>
                  <a:bodyPr rtlCol="0" anchor="ctr"/>
                  <a:lstStyle/>
                  <a:p>
                    <a:endParaRPr lang="en-US"/>
                  </a:p>
                </p:txBody>
              </p:sp>
              <p:sp>
                <p:nvSpPr>
                  <p:cNvPr id="345" name="Freeform: Shape 344">
                    <a:extLst>
                      <a:ext uri="{FF2B5EF4-FFF2-40B4-BE49-F238E27FC236}">
                        <a16:creationId xmlns:a16="http://schemas.microsoft.com/office/drawing/2014/main" id="{208B5ECC-1EAD-AC3A-C27B-D355BB7CA79A}"/>
                      </a:ext>
                    </a:extLst>
                  </p:cNvPr>
                  <p:cNvSpPr/>
                  <p:nvPr/>
                </p:nvSpPr>
                <p:spPr>
                  <a:xfrm>
                    <a:off x="7794388" y="4801699"/>
                    <a:ext cx="264404" cy="318217"/>
                  </a:xfrm>
                  <a:custGeom>
                    <a:avLst/>
                    <a:gdLst>
                      <a:gd name="connsiteX0" fmla="*/ 108 w 264404"/>
                      <a:gd name="connsiteY0" fmla="*/ 299594 h 318217"/>
                      <a:gd name="connsiteX1" fmla="*/ 19056 w 264404"/>
                      <a:gd name="connsiteY1" fmla="*/ 318217 h 318217"/>
                      <a:gd name="connsiteX2" fmla="*/ 264405 w 264404"/>
                      <a:gd name="connsiteY2" fmla="*/ 14617 h 318217"/>
                      <a:gd name="connsiteX3" fmla="*/ 242209 w 264404"/>
                      <a:gd name="connsiteY3" fmla="*/ 0 h 318217"/>
                      <a:gd name="connsiteX4" fmla="*/ 0 w 264404"/>
                      <a:gd name="connsiteY4" fmla="*/ 299703 h 318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404" h="318217">
                        <a:moveTo>
                          <a:pt x="108" y="299594"/>
                        </a:moveTo>
                        <a:lnTo>
                          <a:pt x="19056" y="318217"/>
                        </a:lnTo>
                        <a:cubicBezTo>
                          <a:pt x="110223" y="225210"/>
                          <a:pt x="192836" y="123108"/>
                          <a:pt x="264405" y="14617"/>
                        </a:cubicBezTo>
                        <a:lnTo>
                          <a:pt x="242209" y="0"/>
                        </a:lnTo>
                        <a:cubicBezTo>
                          <a:pt x="171506" y="107083"/>
                          <a:pt x="90084" y="207886"/>
                          <a:pt x="0" y="299703"/>
                        </a:cubicBezTo>
                        <a:close/>
                      </a:path>
                    </a:pathLst>
                  </a:custGeom>
                  <a:grpFill/>
                  <a:ln w="0" cap="flat">
                    <a:noFill/>
                    <a:prstDash val="solid"/>
                    <a:miter/>
                  </a:ln>
                </p:spPr>
                <p:txBody>
                  <a:bodyPr rtlCol="0" anchor="ctr"/>
                  <a:lstStyle/>
                  <a:p>
                    <a:endParaRPr lang="en-US"/>
                  </a:p>
                </p:txBody>
              </p:sp>
              <p:sp>
                <p:nvSpPr>
                  <p:cNvPr id="346" name="Freeform: Shape 345">
                    <a:extLst>
                      <a:ext uri="{FF2B5EF4-FFF2-40B4-BE49-F238E27FC236}">
                        <a16:creationId xmlns:a16="http://schemas.microsoft.com/office/drawing/2014/main" id="{082752A0-15BA-393B-A1F2-6B5F915C53D7}"/>
                      </a:ext>
                    </a:extLst>
                  </p:cNvPr>
                  <p:cNvSpPr/>
                  <p:nvPr/>
                </p:nvSpPr>
                <p:spPr>
                  <a:xfrm>
                    <a:off x="8077849" y="4669822"/>
                    <a:ext cx="61932" cy="80447"/>
                  </a:xfrm>
                  <a:custGeom>
                    <a:avLst/>
                    <a:gdLst>
                      <a:gd name="connsiteX0" fmla="*/ 0 w 61932"/>
                      <a:gd name="connsiteY0" fmla="*/ 66697 h 80447"/>
                      <a:gd name="connsiteX1" fmla="*/ 22738 w 61932"/>
                      <a:gd name="connsiteY1" fmla="*/ 80447 h 80447"/>
                      <a:gd name="connsiteX2" fmla="*/ 61933 w 61932"/>
                      <a:gd name="connsiteY2" fmla="*/ 12885 h 80447"/>
                      <a:gd name="connsiteX3" fmla="*/ 38654 w 61932"/>
                      <a:gd name="connsiteY3" fmla="*/ 0 h 80447"/>
                      <a:gd name="connsiteX4" fmla="*/ 0 w 61932"/>
                      <a:gd name="connsiteY4" fmla="*/ 66697 h 80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32" h="80447">
                        <a:moveTo>
                          <a:pt x="0" y="66697"/>
                        </a:moveTo>
                        <a:lnTo>
                          <a:pt x="22738" y="80447"/>
                        </a:lnTo>
                        <a:cubicBezTo>
                          <a:pt x="36163" y="58251"/>
                          <a:pt x="49373" y="35514"/>
                          <a:pt x="61933" y="12885"/>
                        </a:cubicBezTo>
                        <a:lnTo>
                          <a:pt x="38654" y="0"/>
                        </a:lnTo>
                        <a:cubicBezTo>
                          <a:pt x="26310" y="22304"/>
                          <a:pt x="13209" y="44826"/>
                          <a:pt x="0" y="66697"/>
                        </a:cubicBezTo>
                        <a:close/>
                      </a:path>
                    </a:pathLst>
                  </a:custGeom>
                  <a:grpFill/>
                  <a:ln w="0" cap="flat">
                    <a:noFill/>
                    <a:prstDash val="solid"/>
                    <a:miter/>
                  </a:ln>
                </p:spPr>
                <p:txBody>
                  <a:bodyPr rtlCol="0" anchor="ctr"/>
                  <a:lstStyle/>
                  <a:p>
                    <a:endParaRPr lang="en-US"/>
                  </a:p>
                </p:txBody>
              </p:sp>
              <p:sp>
                <p:nvSpPr>
                  <p:cNvPr id="347" name="Freeform: Shape 346">
                    <a:extLst>
                      <a:ext uri="{FF2B5EF4-FFF2-40B4-BE49-F238E27FC236}">
                        <a16:creationId xmlns:a16="http://schemas.microsoft.com/office/drawing/2014/main" id="{BAC10E5E-14B3-4671-65B3-DE42EB04A150}"/>
                      </a:ext>
                    </a:extLst>
                  </p:cNvPr>
                  <p:cNvSpPr/>
                  <p:nvPr/>
                </p:nvSpPr>
                <p:spPr>
                  <a:xfrm>
                    <a:off x="8186014" y="4279602"/>
                    <a:ext cx="120617" cy="263539"/>
                  </a:xfrm>
                  <a:custGeom>
                    <a:avLst/>
                    <a:gdLst>
                      <a:gd name="connsiteX0" fmla="*/ 90842 w 120617"/>
                      <a:gd name="connsiteY0" fmla="*/ 13967 h 263539"/>
                      <a:gd name="connsiteX1" fmla="*/ 68104 w 120617"/>
                      <a:gd name="connsiteY1" fmla="*/ 6930 h 263539"/>
                      <a:gd name="connsiteX2" fmla="*/ 45908 w 120617"/>
                      <a:gd name="connsiteY2" fmla="*/ 74276 h 263539"/>
                      <a:gd name="connsiteX3" fmla="*/ 68429 w 120617"/>
                      <a:gd name="connsiteY3" fmla="*/ 82072 h 263539"/>
                      <a:gd name="connsiteX4" fmla="*/ 0 w 120617"/>
                      <a:gd name="connsiteY4" fmla="*/ 252495 h 263539"/>
                      <a:gd name="connsiteX5" fmla="*/ 24145 w 120617"/>
                      <a:gd name="connsiteY5" fmla="*/ 263539 h 263539"/>
                      <a:gd name="connsiteX6" fmla="*/ 120617 w 120617"/>
                      <a:gd name="connsiteY6" fmla="*/ 7688 h 263539"/>
                      <a:gd name="connsiteX7" fmla="*/ 95173 w 120617"/>
                      <a:gd name="connsiteY7" fmla="*/ 0 h 263539"/>
                      <a:gd name="connsiteX8" fmla="*/ 90842 w 120617"/>
                      <a:gd name="connsiteY8" fmla="*/ 13967 h 26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17" h="263539">
                        <a:moveTo>
                          <a:pt x="90842" y="13967"/>
                        </a:moveTo>
                        <a:lnTo>
                          <a:pt x="68104" y="6930"/>
                        </a:lnTo>
                        <a:cubicBezTo>
                          <a:pt x="61175" y="29342"/>
                          <a:pt x="53704" y="51972"/>
                          <a:pt x="45908" y="74276"/>
                        </a:cubicBezTo>
                        <a:lnTo>
                          <a:pt x="68429" y="82072"/>
                        </a:lnTo>
                        <a:cubicBezTo>
                          <a:pt x="48182" y="139890"/>
                          <a:pt x="25336" y="196950"/>
                          <a:pt x="0" y="252495"/>
                        </a:cubicBezTo>
                        <a:lnTo>
                          <a:pt x="24145" y="263539"/>
                        </a:lnTo>
                        <a:cubicBezTo>
                          <a:pt x="61933" y="180709"/>
                          <a:pt x="94415" y="94632"/>
                          <a:pt x="120617" y="7688"/>
                        </a:cubicBezTo>
                        <a:lnTo>
                          <a:pt x="95173" y="0"/>
                        </a:lnTo>
                        <a:cubicBezTo>
                          <a:pt x="93765" y="4656"/>
                          <a:pt x="92250" y="9312"/>
                          <a:pt x="90842" y="13967"/>
                        </a:cubicBezTo>
                        <a:close/>
                      </a:path>
                    </a:pathLst>
                  </a:custGeom>
                  <a:grpFill/>
                  <a:ln w="0" cap="flat">
                    <a:noFill/>
                    <a:prstDash val="solid"/>
                    <a:miter/>
                  </a:ln>
                </p:spPr>
                <p:txBody>
                  <a:bodyPr rtlCol="0" anchor="ctr"/>
                  <a:lstStyle/>
                  <a:p>
                    <a:endParaRPr lang="en-US"/>
                  </a:p>
                </p:txBody>
              </p:sp>
              <p:sp>
                <p:nvSpPr>
                  <p:cNvPr id="348" name="Freeform: Shape 347">
                    <a:extLst>
                      <a:ext uri="{FF2B5EF4-FFF2-40B4-BE49-F238E27FC236}">
                        <a16:creationId xmlns:a16="http://schemas.microsoft.com/office/drawing/2014/main" id="{E1E0AC9C-634D-97DD-7CE6-E67B89D038FB}"/>
                      </a:ext>
                    </a:extLst>
                  </p:cNvPr>
                  <p:cNvSpPr/>
                  <p:nvPr/>
                </p:nvSpPr>
                <p:spPr>
                  <a:xfrm>
                    <a:off x="8342362" y="3392514"/>
                    <a:ext cx="49914" cy="310638"/>
                  </a:xfrm>
                  <a:custGeom>
                    <a:avLst/>
                    <a:gdLst>
                      <a:gd name="connsiteX0" fmla="*/ 26202 w 49914"/>
                      <a:gd name="connsiteY0" fmla="*/ 108 h 310638"/>
                      <a:gd name="connsiteX1" fmla="*/ 0 w 49914"/>
                      <a:gd name="connsiteY1" fmla="*/ 4114 h 310638"/>
                      <a:gd name="connsiteX2" fmla="*/ 23387 w 49914"/>
                      <a:gd name="connsiteY2" fmla="*/ 310638 h 310638"/>
                      <a:gd name="connsiteX3" fmla="*/ 49914 w 49914"/>
                      <a:gd name="connsiteY3" fmla="*/ 310638 h 310638"/>
                      <a:gd name="connsiteX4" fmla="*/ 26202 w 49914"/>
                      <a:gd name="connsiteY4" fmla="*/ 0 h 310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14" h="310638">
                        <a:moveTo>
                          <a:pt x="26202" y="108"/>
                        </a:moveTo>
                        <a:lnTo>
                          <a:pt x="0" y="4114"/>
                        </a:lnTo>
                        <a:cubicBezTo>
                          <a:pt x="15483" y="104809"/>
                          <a:pt x="23387" y="207994"/>
                          <a:pt x="23387" y="310638"/>
                        </a:cubicBezTo>
                        <a:lnTo>
                          <a:pt x="49914" y="310638"/>
                        </a:lnTo>
                        <a:cubicBezTo>
                          <a:pt x="49914" y="206587"/>
                          <a:pt x="41902" y="101994"/>
                          <a:pt x="26202" y="0"/>
                        </a:cubicBezTo>
                        <a:close/>
                      </a:path>
                    </a:pathLst>
                  </a:custGeom>
                  <a:grpFill/>
                  <a:ln w="0" cap="flat">
                    <a:noFill/>
                    <a:prstDash val="solid"/>
                    <a:miter/>
                  </a:ln>
                </p:spPr>
                <p:txBody>
                  <a:bodyPr rtlCol="0" anchor="ctr"/>
                  <a:lstStyle/>
                  <a:p>
                    <a:endParaRPr lang="en-US"/>
                  </a:p>
                </p:txBody>
              </p:sp>
              <p:sp>
                <p:nvSpPr>
                  <p:cNvPr id="349" name="Freeform: Shape 348">
                    <a:extLst>
                      <a:ext uri="{FF2B5EF4-FFF2-40B4-BE49-F238E27FC236}">
                        <a16:creationId xmlns:a16="http://schemas.microsoft.com/office/drawing/2014/main" id="{7D50492B-BFB5-637D-5E99-FEBC3F6D71D3}"/>
                      </a:ext>
                    </a:extLst>
                  </p:cNvPr>
                  <p:cNvSpPr/>
                  <p:nvPr/>
                </p:nvSpPr>
                <p:spPr>
                  <a:xfrm>
                    <a:off x="7951818" y="2469695"/>
                    <a:ext cx="270359" cy="431038"/>
                  </a:xfrm>
                  <a:custGeom>
                    <a:avLst/>
                    <a:gdLst>
                      <a:gd name="connsiteX0" fmla="*/ 270360 w 270359"/>
                      <a:gd name="connsiteY0" fmla="*/ 420320 h 431038"/>
                      <a:gd name="connsiteX1" fmla="*/ 21005 w 270359"/>
                      <a:gd name="connsiteY1" fmla="*/ 0 h 431038"/>
                      <a:gd name="connsiteX2" fmla="*/ 0 w 270359"/>
                      <a:gd name="connsiteY2" fmla="*/ 16241 h 431038"/>
                      <a:gd name="connsiteX3" fmla="*/ 245998 w 270359"/>
                      <a:gd name="connsiteY3" fmla="*/ 431039 h 431038"/>
                      <a:gd name="connsiteX4" fmla="*/ 270252 w 270359"/>
                      <a:gd name="connsiteY4" fmla="*/ 420320 h 431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59" h="431038">
                        <a:moveTo>
                          <a:pt x="270360" y="420320"/>
                        </a:moveTo>
                        <a:cubicBezTo>
                          <a:pt x="204746" y="271010"/>
                          <a:pt x="120833" y="129604"/>
                          <a:pt x="21005" y="0"/>
                        </a:cubicBezTo>
                        <a:lnTo>
                          <a:pt x="0" y="16241"/>
                        </a:lnTo>
                        <a:cubicBezTo>
                          <a:pt x="98529" y="144113"/>
                          <a:pt x="181359" y="283678"/>
                          <a:pt x="245998" y="431039"/>
                        </a:cubicBezTo>
                        <a:lnTo>
                          <a:pt x="270252" y="420320"/>
                        </a:lnTo>
                        <a:close/>
                      </a:path>
                    </a:pathLst>
                  </a:custGeom>
                  <a:grpFill/>
                  <a:ln w="0" cap="flat">
                    <a:noFill/>
                    <a:prstDash val="solid"/>
                    <a:miter/>
                  </a:ln>
                </p:spPr>
                <p:txBody>
                  <a:bodyPr rtlCol="0" anchor="ctr"/>
                  <a:lstStyle/>
                  <a:p>
                    <a:endParaRPr lang="en-US"/>
                  </a:p>
                </p:txBody>
              </p:sp>
              <p:sp>
                <p:nvSpPr>
                  <p:cNvPr id="350" name="Freeform: Shape 349">
                    <a:extLst>
                      <a:ext uri="{FF2B5EF4-FFF2-40B4-BE49-F238E27FC236}">
                        <a16:creationId xmlns:a16="http://schemas.microsoft.com/office/drawing/2014/main" id="{7FCFD2B3-CD4B-0583-3620-58FF999CD84A}"/>
                      </a:ext>
                    </a:extLst>
                  </p:cNvPr>
                  <p:cNvSpPr/>
                  <p:nvPr/>
                </p:nvSpPr>
                <p:spPr>
                  <a:xfrm>
                    <a:off x="4369682" y="3703152"/>
                    <a:ext cx="28476" cy="89109"/>
                  </a:xfrm>
                  <a:custGeom>
                    <a:avLst/>
                    <a:gdLst>
                      <a:gd name="connsiteX0" fmla="*/ 26527 w 28476"/>
                      <a:gd name="connsiteY0" fmla="*/ 0 h 89109"/>
                      <a:gd name="connsiteX1" fmla="*/ 0 w 28476"/>
                      <a:gd name="connsiteY1" fmla="*/ 0 h 89109"/>
                      <a:gd name="connsiteX2" fmla="*/ 1949 w 28476"/>
                      <a:gd name="connsiteY2" fmla="*/ 89109 h 89109"/>
                      <a:gd name="connsiteX3" fmla="*/ 28476 w 28476"/>
                      <a:gd name="connsiteY3" fmla="*/ 87918 h 89109"/>
                      <a:gd name="connsiteX4" fmla="*/ 26527 w 28476"/>
                      <a:gd name="connsiteY4" fmla="*/ 0 h 89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76" h="89109">
                        <a:moveTo>
                          <a:pt x="26527" y="0"/>
                        </a:moveTo>
                        <a:lnTo>
                          <a:pt x="0" y="0"/>
                        </a:lnTo>
                        <a:cubicBezTo>
                          <a:pt x="0" y="29667"/>
                          <a:pt x="650" y="59659"/>
                          <a:pt x="1949" y="89109"/>
                        </a:cubicBezTo>
                        <a:lnTo>
                          <a:pt x="28476" y="87918"/>
                        </a:lnTo>
                        <a:cubicBezTo>
                          <a:pt x="27177" y="58793"/>
                          <a:pt x="26527" y="29234"/>
                          <a:pt x="26527" y="0"/>
                        </a:cubicBezTo>
                        <a:close/>
                      </a:path>
                    </a:pathLst>
                  </a:custGeom>
                  <a:grpFill/>
                  <a:ln w="0" cap="flat">
                    <a:noFill/>
                    <a:prstDash val="solid"/>
                    <a:miter/>
                  </a:ln>
                </p:spPr>
                <p:txBody>
                  <a:bodyPr rtlCol="0" anchor="ctr"/>
                  <a:lstStyle/>
                  <a:p>
                    <a:endParaRPr lang="en-US"/>
                  </a:p>
                </p:txBody>
              </p:sp>
              <p:sp>
                <p:nvSpPr>
                  <p:cNvPr id="351" name="Freeform: Shape 350">
                    <a:extLst>
                      <a:ext uri="{FF2B5EF4-FFF2-40B4-BE49-F238E27FC236}">
                        <a16:creationId xmlns:a16="http://schemas.microsoft.com/office/drawing/2014/main" id="{A7000613-03E5-85CA-ED83-BF44522C083D}"/>
                      </a:ext>
                    </a:extLst>
                  </p:cNvPr>
                  <p:cNvSpPr/>
                  <p:nvPr/>
                </p:nvSpPr>
                <p:spPr>
                  <a:xfrm>
                    <a:off x="6814725" y="5608124"/>
                    <a:ext cx="75791" cy="43093"/>
                  </a:xfrm>
                  <a:custGeom>
                    <a:avLst/>
                    <a:gdLst>
                      <a:gd name="connsiteX0" fmla="*/ 108 w 75791"/>
                      <a:gd name="connsiteY0" fmla="*/ 17216 h 43093"/>
                      <a:gd name="connsiteX1" fmla="*/ 6063 w 75791"/>
                      <a:gd name="connsiteY1" fmla="*/ 43093 h 43093"/>
                      <a:gd name="connsiteX2" fmla="*/ 75792 w 75791"/>
                      <a:gd name="connsiteY2" fmla="*/ 25661 h 43093"/>
                      <a:gd name="connsiteX3" fmla="*/ 68862 w 75791"/>
                      <a:gd name="connsiteY3" fmla="*/ 0 h 43093"/>
                      <a:gd name="connsiteX4" fmla="*/ 0 w 75791"/>
                      <a:gd name="connsiteY4" fmla="*/ 17216 h 43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91" h="43093">
                        <a:moveTo>
                          <a:pt x="108" y="17216"/>
                        </a:moveTo>
                        <a:lnTo>
                          <a:pt x="6063" y="43093"/>
                        </a:lnTo>
                        <a:cubicBezTo>
                          <a:pt x="29234" y="37788"/>
                          <a:pt x="52730" y="31833"/>
                          <a:pt x="75792" y="25661"/>
                        </a:cubicBezTo>
                        <a:lnTo>
                          <a:pt x="68862" y="0"/>
                        </a:lnTo>
                        <a:cubicBezTo>
                          <a:pt x="46016" y="6172"/>
                          <a:pt x="22846" y="11910"/>
                          <a:pt x="0" y="17216"/>
                        </a:cubicBezTo>
                        <a:close/>
                      </a:path>
                    </a:pathLst>
                  </a:custGeom>
                  <a:grpFill/>
                  <a:ln w="0" cap="flat">
                    <a:noFill/>
                    <a:prstDash val="solid"/>
                    <a:miter/>
                  </a:ln>
                </p:spPr>
                <p:txBody>
                  <a:bodyPr rtlCol="0" anchor="ctr"/>
                  <a:lstStyle/>
                  <a:p>
                    <a:endParaRPr lang="en-US"/>
                  </a:p>
                </p:txBody>
              </p:sp>
              <p:sp>
                <p:nvSpPr>
                  <p:cNvPr id="352" name="Freeform: Shape 351">
                    <a:extLst>
                      <a:ext uri="{FF2B5EF4-FFF2-40B4-BE49-F238E27FC236}">
                        <a16:creationId xmlns:a16="http://schemas.microsoft.com/office/drawing/2014/main" id="{4DDCCF21-7D1B-AEEC-150E-AF8E1971C792}"/>
                      </a:ext>
                    </a:extLst>
                  </p:cNvPr>
                  <p:cNvSpPr/>
                  <p:nvPr/>
                </p:nvSpPr>
                <p:spPr>
                  <a:xfrm>
                    <a:off x="7454407" y="2033459"/>
                    <a:ext cx="314535" cy="261373"/>
                  </a:xfrm>
                  <a:custGeom>
                    <a:avLst/>
                    <a:gdLst>
                      <a:gd name="connsiteX0" fmla="*/ 0 w 314535"/>
                      <a:gd name="connsiteY0" fmla="*/ 22196 h 261373"/>
                      <a:gd name="connsiteX1" fmla="*/ 295913 w 314535"/>
                      <a:gd name="connsiteY1" fmla="*/ 261373 h 261373"/>
                      <a:gd name="connsiteX2" fmla="*/ 314536 w 314535"/>
                      <a:gd name="connsiteY2" fmla="*/ 242425 h 261373"/>
                      <a:gd name="connsiteX3" fmla="*/ 14617 w 314535"/>
                      <a:gd name="connsiteY3" fmla="*/ 0 h 261373"/>
                      <a:gd name="connsiteX4" fmla="*/ 0 w 314535"/>
                      <a:gd name="connsiteY4" fmla="*/ 22196 h 261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535" h="261373">
                        <a:moveTo>
                          <a:pt x="0" y="22196"/>
                        </a:moveTo>
                        <a:cubicBezTo>
                          <a:pt x="105784" y="92033"/>
                          <a:pt x="205287" y="172480"/>
                          <a:pt x="295913" y="261373"/>
                        </a:cubicBezTo>
                        <a:lnTo>
                          <a:pt x="314536" y="242425"/>
                        </a:lnTo>
                        <a:cubicBezTo>
                          <a:pt x="222719" y="152341"/>
                          <a:pt x="121808" y="70811"/>
                          <a:pt x="14617" y="0"/>
                        </a:cubicBezTo>
                        <a:lnTo>
                          <a:pt x="0" y="22196"/>
                        </a:lnTo>
                        <a:close/>
                      </a:path>
                    </a:pathLst>
                  </a:custGeom>
                  <a:grpFill/>
                  <a:ln w="0" cap="flat">
                    <a:noFill/>
                    <a:prstDash val="solid"/>
                    <a:miter/>
                  </a:ln>
                </p:spPr>
                <p:txBody>
                  <a:bodyPr rtlCol="0" anchor="ctr"/>
                  <a:lstStyle/>
                  <a:p>
                    <a:endParaRPr lang="en-US"/>
                  </a:p>
                </p:txBody>
              </p:sp>
              <p:sp>
                <p:nvSpPr>
                  <p:cNvPr id="353" name="Freeform: Shape 352">
                    <a:extLst>
                      <a:ext uri="{FF2B5EF4-FFF2-40B4-BE49-F238E27FC236}">
                        <a16:creationId xmlns:a16="http://schemas.microsoft.com/office/drawing/2014/main" id="{30BFC1C9-C31A-3357-9AD3-E6FB127671B3}"/>
                      </a:ext>
                    </a:extLst>
                  </p:cNvPr>
                  <p:cNvSpPr/>
                  <p:nvPr/>
                </p:nvSpPr>
                <p:spPr>
                  <a:xfrm>
                    <a:off x="6489686" y="1707554"/>
                    <a:ext cx="382531" cy="85861"/>
                  </a:xfrm>
                  <a:custGeom>
                    <a:avLst/>
                    <a:gdLst>
                      <a:gd name="connsiteX0" fmla="*/ 382532 w 382531"/>
                      <a:gd name="connsiteY0" fmla="*/ 60200 h 85861"/>
                      <a:gd name="connsiteX1" fmla="*/ 1624 w 382531"/>
                      <a:gd name="connsiteY1" fmla="*/ 0 h 85861"/>
                      <a:gd name="connsiteX2" fmla="*/ 0 w 382531"/>
                      <a:gd name="connsiteY2" fmla="*/ 26527 h 85861"/>
                      <a:gd name="connsiteX3" fmla="*/ 375819 w 382531"/>
                      <a:gd name="connsiteY3" fmla="*/ 85861 h 85861"/>
                      <a:gd name="connsiteX4" fmla="*/ 382424 w 382531"/>
                      <a:gd name="connsiteY4" fmla="*/ 60200 h 85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531" h="85861">
                        <a:moveTo>
                          <a:pt x="382532" y="60200"/>
                        </a:moveTo>
                        <a:cubicBezTo>
                          <a:pt x="258450" y="28043"/>
                          <a:pt x="130254" y="7796"/>
                          <a:pt x="1624" y="0"/>
                        </a:cubicBezTo>
                        <a:lnTo>
                          <a:pt x="0" y="26527"/>
                        </a:lnTo>
                        <a:cubicBezTo>
                          <a:pt x="126897" y="34215"/>
                          <a:pt x="253361" y="54137"/>
                          <a:pt x="375819" y="85861"/>
                        </a:cubicBezTo>
                        <a:lnTo>
                          <a:pt x="382424" y="60200"/>
                        </a:lnTo>
                        <a:close/>
                      </a:path>
                    </a:pathLst>
                  </a:custGeom>
                  <a:grpFill/>
                  <a:ln w="0" cap="flat">
                    <a:noFill/>
                    <a:prstDash val="solid"/>
                    <a:miter/>
                  </a:ln>
                </p:spPr>
                <p:txBody>
                  <a:bodyPr rtlCol="0" anchor="ctr"/>
                  <a:lstStyle/>
                  <a:p>
                    <a:endParaRPr lang="en-US"/>
                  </a:p>
                </p:txBody>
              </p:sp>
              <p:sp>
                <p:nvSpPr>
                  <p:cNvPr id="354" name="Freeform: Shape 353">
                    <a:extLst>
                      <a:ext uri="{FF2B5EF4-FFF2-40B4-BE49-F238E27FC236}">
                        <a16:creationId xmlns:a16="http://schemas.microsoft.com/office/drawing/2014/main" id="{244A1509-9F40-8B8B-B708-98DF796089AE}"/>
                      </a:ext>
                    </a:extLst>
                  </p:cNvPr>
                  <p:cNvSpPr/>
                  <p:nvPr/>
                </p:nvSpPr>
                <p:spPr>
                  <a:xfrm>
                    <a:off x="5361796" y="1828929"/>
                    <a:ext cx="319083" cy="169773"/>
                  </a:xfrm>
                  <a:custGeom>
                    <a:avLst/>
                    <a:gdLst>
                      <a:gd name="connsiteX0" fmla="*/ 0 w 319083"/>
                      <a:gd name="connsiteY0" fmla="*/ 146820 h 169773"/>
                      <a:gd name="connsiteX1" fmla="*/ 13426 w 319083"/>
                      <a:gd name="connsiteY1" fmla="*/ 169774 h 169773"/>
                      <a:gd name="connsiteX2" fmla="*/ 319083 w 319083"/>
                      <a:gd name="connsiteY2" fmla="*/ 24903 h 169773"/>
                      <a:gd name="connsiteX3" fmla="*/ 309772 w 319083"/>
                      <a:gd name="connsiteY3" fmla="*/ 0 h 169773"/>
                      <a:gd name="connsiteX4" fmla="*/ 0 w 319083"/>
                      <a:gd name="connsiteY4" fmla="*/ 146820 h 16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083" h="169773">
                        <a:moveTo>
                          <a:pt x="0" y="146820"/>
                        </a:moveTo>
                        <a:lnTo>
                          <a:pt x="13426" y="169774"/>
                        </a:lnTo>
                        <a:cubicBezTo>
                          <a:pt x="110764" y="112930"/>
                          <a:pt x="213625" y="64098"/>
                          <a:pt x="319083" y="24903"/>
                        </a:cubicBezTo>
                        <a:lnTo>
                          <a:pt x="309772" y="0"/>
                        </a:lnTo>
                        <a:cubicBezTo>
                          <a:pt x="202905" y="39737"/>
                          <a:pt x="98638" y="89218"/>
                          <a:pt x="0" y="146820"/>
                        </a:cubicBezTo>
                        <a:close/>
                      </a:path>
                    </a:pathLst>
                  </a:custGeom>
                  <a:grpFill/>
                  <a:ln w="0" cap="flat">
                    <a:noFill/>
                    <a:prstDash val="solid"/>
                    <a:miter/>
                  </a:ln>
                </p:spPr>
                <p:txBody>
                  <a:bodyPr rtlCol="0" anchor="ctr"/>
                  <a:lstStyle/>
                  <a:p>
                    <a:endParaRPr lang="en-US"/>
                  </a:p>
                </p:txBody>
              </p:sp>
              <p:sp>
                <p:nvSpPr>
                  <p:cNvPr id="355" name="Freeform: Shape 354">
                    <a:extLst>
                      <a:ext uri="{FF2B5EF4-FFF2-40B4-BE49-F238E27FC236}">
                        <a16:creationId xmlns:a16="http://schemas.microsoft.com/office/drawing/2014/main" id="{428D5B01-76FA-01FA-7AC5-6137DC17F69D}"/>
                      </a:ext>
                    </a:extLst>
                  </p:cNvPr>
                  <p:cNvSpPr/>
                  <p:nvPr/>
                </p:nvSpPr>
                <p:spPr>
                  <a:xfrm>
                    <a:off x="4641666" y="2646831"/>
                    <a:ext cx="52079" cy="62365"/>
                  </a:xfrm>
                  <a:custGeom>
                    <a:avLst/>
                    <a:gdLst>
                      <a:gd name="connsiteX0" fmla="*/ 0 w 52079"/>
                      <a:gd name="connsiteY0" fmla="*/ 48940 h 62365"/>
                      <a:gd name="connsiteX1" fmla="*/ 22954 w 52079"/>
                      <a:gd name="connsiteY1" fmla="*/ 62366 h 62365"/>
                      <a:gd name="connsiteX2" fmla="*/ 52080 w 52079"/>
                      <a:gd name="connsiteY2" fmla="*/ 14076 h 62365"/>
                      <a:gd name="connsiteX3" fmla="*/ 29559 w 52079"/>
                      <a:gd name="connsiteY3" fmla="*/ 0 h 62365"/>
                      <a:gd name="connsiteX4" fmla="*/ 0 w 52079"/>
                      <a:gd name="connsiteY4" fmla="*/ 48940 h 62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79" h="62365">
                        <a:moveTo>
                          <a:pt x="0" y="48940"/>
                        </a:moveTo>
                        <a:lnTo>
                          <a:pt x="22954" y="62366"/>
                        </a:lnTo>
                        <a:cubicBezTo>
                          <a:pt x="32374" y="46125"/>
                          <a:pt x="42227" y="29884"/>
                          <a:pt x="52080" y="14076"/>
                        </a:cubicBezTo>
                        <a:lnTo>
                          <a:pt x="29559" y="0"/>
                        </a:lnTo>
                        <a:cubicBezTo>
                          <a:pt x="19598" y="16025"/>
                          <a:pt x="9636" y="32482"/>
                          <a:pt x="0" y="48940"/>
                        </a:cubicBezTo>
                        <a:close/>
                      </a:path>
                    </a:pathLst>
                  </a:custGeom>
                  <a:grpFill/>
                  <a:ln w="0" cap="flat">
                    <a:noFill/>
                    <a:prstDash val="solid"/>
                    <a:miter/>
                  </a:ln>
                </p:spPr>
                <p:txBody>
                  <a:bodyPr rtlCol="0" anchor="ctr"/>
                  <a:lstStyle/>
                  <a:p>
                    <a:endParaRPr lang="en-US"/>
                  </a:p>
                </p:txBody>
              </p:sp>
            </p:grpSp>
            <p:grpSp>
              <p:nvGrpSpPr>
                <p:cNvPr id="317" name="Graphic 33">
                  <a:extLst>
                    <a:ext uri="{FF2B5EF4-FFF2-40B4-BE49-F238E27FC236}">
                      <a16:creationId xmlns:a16="http://schemas.microsoft.com/office/drawing/2014/main" id="{29714068-F971-B284-BDED-86B111693552}"/>
                    </a:ext>
                  </a:extLst>
                </p:cNvPr>
                <p:cNvGrpSpPr/>
                <p:nvPr/>
              </p:nvGrpSpPr>
              <p:grpSpPr>
                <a:xfrm>
                  <a:off x="4354632" y="1679836"/>
                  <a:ext cx="4037536" cy="4022703"/>
                  <a:chOff x="4354632" y="1679836"/>
                  <a:chExt cx="4037536" cy="4022703"/>
                </a:xfrm>
                <a:grpFill/>
              </p:grpSpPr>
              <p:sp>
                <p:nvSpPr>
                  <p:cNvPr id="318" name="Freeform: Shape 317">
                    <a:extLst>
                      <a:ext uri="{FF2B5EF4-FFF2-40B4-BE49-F238E27FC236}">
                        <a16:creationId xmlns:a16="http://schemas.microsoft.com/office/drawing/2014/main" id="{FB29A17D-E171-547A-1ED0-EAD5C14E7451}"/>
                      </a:ext>
                    </a:extLst>
                  </p:cNvPr>
                  <p:cNvSpPr/>
                  <p:nvPr/>
                </p:nvSpPr>
                <p:spPr>
                  <a:xfrm>
                    <a:off x="6058323" y="1679836"/>
                    <a:ext cx="310638" cy="74167"/>
                  </a:xfrm>
                  <a:custGeom>
                    <a:avLst/>
                    <a:gdLst>
                      <a:gd name="connsiteX0" fmla="*/ 222611 w 310638"/>
                      <a:gd name="connsiteY0" fmla="*/ 25986 h 74167"/>
                      <a:gd name="connsiteX1" fmla="*/ 0 w 310638"/>
                      <a:gd name="connsiteY1" fmla="*/ 47965 h 74167"/>
                      <a:gd name="connsiteX2" fmla="*/ 4114 w 310638"/>
                      <a:gd name="connsiteY2" fmla="*/ 74168 h 74167"/>
                      <a:gd name="connsiteX3" fmla="*/ 310638 w 310638"/>
                      <a:gd name="connsiteY3" fmla="*/ 50456 h 74167"/>
                      <a:gd name="connsiteX4" fmla="*/ 310638 w 310638"/>
                      <a:gd name="connsiteY4" fmla="*/ 0 h 74167"/>
                      <a:gd name="connsiteX5" fmla="*/ 221529 w 310638"/>
                      <a:gd name="connsiteY5" fmla="*/ 1949 h 74167"/>
                      <a:gd name="connsiteX6" fmla="*/ 222611 w 310638"/>
                      <a:gd name="connsiteY6" fmla="*/ 25877 h 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638" h="74167">
                        <a:moveTo>
                          <a:pt x="222611" y="25986"/>
                        </a:moveTo>
                        <a:cubicBezTo>
                          <a:pt x="147902" y="29234"/>
                          <a:pt x="73302" y="36597"/>
                          <a:pt x="0" y="47965"/>
                        </a:cubicBezTo>
                        <a:lnTo>
                          <a:pt x="4114" y="74168"/>
                        </a:lnTo>
                        <a:cubicBezTo>
                          <a:pt x="104809" y="58468"/>
                          <a:pt x="207886" y="50456"/>
                          <a:pt x="310638" y="50456"/>
                        </a:cubicBezTo>
                        <a:lnTo>
                          <a:pt x="310638" y="0"/>
                        </a:lnTo>
                        <a:cubicBezTo>
                          <a:pt x="280971" y="0"/>
                          <a:pt x="250979" y="650"/>
                          <a:pt x="221529" y="1949"/>
                        </a:cubicBezTo>
                        <a:lnTo>
                          <a:pt x="222611" y="25877"/>
                        </a:lnTo>
                        <a:close/>
                      </a:path>
                    </a:pathLst>
                  </a:custGeom>
                  <a:grpFill/>
                  <a:ln w="0"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E9C3E120-F435-2A70-F35D-D682987B55B0}"/>
                      </a:ext>
                    </a:extLst>
                  </p:cNvPr>
                  <p:cNvSpPr/>
                  <p:nvPr/>
                </p:nvSpPr>
                <p:spPr>
                  <a:xfrm>
                    <a:off x="5541964" y="1836075"/>
                    <a:ext cx="56952" cy="44392"/>
                  </a:xfrm>
                  <a:custGeom>
                    <a:avLst/>
                    <a:gdLst>
                      <a:gd name="connsiteX0" fmla="*/ 108 w 56952"/>
                      <a:gd name="connsiteY0" fmla="*/ 20139 h 44392"/>
                      <a:gd name="connsiteX1" fmla="*/ 10936 w 56952"/>
                      <a:gd name="connsiteY1" fmla="*/ 44392 h 44392"/>
                      <a:gd name="connsiteX2" fmla="*/ 56952 w 56952"/>
                      <a:gd name="connsiteY2" fmla="*/ 24470 h 44392"/>
                      <a:gd name="connsiteX3" fmla="*/ 46666 w 56952"/>
                      <a:gd name="connsiteY3" fmla="*/ 0 h 44392"/>
                      <a:gd name="connsiteX4" fmla="*/ 0 w 56952"/>
                      <a:gd name="connsiteY4" fmla="*/ 20247 h 44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52" h="44392">
                        <a:moveTo>
                          <a:pt x="108" y="20139"/>
                        </a:moveTo>
                        <a:lnTo>
                          <a:pt x="10936" y="44392"/>
                        </a:lnTo>
                        <a:cubicBezTo>
                          <a:pt x="26094" y="37571"/>
                          <a:pt x="41577" y="30858"/>
                          <a:pt x="56952" y="24470"/>
                        </a:cubicBezTo>
                        <a:lnTo>
                          <a:pt x="46666" y="0"/>
                        </a:lnTo>
                        <a:cubicBezTo>
                          <a:pt x="31075" y="6496"/>
                          <a:pt x="15375" y="13318"/>
                          <a:pt x="0" y="20247"/>
                        </a:cubicBezTo>
                        <a:close/>
                      </a:path>
                    </a:pathLst>
                  </a:custGeom>
                  <a:grpFill/>
                  <a:ln w="0"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F2B23665-9DBA-162D-9D89-A6B9D414D5CE}"/>
                      </a:ext>
                    </a:extLst>
                  </p:cNvPr>
                  <p:cNvSpPr/>
                  <p:nvPr/>
                </p:nvSpPr>
                <p:spPr>
                  <a:xfrm>
                    <a:off x="4354632" y="3461592"/>
                    <a:ext cx="31832" cy="52945"/>
                  </a:xfrm>
                  <a:custGeom>
                    <a:avLst/>
                    <a:gdLst>
                      <a:gd name="connsiteX0" fmla="*/ 31833 w 31832"/>
                      <a:gd name="connsiteY0" fmla="*/ 3140 h 52945"/>
                      <a:gd name="connsiteX1" fmla="*/ 5414 w 31832"/>
                      <a:gd name="connsiteY1" fmla="*/ 0 h 52945"/>
                      <a:gd name="connsiteX2" fmla="*/ 0 w 31832"/>
                      <a:gd name="connsiteY2" fmla="*/ 50456 h 52945"/>
                      <a:gd name="connsiteX3" fmla="*/ 26419 w 31832"/>
                      <a:gd name="connsiteY3" fmla="*/ 52946 h 52945"/>
                      <a:gd name="connsiteX4" fmla="*/ 31724 w 31832"/>
                      <a:gd name="connsiteY4" fmla="*/ 3140 h 52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2" h="52945">
                        <a:moveTo>
                          <a:pt x="31833" y="3140"/>
                        </a:moveTo>
                        <a:lnTo>
                          <a:pt x="5414" y="0"/>
                        </a:lnTo>
                        <a:cubicBezTo>
                          <a:pt x="3465" y="16674"/>
                          <a:pt x="1624" y="33673"/>
                          <a:pt x="0" y="50456"/>
                        </a:cubicBezTo>
                        <a:lnTo>
                          <a:pt x="26419" y="52946"/>
                        </a:lnTo>
                        <a:cubicBezTo>
                          <a:pt x="27935" y="36380"/>
                          <a:pt x="29775" y="19598"/>
                          <a:pt x="31724" y="3140"/>
                        </a:cubicBezTo>
                        <a:close/>
                      </a:path>
                    </a:pathLst>
                  </a:custGeom>
                  <a:grpFill/>
                  <a:ln w="0"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C67249A2-127F-CC3F-F067-C1F02BD31741}"/>
                      </a:ext>
                    </a:extLst>
                  </p:cNvPr>
                  <p:cNvSpPr/>
                  <p:nvPr/>
                </p:nvSpPr>
                <p:spPr>
                  <a:xfrm>
                    <a:off x="4565982" y="2608177"/>
                    <a:ext cx="123757" cy="188180"/>
                  </a:xfrm>
                  <a:custGeom>
                    <a:avLst/>
                    <a:gdLst>
                      <a:gd name="connsiteX0" fmla="*/ 108 w 123757"/>
                      <a:gd name="connsiteY0" fmla="*/ 176054 h 188180"/>
                      <a:gd name="connsiteX1" fmla="*/ 23712 w 123757"/>
                      <a:gd name="connsiteY1" fmla="*/ 188180 h 188180"/>
                      <a:gd name="connsiteX2" fmla="*/ 123757 w 123757"/>
                      <a:gd name="connsiteY2" fmla="*/ 14400 h 188180"/>
                      <a:gd name="connsiteX3" fmla="*/ 101453 w 123757"/>
                      <a:gd name="connsiteY3" fmla="*/ 0 h 188180"/>
                      <a:gd name="connsiteX4" fmla="*/ 0 w 123757"/>
                      <a:gd name="connsiteY4" fmla="*/ 176054 h 18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57" h="188180">
                        <a:moveTo>
                          <a:pt x="108" y="176054"/>
                        </a:moveTo>
                        <a:lnTo>
                          <a:pt x="23712" y="188180"/>
                        </a:lnTo>
                        <a:cubicBezTo>
                          <a:pt x="54029" y="128954"/>
                          <a:pt x="87702" y="70378"/>
                          <a:pt x="123757" y="14400"/>
                        </a:cubicBezTo>
                        <a:lnTo>
                          <a:pt x="101453" y="0"/>
                        </a:lnTo>
                        <a:cubicBezTo>
                          <a:pt x="64856" y="56736"/>
                          <a:pt x="30750" y="116070"/>
                          <a:pt x="0" y="176054"/>
                        </a:cubicBezTo>
                        <a:close/>
                      </a:path>
                    </a:pathLst>
                  </a:custGeom>
                  <a:grpFill/>
                  <a:ln w="0"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B5F50C7E-F399-4429-FE14-7A4C0F26EF78}"/>
                      </a:ext>
                    </a:extLst>
                  </p:cNvPr>
                  <p:cNvSpPr/>
                  <p:nvPr/>
                </p:nvSpPr>
                <p:spPr>
                  <a:xfrm>
                    <a:off x="5273986" y="1900173"/>
                    <a:ext cx="188288" cy="123757"/>
                  </a:xfrm>
                  <a:custGeom>
                    <a:avLst/>
                    <a:gdLst>
                      <a:gd name="connsiteX0" fmla="*/ 188288 w 188288"/>
                      <a:gd name="connsiteY0" fmla="*/ 23604 h 123757"/>
                      <a:gd name="connsiteX1" fmla="*/ 176162 w 188288"/>
                      <a:gd name="connsiteY1" fmla="*/ 0 h 123757"/>
                      <a:gd name="connsiteX2" fmla="*/ 0 w 188288"/>
                      <a:gd name="connsiteY2" fmla="*/ 101453 h 123757"/>
                      <a:gd name="connsiteX3" fmla="*/ 14400 w 188288"/>
                      <a:gd name="connsiteY3" fmla="*/ 123757 h 123757"/>
                      <a:gd name="connsiteX4" fmla="*/ 188288 w 188288"/>
                      <a:gd name="connsiteY4" fmla="*/ 23604 h 12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88" h="123757">
                        <a:moveTo>
                          <a:pt x="188288" y="23604"/>
                        </a:moveTo>
                        <a:lnTo>
                          <a:pt x="176162" y="0"/>
                        </a:lnTo>
                        <a:cubicBezTo>
                          <a:pt x="116070" y="30750"/>
                          <a:pt x="56736" y="64856"/>
                          <a:pt x="0" y="101453"/>
                        </a:cubicBezTo>
                        <a:lnTo>
                          <a:pt x="14400" y="123757"/>
                        </a:lnTo>
                        <a:cubicBezTo>
                          <a:pt x="70486" y="87594"/>
                          <a:pt x="128954" y="53920"/>
                          <a:pt x="188288" y="23604"/>
                        </a:cubicBezTo>
                        <a:close/>
                      </a:path>
                    </a:pathLst>
                  </a:custGeom>
                  <a:grpFill/>
                  <a:ln w="0" cap="flat">
                    <a:noFill/>
                    <a:prstDash val="solid"/>
                    <a:miter/>
                  </a:ln>
                </p:spPr>
                <p:txBody>
                  <a:bodyPr rtlCol="0" anchor="ctr"/>
                  <a:lstStyle/>
                  <a:p>
                    <a:endParaRPr lang="en-US"/>
                  </a:p>
                </p:txBody>
              </p:sp>
              <p:sp>
                <p:nvSpPr>
                  <p:cNvPr id="323" name="Freeform: Shape 322">
                    <a:extLst>
                      <a:ext uri="{FF2B5EF4-FFF2-40B4-BE49-F238E27FC236}">
                        <a16:creationId xmlns:a16="http://schemas.microsoft.com/office/drawing/2014/main" id="{774EEC16-F494-0F79-60AA-A67192B2B065}"/>
                      </a:ext>
                    </a:extLst>
                  </p:cNvPr>
                  <p:cNvSpPr/>
                  <p:nvPr/>
                </p:nvSpPr>
                <p:spPr>
                  <a:xfrm>
                    <a:off x="5704375" y="5589609"/>
                    <a:ext cx="77091" cy="47748"/>
                  </a:xfrm>
                  <a:custGeom>
                    <a:avLst/>
                    <a:gdLst>
                      <a:gd name="connsiteX0" fmla="*/ 0 w 77091"/>
                      <a:gd name="connsiteY0" fmla="*/ 25119 h 47748"/>
                      <a:gd name="connsiteX1" fmla="*/ 69295 w 77091"/>
                      <a:gd name="connsiteY1" fmla="*/ 47749 h 47748"/>
                      <a:gd name="connsiteX2" fmla="*/ 77091 w 77091"/>
                      <a:gd name="connsiteY2" fmla="*/ 22412 h 47748"/>
                      <a:gd name="connsiteX3" fmla="*/ 8770 w 77091"/>
                      <a:gd name="connsiteY3" fmla="*/ 0 h 47748"/>
                      <a:gd name="connsiteX4" fmla="*/ 0 w 77091"/>
                      <a:gd name="connsiteY4" fmla="*/ 25119 h 47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91" h="47748">
                        <a:moveTo>
                          <a:pt x="0" y="25119"/>
                        </a:moveTo>
                        <a:cubicBezTo>
                          <a:pt x="22846" y="33023"/>
                          <a:pt x="46125" y="40711"/>
                          <a:pt x="69295" y="47749"/>
                        </a:cubicBezTo>
                        <a:lnTo>
                          <a:pt x="77091" y="22412"/>
                        </a:lnTo>
                        <a:cubicBezTo>
                          <a:pt x="54245" y="15375"/>
                          <a:pt x="31291" y="7904"/>
                          <a:pt x="8770" y="0"/>
                        </a:cubicBezTo>
                        <a:lnTo>
                          <a:pt x="0" y="25119"/>
                        </a:lnTo>
                        <a:close/>
                      </a:path>
                    </a:pathLst>
                  </a:custGeom>
                  <a:grpFill/>
                  <a:ln w="0"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7330B4DD-D49C-4887-39EC-74749063C0CC}"/>
                      </a:ext>
                    </a:extLst>
                  </p:cNvPr>
                  <p:cNvSpPr/>
                  <p:nvPr/>
                </p:nvSpPr>
                <p:spPr>
                  <a:xfrm>
                    <a:off x="4863086" y="5036546"/>
                    <a:ext cx="68753" cy="71136"/>
                  </a:xfrm>
                  <a:custGeom>
                    <a:avLst/>
                    <a:gdLst>
                      <a:gd name="connsiteX0" fmla="*/ 0 w 68753"/>
                      <a:gd name="connsiteY0" fmla="*/ 17757 h 71136"/>
                      <a:gd name="connsiteX1" fmla="*/ 49698 w 68753"/>
                      <a:gd name="connsiteY1" fmla="*/ 71136 h 71136"/>
                      <a:gd name="connsiteX2" fmla="*/ 68754 w 68753"/>
                      <a:gd name="connsiteY2" fmla="*/ 52729 h 71136"/>
                      <a:gd name="connsiteX3" fmla="*/ 19706 w 68753"/>
                      <a:gd name="connsiteY3" fmla="*/ 0 h 71136"/>
                      <a:gd name="connsiteX4" fmla="*/ 0 w 68753"/>
                      <a:gd name="connsiteY4" fmla="*/ 17757 h 71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53" h="71136">
                        <a:moveTo>
                          <a:pt x="0" y="17757"/>
                        </a:moveTo>
                        <a:cubicBezTo>
                          <a:pt x="16133" y="35731"/>
                          <a:pt x="32915" y="53704"/>
                          <a:pt x="49698" y="71136"/>
                        </a:cubicBezTo>
                        <a:lnTo>
                          <a:pt x="68754" y="52729"/>
                        </a:lnTo>
                        <a:cubicBezTo>
                          <a:pt x="52188" y="35514"/>
                          <a:pt x="35622" y="17757"/>
                          <a:pt x="19706" y="0"/>
                        </a:cubicBezTo>
                        <a:lnTo>
                          <a:pt x="0" y="17757"/>
                        </a:lnTo>
                        <a:close/>
                      </a:path>
                    </a:pathLst>
                  </a:custGeom>
                  <a:grpFill/>
                  <a:ln w="0"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94611CED-5FA7-4D1B-EC72-470C35862C44}"/>
                      </a:ext>
                    </a:extLst>
                  </p:cNvPr>
                  <p:cNvSpPr/>
                  <p:nvPr/>
                </p:nvSpPr>
                <p:spPr>
                  <a:xfrm>
                    <a:off x="8365208" y="3703152"/>
                    <a:ext cx="26960" cy="44500"/>
                  </a:xfrm>
                  <a:custGeom>
                    <a:avLst/>
                    <a:gdLst>
                      <a:gd name="connsiteX0" fmla="*/ 433 w 26960"/>
                      <a:gd name="connsiteY0" fmla="*/ 0 h 44500"/>
                      <a:gd name="connsiteX1" fmla="*/ 0 w 26960"/>
                      <a:gd name="connsiteY1" fmla="*/ 43959 h 44500"/>
                      <a:gd name="connsiteX2" fmla="*/ 26527 w 26960"/>
                      <a:gd name="connsiteY2" fmla="*/ 44501 h 44500"/>
                      <a:gd name="connsiteX3" fmla="*/ 26960 w 26960"/>
                      <a:gd name="connsiteY3" fmla="*/ 0 h 44500"/>
                      <a:gd name="connsiteX4" fmla="*/ 433 w 26960"/>
                      <a:gd name="connsiteY4" fmla="*/ 0 h 4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60" h="44500">
                        <a:moveTo>
                          <a:pt x="433" y="0"/>
                        </a:moveTo>
                        <a:cubicBezTo>
                          <a:pt x="433" y="14725"/>
                          <a:pt x="325" y="29342"/>
                          <a:pt x="0" y="43959"/>
                        </a:cubicBezTo>
                        <a:lnTo>
                          <a:pt x="26527" y="44501"/>
                        </a:lnTo>
                        <a:cubicBezTo>
                          <a:pt x="26852" y="29667"/>
                          <a:pt x="26960" y="14833"/>
                          <a:pt x="26960" y="0"/>
                        </a:cubicBezTo>
                        <a:lnTo>
                          <a:pt x="433" y="0"/>
                        </a:lnTo>
                        <a:close/>
                      </a:path>
                    </a:pathLst>
                  </a:custGeom>
                  <a:grpFill/>
                  <a:ln w="0" cap="flat">
                    <a:no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F340D140-FE64-B7D6-5591-1B0E28E40ECE}"/>
                      </a:ext>
                    </a:extLst>
                  </p:cNvPr>
                  <p:cNvSpPr/>
                  <p:nvPr/>
                </p:nvSpPr>
                <p:spPr>
                  <a:xfrm>
                    <a:off x="8288117" y="3238007"/>
                    <a:ext cx="74817" cy="269060"/>
                  </a:xfrm>
                  <a:custGeom>
                    <a:avLst/>
                    <a:gdLst>
                      <a:gd name="connsiteX0" fmla="*/ 68537 w 74817"/>
                      <a:gd name="connsiteY0" fmla="*/ 85645 h 269060"/>
                      <a:gd name="connsiteX1" fmla="*/ 45042 w 74817"/>
                      <a:gd name="connsiteY1" fmla="*/ 90084 h 269060"/>
                      <a:gd name="connsiteX2" fmla="*/ 25877 w 74817"/>
                      <a:gd name="connsiteY2" fmla="*/ 0 h 269060"/>
                      <a:gd name="connsiteX3" fmla="*/ 0 w 74817"/>
                      <a:gd name="connsiteY3" fmla="*/ 6172 h 269060"/>
                      <a:gd name="connsiteX4" fmla="*/ 44067 w 74817"/>
                      <a:gd name="connsiteY4" fmla="*/ 269061 h 269060"/>
                      <a:gd name="connsiteX5" fmla="*/ 70486 w 74817"/>
                      <a:gd name="connsiteY5" fmla="*/ 266462 h 269060"/>
                      <a:gd name="connsiteX6" fmla="*/ 51213 w 74817"/>
                      <a:gd name="connsiteY6" fmla="*/ 124190 h 269060"/>
                      <a:gd name="connsiteX7" fmla="*/ 74817 w 74817"/>
                      <a:gd name="connsiteY7" fmla="*/ 120184 h 269060"/>
                      <a:gd name="connsiteX8" fmla="*/ 68537 w 74817"/>
                      <a:gd name="connsiteY8" fmla="*/ 85753 h 26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17" h="269060">
                        <a:moveTo>
                          <a:pt x="68537" y="85645"/>
                        </a:moveTo>
                        <a:lnTo>
                          <a:pt x="45042" y="90084"/>
                        </a:lnTo>
                        <a:cubicBezTo>
                          <a:pt x="39303" y="59875"/>
                          <a:pt x="32915" y="29775"/>
                          <a:pt x="25877" y="0"/>
                        </a:cubicBezTo>
                        <a:lnTo>
                          <a:pt x="0" y="6172"/>
                        </a:lnTo>
                        <a:cubicBezTo>
                          <a:pt x="20572" y="92249"/>
                          <a:pt x="35297" y="180709"/>
                          <a:pt x="44067" y="269061"/>
                        </a:cubicBezTo>
                        <a:lnTo>
                          <a:pt x="70486" y="266462"/>
                        </a:lnTo>
                        <a:cubicBezTo>
                          <a:pt x="65830" y="218930"/>
                          <a:pt x="59334" y="171398"/>
                          <a:pt x="51213" y="124190"/>
                        </a:cubicBezTo>
                        <a:lnTo>
                          <a:pt x="74817" y="120184"/>
                        </a:lnTo>
                        <a:cubicBezTo>
                          <a:pt x="72868" y="108707"/>
                          <a:pt x="70811" y="97230"/>
                          <a:pt x="68537" y="85753"/>
                        </a:cubicBezTo>
                        <a:close/>
                      </a:path>
                    </a:pathLst>
                  </a:custGeom>
                  <a:grpFill/>
                  <a:ln w="0" cap="flat">
                    <a:no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F814F3FA-AB5E-2684-08EF-A3AAEA2B2249}"/>
                      </a:ext>
                    </a:extLst>
                  </p:cNvPr>
                  <p:cNvSpPr/>
                  <p:nvPr/>
                </p:nvSpPr>
                <p:spPr>
                  <a:xfrm>
                    <a:off x="8224560" y="2954545"/>
                    <a:ext cx="92032" cy="205937"/>
                  </a:xfrm>
                  <a:custGeom>
                    <a:avLst/>
                    <a:gdLst>
                      <a:gd name="connsiteX0" fmla="*/ 92033 w 92032"/>
                      <a:gd name="connsiteY0" fmla="*/ 198791 h 205937"/>
                      <a:gd name="connsiteX1" fmla="*/ 24686 w 92032"/>
                      <a:gd name="connsiteY1" fmla="*/ 0 h 205937"/>
                      <a:gd name="connsiteX2" fmla="*/ 0 w 92032"/>
                      <a:gd name="connsiteY2" fmla="*/ 9853 h 205937"/>
                      <a:gd name="connsiteX3" fmla="*/ 66480 w 92032"/>
                      <a:gd name="connsiteY3" fmla="*/ 205937 h 205937"/>
                      <a:gd name="connsiteX4" fmla="*/ 92033 w 92032"/>
                      <a:gd name="connsiteY4" fmla="*/ 198791 h 205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2" h="205937">
                        <a:moveTo>
                          <a:pt x="92033" y="198791"/>
                        </a:moveTo>
                        <a:cubicBezTo>
                          <a:pt x="73085" y="131661"/>
                          <a:pt x="50456" y="64856"/>
                          <a:pt x="24686" y="0"/>
                        </a:cubicBezTo>
                        <a:lnTo>
                          <a:pt x="0" y="9853"/>
                        </a:lnTo>
                        <a:cubicBezTo>
                          <a:pt x="25444" y="73735"/>
                          <a:pt x="47857" y="139782"/>
                          <a:pt x="66480" y="205937"/>
                        </a:cubicBezTo>
                        <a:lnTo>
                          <a:pt x="92033" y="198791"/>
                        </a:lnTo>
                        <a:close/>
                      </a:path>
                    </a:pathLst>
                  </a:custGeom>
                  <a:grpFill/>
                  <a:ln w="0"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32CF3A00-B54B-982C-9701-B1B36ABAB7AC}"/>
                      </a:ext>
                    </a:extLst>
                  </p:cNvPr>
                  <p:cNvSpPr/>
                  <p:nvPr/>
                </p:nvSpPr>
                <p:spPr>
                  <a:xfrm>
                    <a:off x="6938806" y="1788543"/>
                    <a:ext cx="663936" cy="332076"/>
                  </a:xfrm>
                  <a:custGeom>
                    <a:avLst/>
                    <a:gdLst>
                      <a:gd name="connsiteX0" fmla="*/ 234089 w 663936"/>
                      <a:gd name="connsiteY0" fmla="*/ 83588 h 332076"/>
                      <a:gd name="connsiteX1" fmla="*/ 7688 w 663936"/>
                      <a:gd name="connsiteY1" fmla="*/ 0 h 332076"/>
                      <a:gd name="connsiteX2" fmla="*/ 0 w 663936"/>
                      <a:gd name="connsiteY2" fmla="*/ 25444 h 332076"/>
                      <a:gd name="connsiteX3" fmla="*/ 249355 w 663936"/>
                      <a:gd name="connsiteY3" fmla="*/ 119534 h 332076"/>
                      <a:gd name="connsiteX4" fmla="*/ 259208 w 663936"/>
                      <a:gd name="connsiteY4" fmla="*/ 97988 h 332076"/>
                      <a:gd name="connsiteX5" fmla="*/ 396932 w 663936"/>
                      <a:gd name="connsiteY5" fmla="*/ 167283 h 332076"/>
                      <a:gd name="connsiteX6" fmla="*/ 385347 w 663936"/>
                      <a:gd name="connsiteY6" fmla="*/ 188180 h 332076"/>
                      <a:gd name="connsiteX7" fmla="*/ 451286 w 663936"/>
                      <a:gd name="connsiteY7" fmla="*/ 226401 h 332076"/>
                      <a:gd name="connsiteX8" fmla="*/ 463521 w 663936"/>
                      <a:gd name="connsiteY8" fmla="*/ 206154 h 332076"/>
                      <a:gd name="connsiteX9" fmla="*/ 647695 w 663936"/>
                      <a:gd name="connsiteY9" fmla="*/ 332076 h 332076"/>
                      <a:gd name="connsiteX10" fmla="*/ 663936 w 663936"/>
                      <a:gd name="connsiteY10" fmla="*/ 311071 h 332076"/>
                      <a:gd name="connsiteX11" fmla="*/ 243725 w 663936"/>
                      <a:gd name="connsiteY11" fmla="*/ 61716 h 332076"/>
                      <a:gd name="connsiteX12" fmla="*/ 234089 w 663936"/>
                      <a:gd name="connsiteY12" fmla="*/ 83588 h 33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3936" h="332076">
                        <a:moveTo>
                          <a:pt x="234089" y="83588"/>
                        </a:moveTo>
                        <a:cubicBezTo>
                          <a:pt x="160462" y="51214"/>
                          <a:pt x="84454" y="23171"/>
                          <a:pt x="7688" y="0"/>
                        </a:cubicBezTo>
                        <a:lnTo>
                          <a:pt x="0" y="25444"/>
                        </a:lnTo>
                        <a:cubicBezTo>
                          <a:pt x="84887" y="50997"/>
                          <a:pt x="168691" y="82613"/>
                          <a:pt x="249355" y="119534"/>
                        </a:cubicBezTo>
                        <a:lnTo>
                          <a:pt x="259208" y="97988"/>
                        </a:lnTo>
                        <a:cubicBezTo>
                          <a:pt x="305982" y="119318"/>
                          <a:pt x="351999" y="142380"/>
                          <a:pt x="396932" y="167283"/>
                        </a:cubicBezTo>
                        <a:lnTo>
                          <a:pt x="385347" y="188180"/>
                        </a:lnTo>
                        <a:cubicBezTo>
                          <a:pt x="407435" y="200415"/>
                          <a:pt x="429523" y="213300"/>
                          <a:pt x="451286" y="226401"/>
                        </a:cubicBezTo>
                        <a:lnTo>
                          <a:pt x="463521" y="206154"/>
                        </a:lnTo>
                        <a:cubicBezTo>
                          <a:pt x="527078" y="244699"/>
                          <a:pt x="588686" y="286601"/>
                          <a:pt x="647695" y="332076"/>
                        </a:cubicBezTo>
                        <a:lnTo>
                          <a:pt x="663936" y="311071"/>
                        </a:lnTo>
                        <a:cubicBezTo>
                          <a:pt x="534332" y="211243"/>
                          <a:pt x="392926" y="127330"/>
                          <a:pt x="243725" y="61716"/>
                        </a:cubicBezTo>
                        <a:lnTo>
                          <a:pt x="234089" y="83588"/>
                        </a:lnTo>
                        <a:close/>
                      </a:path>
                    </a:pathLst>
                  </a:custGeom>
                  <a:grpFill/>
                  <a:ln w="0"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DC046046-DFA1-D7E1-1752-08BE35B0D394}"/>
                      </a:ext>
                    </a:extLst>
                  </p:cNvPr>
                  <p:cNvSpPr/>
                  <p:nvPr/>
                </p:nvSpPr>
                <p:spPr>
                  <a:xfrm>
                    <a:off x="6744346" y="1715675"/>
                    <a:ext cx="208752" cy="75358"/>
                  </a:xfrm>
                  <a:custGeom>
                    <a:avLst/>
                    <a:gdLst>
                      <a:gd name="connsiteX0" fmla="*/ 208752 w 208752"/>
                      <a:gd name="connsiteY0" fmla="*/ 49914 h 75358"/>
                      <a:gd name="connsiteX1" fmla="*/ 4981 w 208752"/>
                      <a:gd name="connsiteY1" fmla="*/ 0 h 75358"/>
                      <a:gd name="connsiteX2" fmla="*/ 0 w 208752"/>
                      <a:gd name="connsiteY2" fmla="*/ 26094 h 75358"/>
                      <a:gd name="connsiteX3" fmla="*/ 201065 w 208752"/>
                      <a:gd name="connsiteY3" fmla="*/ 75359 h 75358"/>
                      <a:gd name="connsiteX4" fmla="*/ 208752 w 208752"/>
                      <a:gd name="connsiteY4" fmla="*/ 49914 h 75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752" h="75358">
                        <a:moveTo>
                          <a:pt x="208752" y="49914"/>
                        </a:moveTo>
                        <a:cubicBezTo>
                          <a:pt x="142055" y="29884"/>
                          <a:pt x="73518" y="12993"/>
                          <a:pt x="4981" y="0"/>
                        </a:cubicBezTo>
                        <a:lnTo>
                          <a:pt x="0" y="26094"/>
                        </a:lnTo>
                        <a:cubicBezTo>
                          <a:pt x="67563" y="38979"/>
                          <a:pt x="135234" y="55545"/>
                          <a:pt x="201065" y="75359"/>
                        </a:cubicBezTo>
                        <a:lnTo>
                          <a:pt x="208752" y="49914"/>
                        </a:lnTo>
                        <a:close/>
                      </a:path>
                    </a:pathLst>
                  </a:custGeom>
                  <a:grpFill/>
                  <a:ln w="0"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1C798040-A718-EB1C-2EBC-13034B7E0164}"/>
                      </a:ext>
                    </a:extLst>
                  </p:cNvPr>
                  <p:cNvSpPr/>
                  <p:nvPr/>
                </p:nvSpPr>
                <p:spPr>
                  <a:xfrm>
                    <a:off x="4524080" y="4464534"/>
                    <a:ext cx="44175" cy="56302"/>
                  </a:xfrm>
                  <a:custGeom>
                    <a:avLst/>
                    <a:gdLst>
                      <a:gd name="connsiteX0" fmla="*/ 0 w 44175"/>
                      <a:gd name="connsiteY0" fmla="*/ 10286 h 56302"/>
                      <a:gd name="connsiteX1" fmla="*/ 19922 w 44175"/>
                      <a:gd name="connsiteY1" fmla="*/ 56302 h 56302"/>
                      <a:gd name="connsiteX2" fmla="*/ 44176 w 44175"/>
                      <a:gd name="connsiteY2" fmla="*/ 45475 h 56302"/>
                      <a:gd name="connsiteX3" fmla="*/ 24470 w 44175"/>
                      <a:gd name="connsiteY3" fmla="*/ 0 h 56302"/>
                      <a:gd name="connsiteX4" fmla="*/ 0 w 44175"/>
                      <a:gd name="connsiteY4" fmla="*/ 10286 h 56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75" h="56302">
                        <a:moveTo>
                          <a:pt x="0" y="10286"/>
                        </a:moveTo>
                        <a:cubicBezTo>
                          <a:pt x="6388" y="25553"/>
                          <a:pt x="13101" y="41036"/>
                          <a:pt x="19922" y="56302"/>
                        </a:cubicBezTo>
                        <a:lnTo>
                          <a:pt x="44176" y="45475"/>
                        </a:lnTo>
                        <a:cubicBezTo>
                          <a:pt x="37463" y="30425"/>
                          <a:pt x="30750" y="15050"/>
                          <a:pt x="24470" y="0"/>
                        </a:cubicBezTo>
                        <a:lnTo>
                          <a:pt x="0" y="10286"/>
                        </a:lnTo>
                        <a:close/>
                      </a:path>
                    </a:pathLst>
                  </a:custGeom>
                  <a:grpFill/>
                  <a:ln w="0"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ACF40234-7501-51AF-9742-6669E0803096}"/>
                      </a:ext>
                    </a:extLst>
                  </p:cNvPr>
                  <p:cNvSpPr/>
                  <p:nvPr/>
                </p:nvSpPr>
                <p:spPr>
                  <a:xfrm>
                    <a:off x="4374446" y="3840551"/>
                    <a:ext cx="121916" cy="493187"/>
                  </a:xfrm>
                  <a:custGeom>
                    <a:avLst/>
                    <a:gdLst>
                      <a:gd name="connsiteX0" fmla="*/ 0 w 121916"/>
                      <a:gd name="connsiteY0" fmla="*/ 1841 h 493187"/>
                      <a:gd name="connsiteX1" fmla="*/ 96689 w 121916"/>
                      <a:gd name="connsiteY1" fmla="*/ 493188 h 493187"/>
                      <a:gd name="connsiteX2" fmla="*/ 121917 w 121916"/>
                      <a:gd name="connsiteY2" fmla="*/ 484851 h 493187"/>
                      <a:gd name="connsiteX3" fmla="*/ 26527 w 121916"/>
                      <a:gd name="connsiteY3" fmla="*/ 0 h 493187"/>
                      <a:gd name="connsiteX4" fmla="*/ 0 w 121916"/>
                      <a:gd name="connsiteY4" fmla="*/ 1841 h 493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6" h="493187">
                        <a:moveTo>
                          <a:pt x="0" y="1841"/>
                        </a:moveTo>
                        <a:cubicBezTo>
                          <a:pt x="11477" y="169340"/>
                          <a:pt x="44068" y="334675"/>
                          <a:pt x="96689" y="493188"/>
                        </a:cubicBezTo>
                        <a:lnTo>
                          <a:pt x="121917" y="484851"/>
                        </a:lnTo>
                        <a:cubicBezTo>
                          <a:pt x="69945" y="328395"/>
                          <a:pt x="37896" y="165334"/>
                          <a:pt x="26527" y="0"/>
                        </a:cubicBezTo>
                        <a:lnTo>
                          <a:pt x="0" y="1841"/>
                        </a:lnTo>
                        <a:close/>
                      </a:path>
                    </a:pathLst>
                  </a:custGeom>
                  <a:grpFill/>
                  <a:ln w="0"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B1C37457-796F-BFBC-3F7F-5F049296A40B}"/>
                      </a:ext>
                    </a:extLst>
                  </p:cNvPr>
                  <p:cNvSpPr/>
                  <p:nvPr/>
                </p:nvSpPr>
                <p:spPr>
                  <a:xfrm>
                    <a:off x="5286654" y="5362125"/>
                    <a:ext cx="186014" cy="122457"/>
                  </a:xfrm>
                  <a:custGeom>
                    <a:avLst/>
                    <a:gdLst>
                      <a:gd name="connsiteX0" fmla="*/ 0 w 186014"/>
                      <a:gd name="connsiteY0" fmla="*/ 22304 h 122457"/>
                      <a:gd name="connsiteX1" fmla="*/ 173888 w 186014"/>
                      <a:gd name="connsiteY1" fmla="*/ 122458 h 122457"/>
                      <a:gd name="connsiteX2" fmla="*/ 186015 w 186014"/>
                      <a:gd name="connsiteY2" fmla="*/ 98854 h 122457"/>
                      <a:gd name="connsiteX3" fmla="*/ 14400 w 186014"/>
                      <a:gd name="connsiteY3" fmla="*/ 0 h 122457"/>
                      <a:gd name="connsiteX4" fmla="*/ 0 w 186014"/>
                      <a:gd name="connsiteY4" fmla="*/ 22304 h 12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14" h="122457">
                        <a:moveTo>
                          <a:pt x="0" y="22304"/>
                        </a:moveTo>
                        <a:cubicBezTo>
                          <a:pt x="56086" y="58468"/>
                          <a:pt x="114554" y="92141"/>
                          <a:pt x="173888" y="122458"/>
                        </a:cubicBezTo>
                        <a:lnTo>
                          <a:pt x="186015" y="98854"/>
                        </a:lnTo>
                        <a:cubicBezTo>
                          <a:pt x="127439" y="68970"/>
                          <a:pt x="69728" y="35730"/>
                          <a:pt x="14400" y="0"/>
                        </a:cubicBezTo>
                        <a:lnTo>
                          <a:pt x="0" y="22304"/>
                        </a:lnTo>
                        <a:close/>
                      </a:path>
                    </a:pathLst>
                  </a:custGeom>
                  <a:grpFill/>
                  <a:ln w="0"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F2FF347F-A1E2-8D37-5CD3-473833B77D48}"/>
                      </a:ext>
                    </a:extLst>
                  </p:cNvPr>
                  <p:cNvSpPr/>
                  <p:nvPr/>
                </p:nvSpPr>
                <p:spPr>
                  <a:xfrm>
                    <a:off x="5163330" y="5277022"/>
                    <a:ext cx="55869" cy="50996"/>
                  </a:xfrm>
                  <a:custGeom>
                    <a:avLst/>
                    <a:gdLst>
                      <a:gd name="connsiteX0" fmla="*/ 0 w 55869"/>
                      <a:gd name="connsiteY0" fmla="*/ 21222 h 50996"/>
                      <a:gd name="connsiteX1" fmla="*/ 40386 w 55869"/>
                      <a:gd name="connsiteY1" fmla="*/ 50997 h 50996"/>
                      <a:gd name="connsiteX2" fmla="*/ 55869 w 55869"/>
                      <a:gd name="connsiteY2" fmla="*/ 29451 h 50996"/>
                      <a:gd name="connsiteX3" fmla="*/ 16025 w 55869"/>
                      <a:gd name="connsiteY3" fmla="*/ 0 h 50996"/>
                      <a:gd name="connsiteX4" fmla="*/ 0 w 55869"/>
                      <a:gd name="connsiteY4" fmla="*/ 21222 h 50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9" h="50996">
                        <a:moveTo>
                          <a:pt x="0" y="21222"/>
                        </a:moveTo>
                        <a:cubicBezTo>
                          <a:pt x="13209" y="31183"/>
                          <a:pt x="26744" y="41252"/>
                          <a:pt x="40386" y="50997"/>
                        </a:cubicBezTo>
                        <a:lnTo>
                          <a:pt x="55869" y="29451"/>
                        </a:lnTo>
                        <a:cubicBezTo>
                          <a:pt x="42443" y="19814"/>
                          <a:pt x="29017" y="9853"/>
                          <a:pt x="16025" y="0"/>
                        </a:cubicBezTo>
                        <a:lnTo>
                          <a:pt x="0" y="21222"/>
                        </a:lnTo>
                        <a:close/>
                      </a:path>
                    </a:pathLst>
                  </a:custGeom>
                  <a:grpFill/>
                  <a:ln w="0"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A3F1DEB4-D76A-B64D-42D4-2F18795B1766}"/>
                      </a:ext>
                    </a:extLst>
                  </p:cNvPr>
                  <p:cNvSpPr/>
                  <p:nvPr/>
                </p:nvSpPr>
                <p:spPr>
                  <a:xfrm>
                    <a:off x="6279959" y="5674063"/>
                    <a:ext cx="89109" cy="28476"/>
                  </a:xfrm>
                  <a:custGeom>
                    <a:avLst/>
                    <a:gdLst>
                      <a:gd name="connsiteX0" fmla="*/ 0 w 89109"/>
                      <a:gd name="connsiteY0" fmla="*/ 26527 h 28476"/>
                      <a:gd name="connsiteX1" fmla="*/ 89110 w 89109"/>
                      <a:gd name="connsiteY1" fmla="*/ 28476 h 28476"/>
                      <a:gd name="connsiteX2" fmla="*/ 89110 w 89109"/>
                      <a:gd name="connsiteY2" fmla="*/ 1949 h 28476"/>
                      <a:gd name="connsiteX3" fmla="*/ 1191 w 89109"/>
                      <a:gd name="connsiteY3" fmla="*/ 0 h 28476"/>
                      <a:gd name="connsiteX4" fmla="*/ 0 w 89109"/>
                      <a:gd name="connsiteY4" fmla="*/ 26527 h 2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09" h="28476">
                        <a:moveTo>
                          <a:pt x="0" y="26527"/>
                        </a:moveTo>
                        <a:cubicBezTo>
                          <a:pt x="29559" y="27826"/>
                          <a:pt x="59551" y="28476"/>
                          <a:pt x="89110" y="28476"/>
                        </a:cubicBezTo>
                        <a:lnTo>
                          <a:pt x="89110" y="1949"/>
                        </a:lnTo>
                        <a:cubicBezTo>
                          <a:pt x="59984" y="1949"/>
                          <a:pt x="30425" y="1299"/>
                          <a:pt x="1191" y="0"/>
                        </a:cubicBezTo>
                        <a:lnTo>
                          <a:pt x="0" y="26527"/>
                        </a:lnTo>
                        <a:close/>
                      </a:path>
                    </a:pathLst>
                  </a:custGeom>
                  <a:grpFill/>
                  <a:ln w="0"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C61C72AB-C626-E4D7-D4CD-D3B11558639B}"/>
                      </a:ext>
                    </a:extLst>
                  </p:cNvPr>
                  <p:cNvSpPr/>
                  <p:nvPr/>
                </p:nvSpPr>
                <p:spPr>
                  <a:xfrm>
                    <a:off x="6917910" y="5528543"/>
                    <a:ext cx="210917" cy="95606"/>
                  </a:xfrm>
                  <a:custGeom>
                    <a:avLst/>
                    <a:gdLst>
                      <a:gd name="connsiteX0" fmla="*/ 0 w 210917"/>
                      <a:gd name="connsiteY0" fmla="*/ 70053 h 95606"/>
                      <a:gd name="connsiteX1" fmla="*/ 7363 w 210917"/>
                      <a:gd name="connsiteY1" fmla="*/ 95606 h 95606"/>
                      <a:gd name="connsiteX2" fmla="*/ 210918 w 210917"/>
                      <a:gd name="connsiteY2" fmla="*/ 24578 h 95606"/>
                      <a:gd name="connsiteX3" fmla="*/ 200848 w 210917"/>
                      <a:gd name="connsiteY3" fmla="*/ 0 h 95606"/>
                      <a:gd name="connsiteX4" fmla="*/ 0 w 210917"/>
                      <a:gd name="connsiteY4" fmla="*/ 70053 h 95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17" h="95606">
                        <a:moveTo>
                          <a:pt x="0" y="70053"/>
                        </a:moveTo>
                        <a:lnTo>
                          <a:pt x="7363" y="95606"/>
                        </a:lnTo>
                        <a:cubicBezTo>
                          <a:pt x="76117" y="75684"/>
                          <a:pt x="144654" y="51863"/>
                          <a:pt x="210918" y="24578"/>
                        </a:cubicBezTo>
                        <a:lnTo>
                          <a:pt x="200848" y="0"/>
                        </a:lnTo>
                        <a:cubicBezTo>
                          <a:pt x="135451" y="26852"/>
                          <a:pt x="67888" y="50456"/>
                          <a:pt x="0" y="70053"/>
                        </a:cubicBezTo>
                        <a:close/>
                      </a:path>
                    </a:pathLst>
                  </a:custGeom>
                  <a:grpFill/>
                  <a:ln w="0"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94C96D08-E994-E799-0DDC-A949F4C35BE1}"/>
                      </a:ext>
                    </a:extLst>
                  </p:cNvPr>
                  <p:cNvSpPr/>
                  <p:nvPr/>
                </p:nvSpPr>
                <p:spPr>
                  <a:xfrm>
                    <a:off x="7763854" y="4939965"/>
                    <a:ext cx="162844" cy="177028"/>
                  </a:xfrm>
                  <a:custGeom>
                    <a:avLst/>
                    <a:gdLst>
                      <a:gd name="connsiteX0" fmla="*/ 0 w 162844"/>
                      <a:gd name="connsiteY0" fmla="*/ 158297 h 177028"/>
                      <a:gd name="connsiteX1" fmla="*/ 18732 w 162844"/>
                      <a:gd name="connsiteY1" fmla="*/ 177028 h 177028"/>
                      <a:gd name="connsiteX2" fmla="*/ 162844 w 162844"/>
                      <a:gd name="connsiteY2" fmla="*/ 16674 h 177028"/>
                      <a:gd name="connsiteX3" fmla="*/ 142164 w 162844"/>
                      <a:gd name="connsiteY3" fmla="*/ 0 h 177028"/>
                      <a:gd name="connsiteX4" fmla="*/ 0 w 162844"/>
                      <a:gd name="connsiteY4" fmla="*/ 158297 h 17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44" h="177028">
                        <a:moveTo>
                          <a:pt x="0" y="158297"/>
                        </a:moveTo>
                        <a:lnTo>
                          <a:pt x="18732" y="177028"/>
                        </a:lnTo>
                        <a:cubicBezTo>
                          <a:pt x="69404" y="126356"/>
                          <a:pt x="117911" y="72435"/>
                          <a:pt x="162844" y="16674"/>
                        </a:cubicBezTo>
                        <a:lnTo>
                          <a:pt x="142164" y="0"/>
                        </a:lnTo>
                        <a:cubicBezTo>
                          <a:pt x="97880" y="55003"/>
                          <a:pt x="50023" y="108274"/>
                          <a:pt x="0" y="158297"/>
                        </a:cubicBezTo>
                        <a:close/>
                      </a:path>
                    </a:pathLst>
                  </a:custGeom>
                  <a:grpFill/>
                  <a:ln w="0"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ED8A0B18-C072-F685-50C2-CC97B57FD397}"/>
                      </a:ext>
                    </a:extLst>
                  </p:cNvPr>
                  <p:cNvSpPr/>
                  <p:nvPr/>
                </p:nvSpPr>
                <p:spPr>
                  <a:xfrm>
                    <a:off x="7803807" y="2330996"/>
                    <a:ext cx="191103" cy="223910"/>
                  </a:xfrm>
                  <a:custGeom>
                    <a:avLst/>
                    <a:gdLst>
                      <a:gd name="connsiteX0" fmla="*/ 0 w 191103"/>
                      <a:gd name="connsiteY0" fmla="*/ 18190 h 223910"/>
                      <a:gd name="connsiteX1" fmla="*/ 169557 w 191103"/>
                      <a:gd name="connsiteY1" fmla="*/ 223911 h 223910"/>
                      <a:gd name="connsiteX2" fmla="*/ 191104 w 191103"/>
                      <a:gd name="connsiteY2" fmla="*/ 208427 h 223910"/>
                      <a:gd name="connsiteX3" fmla="*/ 19273 w 191103"/>
                      <a:gd name="connsiteY3" fmla="*/ 0 h 223910"/>
                      <a:gd name="connsiteX4" fmla="*/ 0 w 191103"/>
                      <a:gd name="connsiteY4" fmla="*/ 18190 h 223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03" h="223910">
                        <a:moveTo>
                          <a:pt x="0" y="18190"/>
                        </a:moveTo>
                        <a:cubicBezTo>
                          <a:pt x="60850" y="82721"/>
                          <a:pt x="117910" y="151908"/>
                          <a:pt x="169557" y="223911"/>
                        </a:cubicBezTo>
                        <a:lnTo>
                          <a:pt x="191104" y="208427"/>
                        </a:lnTo>
                        <a:cubicBezTo>
                          <a:pt x="138807" y="135451"/>
                          <a:pt x="80989" y="65289"/>
                          <a:pt x="19273" y="0"/>
                        </a:cubicBezTo>
                        <a:lnTo>
                          <a:pt x="0" y="18190"/>
                        </a:lnTo>
                        <a:close/>
                      </a:path>
                    </a:pathLst>
                  </a:custGeom>
                  <a:grpFill/>
                  <a:ln w="0"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47B842A6-5B97-2080-CF4F-6BF5D1A117B8}"/>
                      </a:ext>
                    </a:extLst>
                  </p:cNvPr>
                  <p:cNvSpPr/>
                  <p:nvPr/>
                </p:nvSpPr>
                <p:spPr>
                  <a:xfrm>
                    <a:off x="4702191" y="2036382"/>
                    <a:ext cx="577208" cy="577100"/>
                  </a:xfrm>
                  <a:custGeom>
                    <a:avLst/>
                    <a:gdLst>
                      <a:gd name="connsiteX0" fmla="*/ 0 w 577208"/>
                      <a:gd name="connsiteY0" fmla="*/ 562375 h 577100"/>
                      <a:gd name="connsiteX1" fmla="*/ 22088 w 577208"/>
                      <a:gd name="connsiteY1" fmla="*/ 577100 h 577100"/>
                      <a:gd name="connsiteX2" fmla="*/ 577209 w 577208"/>
                      <a:gd name="connsiteY2" fmla="*/ 22088 h 577100"/>
                      <a:gd name="connsiteX3" fmla="*/ 562483 w 577208"/>
                      <a:gd name="connsiteY3" fmla="*/ 0 h 577100"/>
                      <a:gd name="connsiteX4" fmla="*/ 0 w 577208"/>
                      <a:gd name="connsiteY4" fmla="*/ 562483 h 57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08" h="577100">
                        <a:moveTo>
                          <a:pt x="0" y="562375"/>
                        </a:moveTo>
                        <a:lnTo>
                          <a:pt x="22088" y="577100"/>
                        </a:lnTo>
                        <a:cubicBezTo>
                          <a:pt x="169016" y="355788"/>
                          <a:pt x="355788" y="169016"/>
                          <a:pt x="577209" y="22088"/>
                        </a:cubicBezTo>
                        <a:lnTo>
                          <a:pt x="562483" y="0"/>
                        </a:lnTo>
                        <a:cubicBezTo>
                          <a:pt x="338140" y="148877"/>
                          <a:pt x="148877" y="338140"/>
                          <a:pt x="0" y="562483"/>
                        </a:cubicBezTo>
                        <a:close/>
                      </a:path>
                    </a:pathLst>
                  </a:custGeom>
                  <a:grpFill/>
                  <a:ln w="0" cap="flat">
                    <a:noFill/>
                    <a:prstDash val="solid"/>
                    <a:miter/>
                  </a:ln>
                </p:spPr>
                <p:txBody>
                  <a:bodyPr rtlCol="0" anchor="ctr"/>
                  <a:lstStyle/>
                  <a:p>
                    <a:endParaRPr lang="en-US"/>
                  </a:p>
                </p:txBody>
              </p:sp>
            </p:grpSp>
          </p:grpSp>
          <p:grpSp>
            <p:nvGrpSpPr>
              <p:cNvPr id="185" name="Graphic 33">
                <a:extLst>
                  <a:ext uri="{FF2B5EF4-FFF2-40B4-BE49-F238E27FC236}">
                    <a16:creationId xmlns:a16="http://schemas.microsoft.com/office/drawing/2014/main" id="{AE45CBCB-B31C-9768-90CA-E66D2C542023}"/>
                  </a:ext>
                </a:extLst>
              </p:cNvPr>
              <p:cNvGrpSpPr/>
              <p:nvPr/>
            </p:nvGrpSpPr>
            <p:grpSpPr>
              <a:xfrm>
                <a:off x="4509572" y="1842680"/>
                <a:ext cx="3719752" cy="3719752"/>
                <a:chOff x="4509572" y="1842680"/>
                <a:chExt cx="3719752" cy="3719752"/>
              </a:xfrm>
              <a:grpFill/>
            </p:grpSpPr>
            <p:grpSp>
              <p:nvGrpSpPr>
                <p:cNvPr id="186" name="Graphic 33">
                  <a:extLst>
                    <a:ext uri="{FF2B5EF4-FFF2-40B4-BE49-F238E27FC236}">
                      <a16:creationId xmlns:a16="http://schemas.microsoft.com/office/drawing/2014/main" id="{66B81313-760D-8FF5-C1D3-6BACAEBD8100}"/>
                    </a:ext>
                  </a:extLst>
                </p:cNvPr>
                <p:cNvGrpSpPr/>
                <p:nvPr/>
              </p:nvGrpSpPr>
              <p:grpSpPr>
                <a:xfrm>
                  <a:off x="4509572" y="1842680"/>
                  <a:ext cx="3719752" cy="3719752"/>
                  <a:chOff x="4509572" y="1842680"/>
                  <a:chExt cx="3719752" cy="3719752"/>
                </a:xfrm>
                <a:grpFill/>
              </p:grpSpPr>
              <p:sp>
                <p:nvSpPr>
                  <p:cNvPr id="300" name="Freeform: Shape 299">
                    <a:extLst>
                      <a:ext uri="{FF2B5EF4-FFF2-40B4-BE49-F238E27FC236}">
                        <a16:creationId xmlns:a16="http://schemas.microsoft.com/office/drawing/2014/main" id="{60DAE001-7F06-EBE4-B36C-109F468E9858}"/>
                      </a:ext>
                    </a:extLst>
                  </p:cNvPr>
                  <p:cNvSpPr/>
                  <p:nvPr/>
                </p:nvSpPr>
                <p:spPr>
                  <a:xfrm>
                    <a:off x="6356726" y="1842680"/>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01" name="Freeform: Shape 300">
                    <a:extLst>
                      <a:ext uri="{FF2B5EF4-FFF2-40B4-BE49-F238E27FC236}">
                        <a16:creationId xmlns:a16="http://schemas.microsoft.com/office/drawing/2014/main" id="{D158C213-A3A4-E500-62F5-538E59BC1EDC}"/>
                      </a:ext>
                    </a:extLst>
                  </p:cNvPr>
                  <p:cNvSpPr/>
                  <p:nvPr/>
                </p:nvSpPr>
                <p:spPr>
                  <a:xfrm rot="-1349998">
                    <a:off x="5654663" y="1982249"/>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0846E45F-8CB4-3C8C-4A68-E509423082B1}"/>
                      </a:ext>
                    </a:extLst>
                  </p:cNvPr>
                  <p:cNvSpPr/>
                  <p:nvPr/>
                </p:nvSpPr>
                <p:spPr>
                  <a:xfrm rot="-2700000">
                    <a:off x="5059473" y="2379935"/>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03" name="Freeform: Shape 302">
                    <a:extLst>
                      <a:ext uri="{FF2B5EF4-FFF2-40B4-BE49-F238E27FC236}">
                        <a16:creationId xmlns:a16="http://schemas.microsoft.com/office/drawing/2014/main" id="{7B750541-00F5-E360-D9D2-7AB40EB3DE2E}"/>
                      </a:ext>
                    </a:extLst>
                  </p:cNvPr>
                  <p:cNvSpPr/>
                  <p:nvPr/>
                </p:nvSpPr>
                <p:spPr>
                  <a:xfrm rot="-4050002">
                    <a:off x="4661790" y="2975114"/>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6056868A-284D-C346-1B85-4696D8C9EF73}"/>
                      </a:ext>
                    </a:extLst>
                  </p:cNvPr>
                  <p:cNvSpPr/>
                  <p:nvPr/>
                </p:nvSpPr>
                <p:spPr>
                  <a:xfrm>
                    <a:off x="4509572" y="3689726"/>
                    <a:ext cx="50672" cy="25552"/>
                  </a:xfrm>
                  <a:custGeom>
                    <a:avLst/>
                    <a:gdLst>
                      <a:gd name="connsiteX0" fmla="*/ 0 w 50672"/>
                      <a:gd name="connsiteY0" fmla="*/ 0 h 25552"/>
                      <a:gd name="connsiteX1" fmla="*/ 50672 w 50672"/>
                      <a:gd name="connsiteY1" fmla="*/ 0 h 25552"/>
                      <a:gd name="connsiteX2" fmla="*/ 50672 w 50672"/>
                      <a:gd name="connsiteY2" fmla="*/ 25553 h 25552"/>
                      <a:gd name="connsiteX3" fmla="*/ 0 w 50672"/>
                      <a:gd name="connsiteY3" fmla="*/ 25553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3"/>
                        </a:lnTo>
                        <a:lnTo>
                          <a:pt x="0" y="25553"/>
                        </a:lnTo>
                        <a:close/>
                      </a:path>
                    </a:pathLst>
                  </a:custGeom>
                  <a:grpFill/>
                  <a:ln w="0" cap="flat">
                    <a:noFill/>
                    <a:prstDash val="solid"/>
                    <a:miter/>
                  </a:ln>
                </p:spPr>
                <p:txBody>
                  <a:bodyPr rtlCol="0" anchor="ctr"/>
                  <a:lstStyle/>
                  <a:p>
                    <a:endParaRPr lang="en-US"/>
                  </a:p>
                </p:txBody>
              </p:sp>
              <p:sp>
                <p:nvSpPr>
                  <p:cNvPr id="305" name="Freeform: Shape 304">
                    <a:extLst>
                      <a:ext uri="{FF2B5EF4-FFF2-40B4-BE49-F238E27FC236}">
                        <a16:creationId xmlns:a16="http://schemas.microsoft.com/office/drawing/2014/main" id="{0A489567-0192-EC3A-8B97-97823EC42A1E}"/>
                      </a:ext>
                    </a:extLst>
                  </p:cNvPr>
                  <p:cNvSpPr/>
                  <p:nvPr/>
                </p:nvSpPr>
                <p:spPr>
                  <a:xfrm rot="-1349998">
                    <a:off x="4649344" y="4391780"/>
                    <a:ext cx="50672" cy="25660"/>
                  </a:xfrm>
                  <a:custGeom>
                    <a:avLst/>
                    <a:gdLst>
                      <a:gd name="connsiteX0" fmla="*/ 0 w 50672"/>
                      <a:gd name="connsiteY0" fmla="*/ 0 h 25660"/>
                      <a:gd name="connsiteX1" fmla="*/ 50672 w 50672"/>
                      <a:gd name="connsiteY1" fmla="*/ 0 h 25660"/>
                      <a:gd name="connsiteX2" fmla="*/ 50672 w 50672"/>
                      <a:gd name="connsiteY2" fmla="*/ 25661 h 25660"/>
                      <a:gd name="connsiteX3" fmla="*/ 0 w 50672"/>
                      <a:gd name="connsiteY3" fmla="*/ 25661 h 25660"/>
                    </a:gdLst>
                    <a:ahLst/>
                    <a:cxnLst>
                      <a:cxn ang="0">
                        <a:pos x="connsiteX0" y="connsiteY0"/>
                      </a:cxn>
                      <a:cxn ang="0">
                        <a:pos x="connsiteX1" y="connsiteY1"/>
                      </a:cxn>
                      <a:cxn ang="0">
                        <a:pos x="connsiteX2" y="connsiteY2"/>
                      </a:cxn>
                      <a:cxn ang="0">
                        <a:pos x="connsiteX3" y="connsiteY3"/>
                      </a:cxn>
                    </a:cxnLst>
                    <a:rect l="l" t="t" r="r" b="b"/>
                    <a:pathLst>
                      <a:path w="50672" h="25660">
                        <a:moveTo>
                          <a:pt x="0" y="0"/>
                        </a:moveTo>
                        <a:lnTo>
                          <a:pt x="50672" y="0"/>
                        </a:lnTo>
                        <a:lnTo>
                          <a:pt x="50672" y="25661"/>
                        </a:lnTo>
                        <a:lnTo>
                          <a:pt x="0" y="25661"/>
                        </a:lnTo>
                        <a:close/>
                      </a:path>
                    </a:pathLst>
                  </a:custGeom>
                  <a:grpFill/>
                  <a:ln w="0"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4EE85E75-AB7B-99A7-30CB-9709D011871F}"/>
                      </a:ext>
                    </a:extLst>
                  </p:cNvPr>
                  <p:cNvSpPr/>
                  <p:nvPr/>
                </p:nvSpPr>
                <p:spPr>
                  <a:xfrm rot="-2700000">
                    <a:off x="5046881" y="4987032"/>
                    <a:ext cx="50672" cy="25552"/>
                  </a:xfrm>
                  <a:custGeom>
                    <a:avLst/>
                    <a:gdLst>
                      <a:gd name="connsiteX0" fmla="*/ 0 w 50672"/>
                      <a:gd name="connsiteY0" fmla="*/ 0 h 25552"/>
                      <a:gd name="connsiteX1" fmla="*/ 50672 w 50672"/>
                      <a:gd name="connsiteY1" fmla="*/ 0 h 25552"/>
                      <a:gd name="connsiteX2" fmla="*/ 50672 w 50672"/>
                      <a:gd name="connsiteY2" fmla="*/ 25553 h 25552"/>
                      <a:gd name="connsiteX3" fmla="*/ 0 w 50672"/>
                      <a:gd name="connsiteY3" fmla="*/ 25553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3"/>
                        </a:lnTo>
                        <a:lnTo>
                          <a:pt x="0" y="25553"/>
                        </a:lnTo>
                        <a:close/>
                      </a:path>
                    </a:pathLst>
                  </a:custGeom>
                  <a:grpFill/>
                  <a:ln w="0" cap="flat">
                    <a:noFill/>
                    <a:prstDash val="solid"/>
                    <a:miter/>
                  </a:ln>
                </p:spPr>
                <p:txBody>
                  <a:bodyPr rtlCol="0" anchor="ctr"/>
                  <a:lstStyle/>
                  <a:p>
                    <a:endParaRPr lang="en-US"/>
                  </a:p>
                </p:txBody>
              </p:sp>
              <p:sp>
                <p:nvSpPr>
                  <p:cNvPr id="307" name="Freeform: Shape 306">
                    <a:extLst>
                      <a:ext uri="{FF2B5EF4-FFF2-40B4-BE49-F238E27FC236}">
                        <a16:creationId xmlns:a16="http://schemas.microsoft.com/office/drawing/2014/main" id="{DE4927AC-D87C-B462-C5D8-92F1E1E103CF}"/>
                      </a:ext>
                    </a:extLst>
                  </p:cNvPr>
                  <p:cNvSpPr/>
                  <p:nvPr/>
                </p:nvSpPr>
                <p:spPr>
                  <a:xfrm rot="-4049399">
                    <a:off x="5642098" y="5384834"/>
                    <a:ext cx="50672" cy="25552"/>
                  </a:xfrm>
                  <a:custGeom>
                    <a:avLst/>
                    <a:gdLst>
                      <a:gd name="connsiteX0" fmla="*/ 0 w 50672"/>
                      <a:gd name="connsiteY0" fmla="*/ 0 h 25552"/>
                      <a:gd name="connsiteX1" fmla="*/ 50672 w 50672"/>
                      <a:gd name="connsiteY1" fmla="*/ 0 h 25552"/>
                      <a:gd name="connsiteX2" fmla="*/ 50672 w 50672"/>
                      <a:gd name="connsiteY2" fmla="*/ 25552 h 25552"/>
                      <a:gd name="connsiteX3" fmla="*/ 0 w 50672"/>
                      <a:gd name="connsiteY3" fmla="*/ 25552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2"/>
                        </a:lnTo>
                        <a:lnTo>
                          <a:pt x="0" y="25552"/>
                        </a:lnTo>
                        <a:close/>
                      </a:path>
                    </a:pathLst>
                  </a:custGeom>
                  <a:grpFill/>
                  <a:ln w="0" cap="flat">
                    <a:noFill/>
                    <a:prstDash val="solid"/>
                    <a:miter/>
                  </a:ln>
                </p:spPr>
                <p:txBody>
                  <a:bodyPr rtlCol="0" anchor="ctr"/>
                  <a:lstStyle/>
                  <a:p>
                    <a:endParaRPr lang="en-US"/>
                  </a:p>
                </p:txBody>
              </p:sp>
              <p:sp>
                <p:nvSpPr>
                  <p:cNvPr id="308" name="Freeform: Shape 307">
                    <a:extLst>
                      <a:ext uri="{FF2B5EF4-FFF2-40B4-BE49-F238E27FC236}">
                        <a16:creationId xmlns:a16="http://schemas.microsoft.com/office/drawing/2014/main" id="{D57FB13F-5DE4-9258-CBEE-3E575BA79FD3}"/>
                      </a:ext>
                    </a:extLst>
                  </p:cNvPr>
                  <p:cNvSpPr/>
                  <p:nvPr/>
                </p:nvSpPr>
                <p:spPr>
                  <a:xfrm>
                    <a:off x="6356726" y="5511760"/>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09" name="Freeform: Shape 308">
                    <a:extLst>
                      <a:ext uri="{FF2B5EF4-FFF2-40B4-BE49-F238E27FC236}">
                        <a16:creationId xmlns:a16="http://schemas.microsoft.com/office/drawing/2014/main" id="{22060F97-76C4-CBF3-81E8-A74C24E657E0}"/>
                      </a:ext>
                    </a:extLst>
                  </p:cNvPr>
                  <p:cNvSpPr/>
                  <p:nvPr/>
                </p:nvSpPr>
                <p:spPr>
                  <a:xfrm rot="-1349998">
                    <a:off x="7058746" y="5372092"/>
                    <a:ext cx="25660" cy="50672"/>
                  </a:xfrm>
                  <a:custGeom>
                    <a:avLst/>
                    <a:gdLst>
                      <a:gd name="connsiteX0" fmla="*/ 0 w 25660"/>
                      <a:gd name="connsiteY0" fmla="*/ 0 h 50672"/>
                      <a:gd name="connsiteX1" fmla="*/ 25661 w 25660"/>
                      <a:gd name="connsiteY1" fmla="*/ 0 h 50672"/>
                      <a:gd name="connsiteX2" fmla="*/ 25661 w 25660"/>
                      <a:gd name="connsiteY2" fmla="*/ 50672 h 50672"/>
                      <a:gd name="connsiteX3" fmla="*/ 0 w 25660"/>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660" h="50672">
                        <a:moveTo>
                          <a:pt x="0" y="0"/>
                        </a:moveTo>
                        <a:lnTo>
                          <a:pt x="25661" y="0"/>
                        </a:lnTo>
                        <a:lnTo>
                          <a:pt x="25661" y="50672"/>
                        </a:lnTo>
                        <a:lnTo>
                          <a:pt x="0" y="50672"/>
                        </a:lnTo>
                        <a:close/>
                      </a:path>
                    </a:pathLst>
                  </a:custGeom>
                  <a:grpFill/>
                  <a:ln w="0" cap="flat">
                    <a:noFill/>
                    <a:prstDash val="solid"/>
                    <a:miter/>
                  </a:ln>
                </p:spPr>
                <p:txBody>
                  <a:bodyPr rtlCol="0" anchor="ctr"/>
                  <a:lstStyle/>
                  <a:p>
                    <a:endParaRPr lang="en-US"/>
                  </a:p>
                </p:txBody>
              </p:sp>
              <p:sp>
                <p:nvSpPr>
                  <p:cNvPr id="310" name="Freeform: Shape 309">
                    <a:extLst>
                      <a:ext uri="{FF2B5EF4-FFF2-40B4-BE49-F238E27FC236}">
                        <a16:creationId xmlns:a16="http://schemas.microsoft.com/office/drawing/2014/main" id="{D42834A6-BD75-D795-6422-F744C66AD35C}"/>
                      </a:ext>
                    </a:extLst>
                  </p:cNvPr>
                  <p:cNvSpPr/>
                  <p:nvPr/>
                </p:nvSpPr>
                <p:spPr>
                  <a:xfrm rot="-2700000">
                    <a:off x="7653977" y="4974505"/>
                    <a:ext cx="25552" cy="50672"/>
                  </a:xfrm>
                  <a:custGeom>
                    <a:avLst/>
                    <a:gdLst>
                      <a:gd name="connsiteX0" fmla="*/ 0 w 25552"/>
                      <a:gd name="connsiteY0" fmla="*/ 0 h 50672"/>
                      <a:gd name="connsiteX1" fmla="*/ 25553 w 25552"/>
                      <a:gd name="connsiteY1" fmla="*/ 0 h 50672"/>
                      <a:gd name="connsiteX2" fmla="*/ 25553 w 25552"/>
                      <a:gd name="connsiteY2" fmla="*/ 50672 h 50672"/>
                      <a:gd name="connsiteX3" fmla="*/ 0 w 25552"/>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552" h="50672">
                        <a:moveTo>
                          <a:pt x="0" y="0"/>
                        </a:moveTo>
                        <a:lnTo>
                          <a:pt x="25553" y="0"/>
                        </a:lnTo>
                        <a:lnTo>
                          <a:pt x="25553" y="50672"/>
                        </a:lnTo>
                        <a:lnTo>
                          <a:pt x="0" y="50672"/>
                        </a:lnTo>
                        <a:close/>
                      </a:path>
                    </a:pathLst>
                  </a:custGeom>
                  <a:grpFill/>
                  <a:ln w="0" cap="flat">
                    <a:noFill/>
                    <a:prstDash val="solid"/>
                    <a:miter/>
                  </a:ln>
                </p:spPr>
                <p:txBody>
                  <a:bodyPr rtlCol="0" anchor="ctr"/>
                  <a:lstStyle/>
                  <a:p>
                    <a:endParaRPr lang="en-US"/>
                  </a:p>
                </p:txBody>
              </p:sp>
              <p:sp>
                <p:nvSpPr>
                  <p:cNvPr id="311" name="Freeform: Shape 310">
                    <a:extLst>
                      <a:ext uri="{FF2B5EF4-FFF2-40B4-BE49-F238E27FC236}">
                        <a16:creationId xmlns:a16="http://schemas.microsoft.com/office/drawing/2014/main" id="{20D0FE6D-2196-D0AB-7AB5-2069A500A7D4}"/>
                      </a:ext>
                    </a:extLst>
                  </p:cNvPr>
                  <p:cNvSpPr/>
                  <p:nvPr/>
                </p:nvSpPr>
                <p:spPr>
                  <a:xfrm rot="-4050002">
                    <a:off x="8051548" y="4379239"/>
                    <a:ext cx="25660" cy="50672"/>
                  </a:xfrm>
                  <a:custGeom>
                    <a:avLst/>
                    <a:gdLst>
                      <a:gd name="connsiteX0" fmla="*/ 0 w 25660"/>
                      <a:gd name="connsiteY0" fmla="*/ 0 h 50672"/>
                      <a:gd name="connsiteX1" fmla="*/ 25661 w 25660"/>
                      <a:gd name="connsiteY1" fmla="*/ 0 h 50672"/>
                      <a:gd name="connsiteX2" fmla="*/ 25661 w 25660"/>
                      <a:gd name="connsiteY2" fmla="*/ 50672 h 50672"/>
                      <a:gd name="connsiteX3" fmla="*/ 0 w 25660"/>
                      <a:gd name="connsiteY3" fmla="*/ 50672 h 50672"/>
                    </a:gdLst>
                    <a:ahLst/>
                    <a:cxnLst>
                      <a:cxn ang="0">
                        <a:pos x="connsiteX0" y="connsiteY0"/>
                      </a:cxn>
                      <a:cxn ang="0">
                        <a:pos x="connsiteX1" y="connsiteY1"/>
                      </a:cxn>
                      <a:cxn ang="0">
                        <a:pos x="connsiteX2" y="connsiteY2"/>
                      </a:cxn>
                      <a:cxn ang="0">
                        <a:pos x="connsiteX3" y="connsiteY3"/>
                      </a:cxn>
                    </a:cxnLst>
                    <a:rect l="l" t="t" r="r" b="b"/>
                    <a:pathLst>
                      <a:path w="25660" h="50672">
                        <a:moveTo>
                          <a:pt x="0" y="0"/>
                        </a:moveTo>
                        <a:lnTo>
                          <a:pt x="25661" y="0"/>
                        </a:lnTo>
                        <a:lnTo>
                          <a:pt x="25661" y="50672"/>
                        </a:lnTo>
                        <a:lnTo>
                          <a:pt x="0" y="50672"/>
                        </a:lnTo>
                        <a:close/>
                      </a:path>
                    </a:pathLst>
                  </a:custGeom>
                  <a:grpFill/>
                  <a:ln w="0" cap="flat">
                    <a:noFill/>
                    <a:prstDash val="solid"/>
                    <a:miter/>
                  </a:ln>
                </p:spPr>
                <p:txBody>
                  <a:bodyPr rtlCol="0" anchor="ctr"/>
                  <a:lstStyle/>
                  <a:p>
                    <a:endParaRPr lang="en-US"/>
                  </a:p>
                </p:txBody>
              </p:sp>
              <p:sp>
                <p:nvSpPr>
                  <p:cNvPr id="312" name="Freeform: Shape 311">
                    <a:extLst>
                      <a:ext uri="{FF2B5EF4-FFF2-40B4-BE49-F238E27FC236}">
                        <a16:creationId xmlns:a16="http://schemas.microsoft.com/office/drawing/2014/main" id="{6862D2A0-1B45-13D5-89C3-7D0B48AFA835}"/>
                      </a:ext>
                    </a:extLst>
                  </p:cNvPr>
                  <p:cNvSpPr/>
                  <p:nvPr/>
                </p:nvSpPr>
                <p:spPr>
                  <a:xfrm>
                    <a:off x="8178652" y="3689726"/>
                    <a:ext cx="50672" cy="25552"/>
                  </a:xfrm>
                  <a:custGeom>
                    <a:avLst/>
                    <a:gdLst>
                      <a:gd name="connsiteX0" fmla="*/ 0 w 50672"/>
                      <a:gd name="connsiteY0" fmla="*/ 0 h 25552"/>
                      <a:gd name="connsiteX1" fmla="*/ 50672 w 50672"/>
                      <a:gd name="connsiteY1" fmla="*/ 0 h 25552"/>
                      <a:gd name="connsiteX2" fmla="*/ 50672 w 50672"/>
                      <a:gd name="connsiteY2" fmla="*/ 25553 h 25552"/>
                      <a:gd name="connsiteX3" fmla="*/ 0 w 50672"/>
                      <a:gd name="connsiteY3" fmla="*/ 25553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3"/>
                        </a:lnTo>
                        <a:lnTo>
                          <a:pt x="0" y="25553"/>
                        </a:lnTo>
                        <a:close/>
                      </a:path>
                    </a:pathLst>
                  </a:custGeom>
                  <a:grpFill/>
                  <a:ln w="0"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EFA81ED9-B019-E2D7-88D9-322DA9CCC4BB}"/>
                      </a:ext>
                    </a:extLst>
                  </p:cNvPr>
                  <p:cNvSpPr/>
                  <p:nvPr/>
                </p:nvSpPr>
                <p:spPr>
                  <a:xfrm rot="-1350601">
                    <a:off x="8039067" y="2987490"/>
                    <a:ext cx="50672" cy="25552"/>
                  </a:xfrm>
                  <a:custGeom>
                    <a:avLst/>
                    <a:gdLst>
                      <a:gd name="connsiteX0" fmla="*/ 0 w 50672"/>
                      <a:gd name="connsiteY0" fmla="*/ 0 h 25552"/>
                      <a:gd name="connsiteX1" fmla="*/ 50672 w 50672"/>
                      <a:gd name="connsiteY1" fmla="*/ 0 h 25552"/>
                      <a:gd name="connsiteX2" fmla="*/ 50672 w 50672"/>
                      <a:gd name="connsiteY2" fmla="*/ 25553 h 25552"/>
                      <a:gd name="connsiteX3" fmla="*/ 0 w 50672"/>
                      <a:gd name="connsiteY3" fmla="*/ 25553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3"/>
                        </a:lnTo>
                        <a:lnTo>
                          <a:pt x="0" y="25553"/>
                        </a:lnTo>
                        <a:close/>
                      </a:path>
                    </a:pathLst>
                  </a:custGeom>
                  <a:grpFill/>
                  <a:ln w="0" cap="flat">
                    <a:noFill/>
                    <a:prstDash val="solid"/>
                    <a:miter/>
                  </a:ln>
                </p:spPr>
                <p:txBody>
                  <a:bodyPr rtlCol="0" anchor="ctr"/>
                  <a:lstStyle/>
                  <a:p>
                    <a:endParaRPr lang="en-US"/>
                  </a:p>
                </p:txBody>
              </p:sp>
              <p:sp>
                <p:nvSpPr>
                  <p:cNvPr id="314" name="Freeform: Shape 313">
                    <a:extLst>
                      <a:ext uri="{FF2B5EF4-FFF2-40B4-BE49-F238E27FC236}">
                        <a16:creationId xmlns:a16="http://schemas.microsoft.com/office/drawing/2014/main" id="{E85FF508-32FA-9F9D-63FC-035B73B8F787}"/>
                      </a:ext>
                    </a:extLst>
                  </p:cNvPr>
                  <p:cNvSpPr/>
                  <p:nvPr/>
                </p:nvSpPr>
                <p:spPr>
                  <a:xfrm rot="-2700000">
                    <a:off x="7641342" y="2392528"/>
                    <a:ext cx="50672" cy="25552"/>
                  </a:xfrm>
                  <a:custGeom>
                    <a:avLst/>
                    <a:gdLst>
                      <a:gd name="connsiteX0" fmla="*/ 0 w 50672"/>
                      <a:gd name="connsiteY0" fmla="*/ 0 h 25552"/>
                      <a:gd name="connsiteX1" fmla="*/ 50672 w 50672"/>
                      <a:gd name="connsiteY1" fmla="*/ 0 h 25552"/>
                      <a:gd name="connsiteX2" fmla="*/ 50672 w 50672"/>
                      <a:gd name="connsiteY2" fmla="*/ 25553 h 25552"/>
                      <a:gd name="connsiteX3" fmla="*/ 0 w 50672"/>
                      <a:gd name="connsiteY3" fmla="*/ 25553 h 25552"/>
                    </a:gdLst>
                    <a:ahLst/>
                    <a:cxnLst>
                      <a:cxn ang="0">
                        <a:pos x="connsiteX0" y="connsiteY0"/>
                      </a:cxn>
                      <a:cxn ang="0">
                        <a:pos x="connsiteX1" y="connsiteY1"/>
                      </a:cxn>
                      <a:cxn ang="0">
                        <a:pos x="connsiteX2" y="connsiteY2"/>
                      </a:cxn>
                      <a:cxn ang="0">
                        <a:pos x="connsiteX3" y="connsiteY3"/>
                      </a:cxn>
                    </a:cxnLst>
                    <a:rect l="l" t="t" r="r" b="b"/>
                    <a:pathLst>
                      <a:path w="50672" h="25552">
                        <a:moveTo>
                          <a:pt x="0" y="0"/>
                        </a:moveTo>
                        <a:lnTo>
                          <a:pt x="50672" y="0"/>
                        </a:lnTo>
                        <a:lnTo>
                          <a:pt x="50672" y="25553"/>
                        </a:lnTo>
                        <a:lnTo>
                          <a:pt x="0" y="25553"/>
                        </a:lnTo>
                        <a:close/>
                      </a:path>
                    </a:pathLst>
                  </a:custGeom>
                  <a:grpFill/>
                  <a:ln w="0" cap="flat">
                    <a:noFill/>
                    <a:prstDash val="solid"/>
                    <a:miter/>
                  </a:ln>
                </p:spPr>
                <p:txBody>
                  <a:bodyPr rtlCol="0" anchor="ctr"/>
                  <a:lstStyle/>
                  <a:p>
                    <a:endParaRPr lang="en-US"/>
                  </a:p>
                </p:txBody>
              </p:sp>
              <p:sp>
                <p:nvSpPr>
                  <p:cNvPr id="315" name="Freeform: Shape 314">
                    <a:extLst>
                      <a:ext uri="{FF2B5EF4-FFF2-40B4-BE49-F238E27FC236}">
                        <a16:creationId xmlns:a16="http://schemas.microsoft.com/office/drawing/2014/main" id="{1B7F0472-3586-3371-F64C-B0785F1645A0}"/>
                      </a:ext>
                    </a:extLst>
                  </p:cNvPr>
                  <p:cNvSpPr/>
                  <p:nvPr/>
                </p:nvSpPr>
                <p:spPr>
                  <a:xfrm rot="-4050002">
                    <a:off x="7046234" y="1994869"/>
                    <a:ext cx="50672" cy="25660"/>
                  </a:xfrm>
                  <a:custGeom>
                    <a:avLst/>
                    <a:gdLst>
                      <a:gd name="connsiteX0" fmla="*/ 0 w 50672"/>
                      <a:gd name="connsiteY0" fmla="*/ 0 h 25660"/>
                      <a:gd name="connsiteX1" fmla="*/ 50672 w 50672"/>
                      <a:gd name="connsiteY1" fmla="*/ 0 h 25660"/>
                      <a:gd name="connsiteX2" fmla="*/ 50672 w 50672"/>
                      <a:gd name="connsiteY2" fmla="*/ 25661 h 25660"/>
                      <a:gd name="connsiteX3" fmla="*/ 0 w 50672"/>
                      <a:gd name="connsiteY3" fmla="*/ 25661 h 25660"/>
                    </a:gdLst>
                    <a:ahLst/>
                    <a:cxnLst>
                      <a:cxn ang="0">
                        <a:pos x="connsiteX0" y="connsiteY0"/>
                      </a:cxn>
                      <a:cxn ang="0">
                        <a:pos x="connsiteX1" y="connsiteY1"/>
                      </a:cxn>
                      <a:cxn ang="0">
                        <a:pos x="connsiteX2" y="connsiteY2"/>
                      </a:cxn>
                      <a:cxn ang="0">
                        <a:pos x="connsiteX3" y="connsiteY3"/>
                      </a:cxn>
                    </a:cxnLst>
                    <a:rect l="l" t="t" r="r" b="b"/>
                    <a:pathLst>
                      <a:path w="50672" h="25660">
                        <a:moveTo>
                          <a:pt x="0" y="0"/>
                        </a:moveTo>
                        <a:lnTo>
                          <a:pt x="50672" y="0"/>
                        </a:lnTo>
                        <a:lnTo>
                          <a:pt x="50672" y="25661"/>
                        </a:lnTo>
                        <a:lnTo>
                          <a:pt x="0" y="25661"/>
                        </a:lnTo>
                        <a:close/>
                      </a:path>
                    </a:pathLst>
                  </a:custGeom>
                  <a:grpFill/>
                  <a:ln w="0" cap="flat">
                    <a:noFill/>
                    <a:prstDash val="solid"/>
                    <a:miter/>
                  </a:ln>
                </p:spPr>
                <p:txBody>
                  <a:bodyPr rtlCol="0" anchor="ctr"/>
                  <a:lstStyle/>
                  <a:p>
                    <a:endParaRPr lang="en-US"/>
                  </a:p>
                </p:txBody>
              </p:sp>
            </p:grpSp>
            <p:grpSp>
              <p:nvGrpSpPr>
                <p:cNvPr id="187" name="Graphic 33">
                  <a:extLst>
                    <a:ext uri="{FF2B5EF4-FFF2-40B4-BE49-F238E27FC236}">
                      <a16:creationId xmlns:a16="http://schemas.microsoft.com/office/drawing/2014/main" id="{95182BB1-6EB6-8D1E-D4F6-2958BAB0A0A4}"/>
                    </a:ext>
                  </a:extLst>
                </p:cNvPr>
                <p:cNvGrpSpPr/>
                <p:nvPr/>
              </p:nvGrpSpPr>
              <p:grpSpPr>
                <a:xfrm>
                  <a:off x="4517820" y="1850886"/>
                  <a:ext cx="3703524" cy="3703538"/>
                  <a:chOff x="4517820" y="1850886"/>
                  <a:chExt cx="3703524" cy="3703538"/>
                </a:xfrm>
                <a:grpFill/>
              </p:grpSpPr>
              <p:sp>
                <p:nvSpPr>
                  <p:cNvPr id="188" name="Freeform: Shape 187">
                    <a:extLst>
                      <a:ext uri="{FF2B5EF4-FFF2-40B4-BE49-F238E27FC236}">
                        <a16:creationId xmlns:a16="http://schemas.microsoft.com/office/drawing/2014/main" id="{357DA501-5BCF-9EF5-0E27-24A8F04F41CF}"/>
                      </a:ext>
                    </a:extLst>
                  </p:cNvPr>
                  <p:cNvSpPr/>
                  <p:nvPr/>
                </p:nvSpPr>
                <p:spPr>
                  <a:xfrm rot="-168600">
                    <a:off x="6269197" y="185138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5848A13E-6C2F-3AA7-1D1C-9DAED1A2DFC1}"/>
                      </a:ext>
                    </a:extLst>
                  </p:cNvPr>
                  <p:cNvSpPr/>
                  <p:nvPr/>
                </p:nvSpPr>
                <p:spPr>
                  <a:xfrm rot="-337800">
                    <a:off x="6179450" y="185792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BC5581B5-AAD6-5CBB-F87C-431B7792BAA0}"/>
                      </a:ext>
                    </a:extLst>
                  </p:cNvPr>
                  <p:cNvSpPr/>
                  <p:nvPr/>
                </p:nvSpPr>
                <p:spPr>
                  <a:xfrm rot="-506401">
                    <a:off x="6090019" y="1868859"/>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ACDD69DB-7E59-97F1-B8E1-D6E11B2E2B5D}"/>
                      </a:ext>
                    </a:extLst>
                  </p:cNvPr>
                  <p:cNvSpPr/>
                  <p:nvPr/>
                </p:nvSpPr>
                <p:spPr>
                  <a:xfrm rot="-674999">
                    <a:off x="6001369" y="1884449"/>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A98582E2-8E5C-856C-2580-204B116DB39A}"/>
                      </a:ext>
                    </a:extLst>
                  </p:cNvPr>
                  <p:cNvSpPr/>
                  <p:nvPr/>
                </p:nvSpPr>
                <p:spPr>
                  <a:xfrm rot="-843600">
                    <a:off x="5913465" y="190438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3" name="Freeform: Shape 192">
                    <a:extLst>
                      <a:ext uri="{FF2B5EF4-FFF2-40B4-BE49-F238E27FC236}">
                        <a16:creationId xmlns:a16="http://schemas.microsoft.com/office/drawing/2014/main" id="{9C31815F-BE72-8844-23EE-D5FCAE5152C2}"/>
                      </a:ext>
                    </a:extLst>
                  </p:cNvPr>
                  <p:cNvSpPr/>
                  <p:nvPr/>
                </p:nvSpPr>
                <p:spPr>
                  <a:xfrm rot="-1012799">
                    <a:off x="5826722" y="1928132"/>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4263923C-35C5-8008-F86C-E50EFBEC499A}"/>
                      </a:ext>
                    </a:extLst>
                  </p:cNvPr>
                  <p:cNvSpPr/>
                  <p:nvPr/>
                </p:nvSpPr>
                <p:spPr>
                  <a:xfrm rot="-1181401">
                    <a:off x="5741211" y="195634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0E47FD6F-B160-6F46-00D0-40493026F8B0}"/>
                      </a:ext>
                    </a:extLst>
                  </p:cNvPr>
                  <p:cNvSpPr/>
                  <p:nvPr/>
                </p:nvSpPr>
                <p:spPr>
                  <a:xfrm rot="-1518601">
                    <a:off x="5574919" y="202541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6" name="Freeform: Shape 195">
                    <a:extLst>
                      <a:ext uri="{FF2B5EF4-FFF2-40B4-BE49-F238E27FC236}">
                        <a16:creationId xmlns:a16="http://schemas.microsoft.com/office/drawing/2014/main" id="{E734976C-3EB7-2718-2235-EA37CA009179}"/>
                      </a:ext>
                    </a:extLst>
                  </p:cNvPr>
                  <p:cNvSpPr/>
                  <p:nvPr/>
                </p:nvSpPr>
                <p:spPr>
                  <a:xfrm rot="-1687201">
                    <a:off x="5494437" y="2065934"/>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7" name="Freeform: Shape 196">
                    <a:extLst>
                      <a:ext uri="{FF2B5EF4-FFF2-40B4-BE49-F238E27FC236}">
                        <a16:creationId xmlns:a16="http://schemas.microsoft.com/office/drawing/2014/main" id="{FCA2CB2C-BE47-8214-F15C-BFBAA395C15D}"/>
                      </a:ext>
                    </a:extLst>
                  </p:cNvPr>
                  <p:cNvSpPr/>
                  <p:nvPr/>
                </p:nvSpPr>
                <p:spPr>
                  <a:xfrm rot="-1856400">
                    <a:off x="5416201" y="211024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6290927B-B3E0-9104-C79A-A41C27144AAC}"/>
                      </a:ext>
                    </a:extLst>
                  </p:cNvPr>
                  <p:cNvSpPr/>
                  <p:nvPr/>
                </p:nvSpPr>
                <p:spPr>
                  <a:xfrm rot="-2024999">
                    <a:off x="5340001" y="215829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5E2164D7-8F0A-D310-F302-8FF54E285517}"/>
                      </a:ext>
                    </a:extLst>
                  </p:cNvPr>
                  <p:cNvSpPr/>
                  <p:nvPr/>
                </p:nvSpPr>
                <p:spPr>
                  <a:xfrm rot="-2193598">
                    <a:off x="5266323" y="2210074"/>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624BB147-91FE-35B7-ED54-6C0E31452950}"/>
                      </a:ext>
                    </a:extLst>
                  </p:cNvPr>
                  <p:cNvSpPr/>
                  <p:nvPr/>
                </p:nvSpPr>
                <p:spPr>
                  <a:xfrm rot="-2362801">
                    <a:off x="5195517" y="2265446"/>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E690F2B3-2984-F5A2-B2C8-B5D1A82ED89E}"/>
                      </a:ext>
                    </a:extLst>
                  </p:cNvPr>
                  <p:cNvSpPr/>
                  <p:nvPr/>
                </p:nvSpPr>
                <p:spPr>
                  <a:xfrm rot="-2531399">
                    <a:off x="5127297" y="2324309"/>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C49BA48C-902C-556A-7C26-EC282199DFEB}"/>
                      </a:ext>
                    </a:extLst>
                  </p:cNvPr>
                  <p:cNvSpPr/>
                  <p:nvPr/>
                </p:nvSpPr>
                <p:spPr>
                  <a:xfrm rot="-2869200">
                    <a:off x="4999970" y="245167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51E58B09-BDE8-441A-04CD-12E409A3FA06}"/>
                      </a:ext>
                    </a:extLst>
                  </p:cNvPr>
                  <p:cNvSpPr/>
                  <p:nvPr/>
                </p:nvSpPr>
                <p:spPr>
                  <a:xfrm rot="-3037199">
                    <a:off x="4941182" y="251997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A8EBF294-1538-08BD-7CC0-BC71A9F48C4E}"/>
                      </a:ext>
                    </a:extLst>
                  </p:cNvPr>
                  <p:cNvSpPr/>
                  <p:nvPr/>
                </p:nvSpPr>
                <p:spPr>
                  <a:xfrm rot="-3206402">
                    <a:off x="4885740" y="259094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39D402B1-C7C6-21E3-9F24-BD327AB90960}"/>
                      </a:ext>
                    </a:extLst>
                  </p:cNvPr>
                  <p:cNvSpPr/>
                  <p:nvPr/>
                </p:nvSpPr>
                <p:spPr>
                  <a:xfrm rot="-3375001">
                    <a:off x="4833868" y="266457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1B61E3C9-1B3B-F147-8B8D-22463BD2D11A}"/>
                      </a:ext>
                    </a:extLst>
                  </p:cNvPr>
                  <p:cNvSpPr/>
                  <p:nvPr/>
                </p:nvSpPr>
                <p:spPr>
                  <a:xfrm rot="-3543600">
                    <a:off x="4785666" y="274066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96E977DF-B3D0-3E10-68BB-8559D438BD21}"/>
                      </a:ext>
                    </a:extLst>
                  </p:cNvPr>
                  <p:cNvSpPr/>
                  <p:nvPr/>
                </p:nvSpPr>
                <p:spPr>
                  <a:xfrm rot="-3712799">
                    <a:off x="4741284" y="281877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2A37D5D8-CA3B-7B51-96D5-5B68B6F78A15}"/>
                      </a:ext>
                    </a:extLst>
                  </p:cNvPr>
                  <p:cNvSpPr/>
                  <p:nvPr/>
                </p:nvSpPr>
                <p:spPr>
                  <a:xfrm rot="-3881399">
                    <a:off x="4700823" y="2899246"/>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9E2CA5D7-04FD-1E98-037D-126E3E41E7FB}"/>
                      </a:ext>
                    </a:extLst>
                  </p:cNvPr>
                  <p:cNvSpPr/>
                  <p:nvPr/>
                </p:nvSpPr>
                <p:spPr>
                  <a:xfrm rot="-4218599">
                    <a:off x="4631944" y="306577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8C4758DE-DCFD-2515-A7B0-32B409AEBE29}"/>
                      </a:ext>
                    </a:extLst>
                  </p:cNvPr>
                  <p:cNvSpPr/>
                  <p:nvPr/>
                </p:nvSpPr>
                <p:spPr>
                  <a:xfrm rot="-4387201">
                    <a:off x="4603736" y="315125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0014AA01-2E4F-97E4-D2FD-15990081201F}"/>
                      </a:ext>
                    </a:extLst>
                  </p:cNvPr>
                  <p:cNvSpPr/>
                  <p:nvPr/>
                </p:nvSpPr>
                <p:spPr>
                  <a:xfrm rot="-4556400">
                    <a:off x="4579743" y="3237832"/>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2" name="Freeform: Shape 211">
                    <a:extLst>
                      <a:ext uri="{FF2B5EF4-FFF2-40B4-BE49-F238E27FC236}">
                        <a16:creationId xmlns:a16="http://schemas.microsoft.com/office/drawing/2014/main" id="{D300D6AF-05AD-B527-7090-1C1F8CE8DE43}"/>
                      </a:ext>
                    </a:extLst>
                  </p:cNvPr>
                  <p:cNvSpPr/>
                  <p:nvPr/>
                </p:nvSpPr>
                <p:spPr>
                  <a:xfrm rot="-4725001">
                    <a:off x="4560004" y="332584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3" name="Freeform: Shape 212">
                    <a:extLst>
                      <a:ext uri="{FF2B5EF4-FFF2-40B4-BE49-F238E27FC236}">
                        <a16:creationId xmlns:a16="http://schemas.microsoft.com/office/drawing/2014/main" id="{31E1AFE2-F584-3701-62A2-FE2A036E2662}"/>
                      </a:ext>
                    </a:extLst>
                  </p:cNvPr>
                  <p:cNvSpPr/>
                  <p:nvPr/>
                </p:nvSpPr>
                <p:spPr>
                  <a:xfrm rot="-4893599">
                    <a:off x="4544517" y="3414733"/>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E18A2808-076A-CEA2-EAFD-E975284EF341}"/>
                      </a:ext>
                    </a:extLst>
                  </p:cNvPr>
                  <p:cNvSpPr/>
                  <p:nvPr/>
                </p:nvSpPr>
                <p:spPr>
                  <a:xfrm rot="-5062200">
                    <a:off x="4533577" y="3504062"/>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E5BDDAC8-DB4D-E941-520A-77B86D4CEF8C}"/>
                      </a:ext>
                    </a:extLst>
                  </p:cNvPr>
                  <p:cNvSpPr/>
                  <p:nvPr/>
                </p:nvSpPr>
                <p:spPr>
                  <a:xfrm rot="-5231400">
                    <a:off x="4526853" y="359364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86598609-1EA6-CDDE-E615-433D08352DE0}"/>
                      </a:ext>
                    </a:extLst>
                  </p:cNvPr>
                  <p:cNvSpPr/>
                  <p:nvPr/>
                </p:nvSpPr>
                <p:spPr>
                  <a:xfrm rot="-168000">
                    <a:off x="4518515" y="378227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C948F7D7-C28C-3AE5-0F24-657BE2F05D7E}"/>
                      </a:ext>
                    </a:extLst>
                  </p:cNvPr>
                  <p:cNvSpPr/>
                  <p:nvPr/>
                </p:nvSpPr>
                <p:spPr>
                  <a:xfrm rot="-336000">
                    <a:off x="4524787" y="387206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18" name="Freeform: Shape 217">
                    <a:extLst>
                      <a:ext uri="{FF2B5EF4-FFF2-40B4-BE49-F238E27FC236}">
                        <a16:creationId xmlns:a16="http://schemas.microsoft.com/office/drawing/2014/main" id="{7E84F860-5AFC-E8B5-9C81-90B10F410A83}"/>
                      </a:ext>
                    </a:extLst>
                  </p:cNvPr>
                  <p:cNvSpPr/>
                  <p:nvPr/>
                </p:nvSpPr>
                <p:spPr>
                  <a:xfrm rot="-505199">
                    <a:off x="4535924" y="396150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436FABC3-D5E4-EFBE-5C6F-0F596C873386}"/>
                      </a:ext>
                    </a:extLst>
                  </p:cNvPr>
                  <p:cNvSpPr/>
                  <p:nvPr/>
                </p:nvSpPr>
                <p:spPr>
                  <a:xfrm rot="-674400">
                    <a:off x="4551426" y="4050144"/>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B844965C-F5EA-4D03-01D7-E873FC140107}"/>
                      </a:ext>
                    </a:extLst>
                  </p:cNvPr>
                  <p:cNvSpPr/>
                  <p:nvPr/>
                </p:nvSpPr>
                <p:spPr>
                  <a:xfrm rot="-843002">
                    <a:off x="4571201" y="413803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FD918CA2-BABF-E0D0-120A-9AA7BF37FC51}"/>
                      </a:ext>
                    </a:extLst>
                  </p:cNvPr>
                  <p:cNvSpPr/>
                  <p:nvPr/>
                </p:nvSpPr>
                <p:spPr>
                  <a:xfrm rot="-1011600">
                    <a:off x="4595059" y="422492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9768DA31-FA00-1FA5-7C42-DD8ACBFCD83B}"/>
                      </a:ext>
                    </a:extLst>
                  </p:cNvPr>
                  <p:cNvSpPr/>
                  <p:nvPr/>
                </p:nvSpPr>
                <p:spPr>
                  <a:xfrm rot="-1181401">
                    <a:off x="4623351" y="4310353"/>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3" name="Freeform: Shape 222">
                    <a:extLst>
                      <a:ext uri="{FF2B5EF4-FFF2-40B4-BE49-F238E27FC236}">
                        <a16:creationId xmlns:a16="http://schemas.microsoft.com/office/drawing/2014/main" id="{67051273-1F6F-9FCF-5935-D4698DDCD39F}"/>
                      </a:ext>
                    </a:extLst>
                  </p:cNvPr>
                  <p:cNvSpPr/>
                  <p:nvPr/>
                </p:nvSpPr>
                <p:spPr>
                  <a:xfrm rot="-1517400">
                    <a:off x="4692373" y="447665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4" name="Freeform: Shape 223">
                    <a:extLst>
                      <a:ext uri="{FF2B5EF4-FFF2-40B4-BE49-F238E27FC236}">
                        <a16:creationId xmlns:a16="http://schemas.microsoft.com/office/drawing/2014/main" id="{D61411E7-E04A-ABF6-5782-42DDFF795B92}"/>
                      </a:ext>
                    </a:extLst>
                  </p:cNvPr>
                  <p:cNvSpPr/>
                  <p:nvPr/>
                </p:nvSpPr>
                <p:spPr>
                  <a:xfrm rot="-1688401">
                    <a:off x="4732758" y="455718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5" name="Freeform: Shape 224">
                    <a:extLst>
                      <a:ext uri="{FF2B5EF4-FFF2-40B4-BE49-F238E27FC236}">
                        <a16:creationId xmlns:a16="http://schemas.microsoft.com/office/drawing/2014/main" id="{1272E82F-3F24-0CAA-47D2-528148B0C108}"/>
                      </a:ext>
                    </a:extLst>
                  </p:cNvPr>
                  <p:cNvSpPr/>
                  <p:nvPr/>
                </p:nvSpPr>
                <p:spPr>
                  <a:xfrm rot="-1857001">
                    <a:off x="4777018" y="4635504"/>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6" name="Freeform: Shape 225">
                    <a:extLst>
                      <a:ext uri="{FF2B5EF4-FFF2-40B4-BE49-F238E27FC236}">
                        <a16:creationId xmlns:a16="http://schemas.microsoft.com/office/drawing/2014/main" id="{B6F972C1-6E6C-30ED-B3B6-E888EBF447C5}"/>
                      </a:ext>
                    </a:extLst>
                  </p:cNvPr>
                  <p:cNvSpPr/>
                  <p:nvPr/>
                </p:nvSpPr>
                <p:spPr>
                  <a:xfrm rot="-2026198">
                    <a:off x="4825354" y="4711473"/>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7" name="Freeform: Shape 226">
                    <a:extLst>
                      <a:ext uri="{FF2B5EF4-FFF2-40B4-BE49-F238E27FC236}">
                        <a16:creationId xmlns:a16="http://schemas.microsoft.com/office/drawing/2014/main" id="{8996837B-8B72-B813-F7C0-AA7132E31E62}"/>
                      </a:ext>
                    </a:extLst>
                  </p:cNvPr>
                  <p:cNvSpPr/>
                  <p:nvPr/>
                </p:nvSpPr>
                <p:spPr>
                  <a:xfrm rot="-2193001">
                    <a:off x="4877323" y="478500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8" name="Freeform: Shape 227">
                    <a:extLst>
                      <a:ext uri="{FF2B5EF4-FFF2-40B4-BE49-F238E27FC236}">
                        <a16:creationId xmlns:a16="http://schemas.microsoft.com/office/drawing/2014/main" id="{E0E2A49E-E00A-6B36-C5EF-6190CEA7ABE6}"/>
                      </a:ext>
                    </a:extLst>
                  </p:cNvPr>
                  <p:cNvSpPr/>
                  <p:nvPr/>
                </p:nvSpPr>
                <p:spPr>
                  <a:xfrm rot="-2361599">
                    <a:off x="4932722" y="485583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29" name="Freeform: Shape 228">
                    <a:extLst>
                      <a:ext uri="{FF2B5EF4-FFF2-40B4-BE49-F238E27FC236}">
                        <a16:creationId xmlns:a16="http://schemas.microsoft.com/office/drawing/2014/main" id="{844536D6-9AB2-3CD4-6FFF-933454039934}"/>
                      </a:ext>
                    </a:extLst>
                  </p:cNvPr>
                  <p:cNvSpPr/>
                  <p:nvPr/>
                </p:nvSpPr>
                <p:spPr>
                  <a:xfrm rot="-2530201">
                    <a:off x="4991357" y="492429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0" name="Freeform: Shape 229">
                    <a:extLst>
                      <a:ext uri="{FF2B5EF4-FFF2-40B4-BE49-F238E27FC236}">
                        <a16:creationId xmlns:a16="http://schemas.microsoft.com/office/drawing/2014/main" id="{1D8621EE-FFB1-C064-D506-B02B6BC22DF6}"/>
                      </a:ext>
                    </a:extLst>
                  </p:cNvPr>
                  <p:cNvSpPr/>
                  <p:nvPr/>
                </p:nvSpPr>
                <p:spPr>
                  <a:xfrm rot="-2868601">
                    <a:off x="5118773" y="505155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1" name="Freeform: Shape 230">
                    <a:extLst>
                      <a:ext uri="{FF2B5EF4-FFF2-40B4-BE49-F238E27FC236}">
                        <a16:creationId xmlns:a16="http://schemas.microsoft.com/office/drawing/2014/main" id="{820ABDE6-B6BC-8A92-FD7C-35810C371FAC}"/>
                      </a:ext>
                    </a:extLst>
                  </p:cNvPr>
                  <p:cNvSpPr/>
                  <p:nvPr/>
                </p:nvSpPr>
                <p:spPr>
                  <a:xfrm rot="-3036598">
                    <a:off x="5186945" y="5110261"/>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09138DDD-19DB-7612-6D75-787CA8902764}"/>
                      </a:ext>
                    </a:extLst>
                  </p:cNvPr>
                  <p:cNvSpPr/>
                  <p:nvPr/>
                </p:nvSpPr>
                <p:spPr>
                  <a:xfrm rot="-3206402">
                    <a:off x="5257922" y="516568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FE92F9DF-FABA-CED3-31FC-FCADD52AC6E5}"/>
                      </a:ext>
                    </a:extLst>
                  </p:cNvPr>
                  <p:cNvSpPr/>
                  <p:nvPr/>
                </p:nvSpPr>
                <p:spPr>
                  <a:xfrm rot="-3375001">
                    <a:off x="5331549" y="521766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4" name="Freeform: Shape 233">
                    <a:extLst>
                      <a:ext uri="{FF2B5EF4-FFF2-40B4-BE49-F238E27FC236}">
                        <a16:creationId xmlns:a16="http://schemas.microsoft.com/office/drawing/2014/main" id="{FEB4505A-D1AE-BA81-DD1A-956015F9DBD7}"/>
                      </a:ext>
                    </a:extLst>
                  </p:cNvPr>
                  <p:cNvSpPr/>
                  <p:nvPr/>
                </p:nvSpPr>
                <p:spPr>
                  <a:xfrm rot="-3541801">
                    <a:off x="5407533" y="526561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5" name="Freeform: Shape 234">
                    <a:extLst>
                      <a:ext uri="{FF2B5EF4-FFF2-40B4-BE49-F238E27FC236}">
                        <a16:creationId xmlns:a16="http://schemas.microsoft.com/office/drawing/2014/main" id="{D7EA814F-AE52-0215-6293-99829156C915}"/>
                      </a:ext>
                    </a:extLst>
                  </p:cNvPr>
                  <p:cNvSpPr/>
                  <p:nvPr/>
                </p:nvSpPr>
                <p:spPr>
                  <a:xfrm rot="-3711599">
                    <a:off x="5485941" y="5310002"/>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B8E8BCE4-1DFC-334B-EB34-52F740D5C003}"/>
                      </a:ext>
                    </a:extLst>
                  </p:cNvPr>
                  <p:cNvSpPr/>
                  <p:nvPr/>
                </p:nvSpPr>
                <p:spPr>
                  <a:xfrm rot="-3880201">
                    <a:off x="5566274" y="535105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3C0DEFB2-5A0E-3DC0-B75D-91DB1826AE12}"/>
                      </a:ext>
                    </a:extLst>
                  </p:cNvPr>
                  <p:cNvSpPr/>
                  <p:nvPr/>
                </p:nvSpPr>
                <p:spPr>
                  <a:xfrm rot="-4218599">
                    <a:off x="5732686" y="541960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8" name="Freeform: Shape 237">
                    <a:extLst>
                      <a:ext uri="{FF2B5EF4-FFF2-40B4-BE49-F238E27FC236}">
                        <a16:creationId xmlns:a16="http://schemas.microsoft.com/office/drawing/2014/main" id="{E8643B1A-DC89-88F7-9233-9DC744000F57}"/>
                      </a:ext>
                    </a:extLst>
                  </p:cNvPr>
                  <p:cNvSpPr/>
                  <p:nvPr/>
                </p:nvSpPr>
                <p:spPr>
                  <a:xfrm rot="-4388400">
                    <a:off x="5818127" y="544781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39" name="Freeform: Shape 238">
                    <a:extLst>
                      <a:ext uri="{FF2B5EF4-FFF2-40B4-BE49-F238E27FC236}">
                        <a16:creationId xmlns:a16="http://schemas.microsoft.com/office/drawing/2014/main" id="{677E26D0-22A9-9413-B7C0-D9C0252676D7}"/>
                      </a:ext>
                    </a:extLst>
                  </p:cNvPr>
                  <p:cNvSpPr/>
                  <p:nvPr/>
                </p:nvSpPr>
                <p:spPr>
                  <a:xfrm rot="-4555800">
                    <a:off x="5904915" y="547195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40" name="Freeform: Shape 239">
                    <a:extLst>
                      <a:ext uri="{FF2B5EF4-FFF2-40B4-BE49-F238E27FC236}">
                        <a16:creationId xmlns:a16="http://schemas.microsoft.com/office/drawing/2014/main" id="{DB5C8D2F-5BFD-DAE4-AACF-3B853F59AA8A}"/>
                      </a:ext>
                    </a:extLst>
                  </p:cNvPr>
                  <p:cNvSpPr/>
                  <p:nvPr/>
                </p:nvSpPr>
                <p:spPr>
                  <a:xfrm rot="-4724402">
                    <a:off x="5992703" y="549149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41" name="Freeform: Shape 240">
                    <a:extLst>
                      <a:ext uri="{FF2B5EF4-FFF2-40B4-BE49-F238E27FC236}">
                        <a16:creationId xmlns:a16="http://schemas.microsoft.com/office/drawing/2014/main" id="{64453038-A062-7E04-2905-53438DF9E6DB}"/>
                      </a:ext>
                    </a:extLst>
                  </p:cNvPr>
                  <p:cNvSpPr/>
                  <p:nvPr/>
                </p:nvSpPr>
                <p:spPr>
                  <a:xfrm rot="-4894801">
                    <a:off x="6081480" y="5506861"/>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42" name="Freeform: Shape 241">
                    <a:extLst>
                      <a:ext uri="{FF2B5EF4-FFF2-40B4-BE49-F238E27FC236}">
                        <a16:creationId xmlns:a16="http://schemas.microsoft.com/office/drawing/2014/main" id="{4AC57512-EAB7-08F9-E7B5-7BA8705DB7AE}"/>
                      </a:ext>
                    </a:extLst>
                  </p:cNvPr>
                  <p:cNvSpPr/>
                  <p:nvPr/>
                </p:nvSpPr>
                <p:spPr>
                  <a:xfrm rot="-5064000">
                    <a:off x="6170764" y="551770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F8B93401-1A56-D429-82F2-23E9D3116611}"/>
                      </a:ext>
                    </a:extLst>
                  </p:cNvPr>
                  <p:cNvSpPr/>
                  <p:nvPr/>
                </p:nvSpPr>
                <p:spPr>
                  <a:xfrm rot="-5232000">
                    <a:off x="6260897" y="552493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EF57342A-D9DC-F68A-C1A0-E1B621A93AD8}"/>
                      </a:ext>
                    </a:extLst>
                  </p:cNvPr>
                  <p:cNvSpPr/>
                  <p:nvPr/>
                </p:nvSpPr>
                <p:spPr>
                  <a:xfrm rot="-168000">
                    <a:off x="6449028" y="551622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45" name="Freeform: Shape 244">
                    <a:extLst>
                      <a:ext uri="{FF2B5EF4-FFF2-40B4-BE49-F238E27FC236}">
                        <a16:creationId xmlns:a16="http://schemas.microsoft.com/office/drawing/2014/main" id="{4D4536CF-CC2E-F5CD-9F8A-AE6A3BBEDC54}"/>
                      </a:ext>
                    </a:extLst>
                  </p:cNvPr>
                  <p:cNvSpPr/>
                  <p:nvPr/>
                </p:nvSpPr>
                <p:spPr>
                  <a:xfrm rot="-337200">
                    <a:off x="6539152" y="5509362"/>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46" name="Freeform: Shape 245">
                    <a:extLst>
                      <a:ext uri="{FF2B5EF4-FFF2-40B4-BE49-F238E27FC236}">
                        <a16:creationId xmlns:a16="http://schemas.microsoft.com/office/drawing/2014/main" id="{88BB664D-6BE8-14FC-4BBF-EFD7FBAB898D}"/>
                      </a:ext>
                    </a:extLst>
                  </p:cNvPr>
                  <p:cNvSpPr/>
                  <p:nvPr/>
                </p:nvSpPr>
                <p:spPr>
                  <a:xfrm rot="-505800">
                    <a:off x="6628599" y="5498322"/>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47" name="Freeform: Shape 246">
                    <a:extLst>
                      <a:ext uri="{FF2B5EF4-FFF2-40B4-BE49-F238E27FC236}">
                        <a16:creationId xmlns:a16="http://schemas.microsoft.com/office/drawing/2014/main" id="{E1228CAB-D894-69F4-22B4-4A322ABE23B8}"/>
                      </a:ext>
                    </a:extLst>
                  </p:cNvPr>
                  <p:cNvSpPr/>
                  <p:nvPr/>
                </p:nvSpPr>
                <p:spPr>
                  <a:xfrm rot="-674400">
                    <a:off x="6716971" y="548316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48" name="Freeform: Shape 247">
                    <a:extLst>
                      <a:ext uri="{FF2B5EF4-FFF2-40B4-BE49-F238E27FC236}">
                        <a16:creationId xmlns:a16="http://schemas.microsoft.com/office/drawing/2014/main" id="{FC3E0D5F-75CD-88A2-30C4-7EEE5C0EC3B3}"/>
                      </a:ext>
                    </a:extLst>
                  </p:cNvPr>
                  <p:cNvSpPr/>
                  <p:nvPr/>
                </p:nvSpPr>
                <p:spPr>
                  <a:xfrm rot="-843600">
                    <a:off x="6805095" y="546322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49" name="Freeform: Shape 248">
                    <a:extLst>
                      <a:ext uri="{FF2B5EF4-FFF2-40B4-BE49-F238E27FC236}">
                        <a16:creationId xmlns:a16="http://schemas.microsoft.com/office/drawing/2014/main" id="{B0CA9391-9448-E966-7357-3C4618828E87}"/>
                      </a:ext>
                    </a:extLst>
                  </p:cNvPr>
                  <p:cNvSpPr/>
                  <p:nvPr/>
                </p:nvSpPr>
                <p:spPr>
                  <a:xfrm rot="-1012199">
                    <a:off x="6891709" y="543943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62C1BFC4-8759-5E78-1D7C-F94D6698BF55}"/>
                      </a:ext>
                    </a:extLst>
                  </p:cNvPr>
                  <p:cNvSpPr/>
                  <p:nvPr/>
                </p:nvSpPr>
                <p:spPr>
                  <a:xfrm rot="-1180801">
                    <a:off x="6977419" y="541095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794722D2-D544-B783-B203-B012BEDF51B9}"/>
                      </a:ext>
                    </a:extLst>
                  </p:cNvPr>
                  <p:cNvSpPr/>
                  <p:nvPr/>
                </p:nvSpPr>
                <p:spPr>
                  <a:xfrm rot="-1518601">
                    <a:off x="7143622" y="534208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2" name="Freeform: Shape 251">
                    <a:extLst>
                      <a:ext uri="{FF2B5EF4-FFF2-40B4-BE49-F238E27FC236}">
                        <a16:creationId xmlns:a16="http://schemas.microsoft.com/office/drawing/2014/main" id="{F33F4CE3-4BEA-FC8A-6C31-DBEA1849CD49}"/>
                      </a:ext>
                    </a:extLst>
                  </p:cNvPr>
                  <p:cNvSpPr/>
                  <p:nvPr/>
                </p:nvSpPr>
                <p:spPr>
                  <a:xfrm rot="-1687801">
                    <a:off x="7223899" y="530182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3" name="Freeform: Shape 252">
                    <a:extLst>
                      <a:ext uri="{FF2B5EF4-FFF2-40B4-BE49-F238E27FC236}">
                        <a16:creationId xmlns:a16="http://schemas.microsoft.com/office/drawing/2014/main" id="{F8929CB1-9760-0A69-063D-98BB74C791F5}"/>
                      </a:ext>
                    </a:extLst>
                  </p:cNvPr>
                  <p:cNvSpPr/>
                  <p:nvPr/>
                </p:nvSpPr>
                <p:spPr>
                  <a:xfrm rot="-1857001">
                    <a:off x="7302467" y="525687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7132260E-4BB2-7753-8C8F-1871DD0A2E24}"/>
                      </a:ext>
                    </a:extLst>
                  </p:cNvPr>
                  <p:cNvSpPr/>
                  <p:nvPr/>
                </p:nvSpPr>
                <p:spPr>
                  <a:xfrm rot="-2025598">
                    <a:off x="7378471" y="520923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1D108530-A6B2-0DFD-EC5D-DADD4FDA5B52}"/>
                      </a:ext>
                    </a:extLst>
                  </p:cNvPr>
                  <p:cNvSpPr/>
                  <p:nvPr/>
                </p:nvSpPr>
                <p:spPr>
                  <a:xfrm rot="-2193001">
                    <a:off x="7452117" y="515756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6" name="Freeform: Shape 255">
                    <a:extLst>
                      <a:ext uri="{FF2B5EF4-FFF2-40B4-BE49-F238E27FC236}">
                        <a16:creationId xmlns:a16="http://schemas.microsoft.com/office/drawing/2014/main" id="{6D64EEB0-D41A-66C7-CA08-E72CB4B6C2FA}"/>
                      </a:ext>
                    </a:extLst>
                  </p:cNvPr>
                  <p:cNvSpPr/>
                  <p:nvPr/>
                </p:nvSpPr>
                <p:spPr>
                  <a:xfrm rot="-2362801">
                    <a:off x="7523074" y="5101526"/>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7" name="Freeform: Shape 256">
                    <a:extLst>
                      <a:ext uri="{FF2B5EF4-FFF2-40B4-BE49-F238E27FC236}">
                        <a16:creationId xmlns:a16="http://schemas.microsoft.com/office/drawing/2014/main" id="{FFA8DDFE-2E6F-4E8E-CDBB-4483367C0C91}"/>
                      </a:ext>
                    </a:extLst>
                  </p:cNvPr>
                  <p:cNvSpPr/>
                  <p:nvPr/>
                </p:nvSpPr>
                <p:spPr>
                  <a:xfrm rot="-2531399">
                    <a:off x="7591303" y="5042789"/>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FF22E956-645A-93CD-2497-C8C36A293D01}"/>
                      </a:ext>
                    </a:extLst>
                  </p:cNvPr>
                  <p:cNvSpPr/>
                  <p:nvPr/>
                </p:nvSpPr>
                <p:spPr>
                  <a:xfrm rot="-2868601">
                    <a:off x="7718633" y="491596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59" name="Freeform: Shape 258">
                    <a:extLst>
                      <a:ext uri="{FF2B5EF4-FFF2-40B4-BE49-F238E27FC236}">
                        <a16:creationId xmlns:a16="http://schemas.microsoft.com/office/drawing/2014/main" id="{670FEEF9-A1C2-9564-A611-5D9868DE7155}"/>
                      </a:ext>
                    </a:extLst>
                  </p:cNvPr>
                  <p:cNvSpPr/>
                  <p:nvPr/>
                </p:nvSpPr>
                <p:spPr>
                  <a:xfrm rot="-3037199">
                    <a:off x="7777410" y="484780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0" name="Freeform: Shape 259">
                    <a:extLst>
                      <a:ext uri="{FF2B5EF4-FFF2-40B4-BE49-F238E27FC236}">
                        <a16:creationId xmlns:a16="http://schemas.microsoft.com/office/drawing/2014/main" id="{303DDCCC-9A09-121F-80DF-649024999761}"/>
                      </a:ext>
                    </a:extLst>
                  </p:cNvPr>
                  <p:cNvSpPr/>
                  <p:nvPr/>
                </p:nvSpPr>
                <p:spPr>
                  <a:xfrm rot="-3206999">
                    <a:off x="7832808" y="477629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1" name="Freeform: Shape 260">
                    <a:extLst>
                      <a:ext uri="{FF2B5EF4-FFF2-40B4-BE49-F238E27FC236}">
                        <a16:creationId xmlns:a16="http://schemas.microsoft.com/office/drawing/2014/main" id="{B7999293-96B6-DBC7-5561-09C836D991D7}"/>
                      </a:ext>
                    </a:extLst>
                  </p:cNvPr>
                  <p:cNvSpPr/>
                  <p:nvPr/>
                </p:nvSpPr>
                <p:spPr>
                  <a:xfrm rot="-3374402">
                    <a:off x="7884592" y="4702839"/>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2" name="Freeform: Shape 261">
                    <a:extLst>
                      <a:ext uri="{FF2B5EF4-FFF2-40B4-BE49-F238E27FC236}">
                        <a16:creationId xmlns:a16="http://schemas.microsoft.com/office/drawing/2014/main" id="{4023E645-5473-A701-6676-9A7063ED28DB}"/>
                      </a:ext>
                    </a:extLst>
                  </p:cNvPr>
                  <p:cNvSpPr/>
                  <p:nvPr/>
                </p:nvSpPr>
                <p:spPr>
                  <a:xfrm rot="-3543600">
                    <a:off x="7932659" y="462655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07A045BB-E1AF-2229-4A22-90FA0E59EC28}"/>
                      </a:ext>
                    </a:extLst>
                  </p:cNvPr>
                  <p:cNvSpPr/>
                  <p:nvPr/>
                </p:nvSpPr>
                <p:spPr>
                  <a:xfrm rot="-3712199">
                    <a:off x="7977149" y="4548380"/>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B7C2D1FD-28C8-9233-68BE-FDD5392FC810}"/>
                      </a:ext>
                    </a:extLst>
                  </p:cNvPr>
                  <p:cNvSpPr/>
                  <p:nvPr/>
                </p:nvSpPr>
                <p:spPr>
                  <a:xfrm rot="-3881399">
                    <a:off x="8017609" y="446811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CC551141-0810-7C6D-0819-C26A4E53BF13}"/>
                      </a:ext>
                    </a:extLst>
                  </p:cNvPr>
                  <p:cNvSpPr/>
                  <p:nvPr/>
                </p:nvSpPr>
                <p:spPr>
                  <a:xfrm rot="-4219199">
                    <a:off x="8086650" y="430190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9125E56A-AAA0-D65D-B89C-A095B35203DF}"/>
                      </a:ext>
                    </a:extLst>
                  </p:cNvPr>
                  <p:cNvSpPr/>
                  <p:nvPr/>
                </p:nvSpPr>
                <p:spPr>
                  <a:xfrm rot="-4387801">
                    <a:off x="8114664" y="4216156"/>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C0EC5A1B-E575-2B25-3049-9626CBEF1918}"/>
                      </a:ext>
                    </a:extLst>
                  </p:cNvPr>
                  <p:cNvSpPr/>
                  <p:nvPr/>
                </p:nvSpPr>
                <p:spPr>
                  <a:xfrm rot="-4556400">
                    <a:off x="8138814" y="4129561"/>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488CC667-AC71-3603-8F10-66895D56AA04}"/>
                      </a:ext>
                    </a:extLst>
                  </p:cNvPr>
                  <p:cNvSpPr/>
                  <p:nvPr/>
                </p:nvSpPr>
                <p:spPr>
                  <a:xfrm rot="-4725600">
                    <a:off x="8158314" y="404141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F75A9B16-19D2-0C95-29BF-2696F5C07D89}"/>
                      </a:ext>
                    </a:extLst>
                  </p:cNvPr>
                  <p:cNvSpPr/>
                  <p:nvPr/>
                </p:nvSpPr>
                <p:spPr>
                  <a:xfrm rot="-4894200">
                    <a:off x="8174086" y="3953167"/>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619322CF-13CB-6031-3F31-7A921FC5F6CF}"/>
                      </a:ext>
                    </a:extLst>
                  </p:cNvPr>
                  <p:cNvSpPr/>
                  <p:nvPr/>
                </p:nvSpPr>
                <p:spPr>
                  <a:xfrm rot="-5062800">
                    <a:off x="8185133" y="3863738"/>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1453AEB7-A70F-762A-4042-BC49BAD5D4E1}"/>
                      </a:ext>
                    </a:extLst>
                  </p:cNvPr>
                  <p:cNvSpPr/>
                  <p:nvPr/>
                </p:nvSpPr>
                <p:spPr>
                  <a:xfrm rot="-5231400">
                    <a:off x="8191848" y="3774055"/>
                    <a:ext cx="20463" cy="37571"/>
                  </a:xfrm>
                  <a:custGeom>
                    <a:avLst/>
                    <a:gdLst>
                      <a:gd name="connsiteX0" fmla="*/ 0 w 20463"/>
                      <a:gd name="connsiteY0" fmla="*/ 0 h 37571"/>
                      <a:gd name="connsiteX1" fmla="*/ 20464 w 20463"/>
                      <a:gd name="connsiteY1" fmla="*/ 0 h 37571"/>
                      <a:gd name="connsiteX2" fmla="*/ 20464 w 20463"/>
                      <a:gd name="connsiteY2" fmla="*/ 37571 h 37571"/>
                      <a:gd name="connsiteX3" fmla="*/ 0 w 20463"/>
                      <a:gd name="connsiteY3" fmla="*/ 37571 h 37571"/>
                    </a:gdLst>
                    <a:ahLst/>
                    <a:cxnLst>
                      <a:cxn ang="0">
                        <a:pos x="connsiteX0" y="connsiteY0"/>
                      </a:cxn>
                      <a:cxn ang="0">
                        <a:pos x="connsiteX1" y="connsiteY1"/>
                      </a:cxn>
                      <a:cxn ang="0">
                        <a:pos x="connsiteX2" y="connsiteY2"/>
                      </a:cxn>
                      <a:cxn ang="0">
                        <a:pos x="connsiteX3" y="connsiteY3"/>
                      </a:cxn>
                    </a:cxnLst>
                    <a:rect l="l" t="t" r="r" b="b"/>
                    <a:pathLst>
                      <a:path w="20463" h="37571">
                        <a:moveTo>
                          <a:pt x="0" y="0"/>
                        </a:moveTo>
                        <a:lnTo>
                          <a:pt x="20464" y="0"/>
                        </a:lnTo>
                        <a:lnTo>
                          <a:pt x="20464" y="37571"/>
                        </a:lnTo>
                        <a:lnTo>
                          <a:pt x="0" y="37571"/>
                        </a:lnTo>
                        <a:close/>
                      </a:path>
                    </a:pathLst>
                  </a:custGeom>
                  <a:grpFill/>
                  <a:ln w="0" cap="flat">
                    <a:no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5D10B9CF-FBA3-F84F-E4C0-D136BDFD92BF}"/>
                      </a:ext>
                    </a:extLst>
                  </p:cNvPr>
                  <p:cNvSpPr/>
                  <p:nvPr/>
                </p:nvSpPr>
                <p:spPr>
                  <a:xfrm rot="-168000">
                    <a:off x="8183085" y="360206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31A5E60A-A658-2ECB-75C4-AF475E352316}"/>
                      </a:ext>
                    </a:extLst>
                  </p:cNvPr>
                  <p:cNvSpPr/>
                  <p:nvPr/>
                </p:nvSpPr>
                <p:spPr>
                  <a:xfrm rot="-336600">
                    <a:off x="8176509" y="3512173"/>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D01E6FCD-6BC4-C647-2735-55F6C3E69656}"/>
                      </a:ext>
                    </a:extLst>
                  </p:cNvPr>
                  <p:cNvSpPr/>
                  <p:nvPr/>
                </p:nvSpPr>
                <p:spPr>
                  <a:xfrm rot="-505199">
                    <a:off x="8165322" y="342319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F07A9C87-602B-9AFE-E497-1B13002BB4D3}"/>
                      </a:ext>
                    </a:extLst>
                  </p:cNvPr>
                  <p:cNvSpPr/>
                  <p:nvPr/>
                </p:nvSpPr>
                <p:spPr>
                  <a:xfrm rot="-675598">
                    <a:off x="8149953" y="333438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A6D4B6E0-A11B-EA65-DABE-944FB5944BF9}"/>
                      </a:ext>
                    </a:extLst>
                  </p:cNvPr>
                  <p:cNvSpPr/>
                  <p:nvPr/>
                </p:nvSpPr>
                <p:spPr>
                  <a:xfrm rot="-844200">
                    <a:off x="8130188" y="324673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60E71B3F-B694-DAF8-C484-68A1DEA71C56}"/>
                      </a:ext>
                    </a:extLst>
                  </p:cNvPr>
                  <p:cNvSpPr/>
                  <p:nvPr/>
                </p:nvSpPr>
                <p:spPr>
                  <a:xfrm rot="-1011600">
                    <a:off x="8106173" y="315967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8" name="Freeform: Shape 277">
                    <a:extLst>
                      <a:ext uri="{FF2B5EF4-FFF2-40B4-BE49-F238E27FC236}">
                        <a16:creationId xmlns:a16="http://schemas.microsoft.com/office/drawing/2014/main" id="{04D3B02E-2F8F-16D7-FF78-B8E65932ECA8}"/>
                      </a:ext>
                    </a:extLst>
                  </p:cNvPr>
                  <p:cNvSpPr/>
                  <p:nvPr/>
                </p:nvSpPr>
                <p:spPr>
                  <a:xfrm rot="-1181401">
                    <a:off x="8077906" y="307434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79" name="Freeform: Shape 278">
                    <a:extLst>
                      <a:ext uri="{FF2B5EF4-FFF2-40B4-BE49-F238E27FC236}">
                        <a16:creationId xmlns:a16="http://schemas.microsoft.com/office/drawing/2014/main" id="{B2172995-B723-3946-65C9-E96AC3277748}"/>
                      </a:ext>
                    </a:extLst>
                  </p:cNvPr>
                  <p:cNvSpPr/>
                  <p:nvPr/>
                </p:nvSpPr>
                <p:spPr>
                  <a:xfrm rot="-1519799">
                    <a:off x="8009043" y="290757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0" name="Freeform: Shape 279">
                    <a:extLst>
                      <a:ext uri="{FF2B5EF4-FFF2-40B4-BE49-F238E27FC236}">
                        <a16:creationId xmlns:a16="http://schemas.microsoft.com/office/drawing/2014/main" id="{04E79A30-886A-D1C7-DCB2-CA00CDD4B55D}"/>
                      </a:ext>
                    </a:extLst>
                  </p:cNvPr>
                  <p:cNvSpPr/>
                  <p:nvPr/>
                </p:nvSpPr>
                <p:spPr>
                  <a:xfrm rot="-1688401">
                    <a:off x="7968555" y="2827692"/>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1" name="Freeform: Shape 280">
                    <a:extLst>
                      <a:ext uri="{FF2B5EF4-FFF2-40B4-BE49-F238E27FC236}">
                        <a16:creationId xmlns:a16="http://schemas.microsoft.com/office/drawing/2014/main" id="{8B3D32E8-CF40-F670-0CD8-C6A31CE29B12}"/>
                      </a:ext>
                    </a:extLst>
                  </p:cNvPr>
                  <p:cNvSpPr/>
                  <p:nvPr/>
                </p:nvSpPr>
                <p:spPr>
                  <a:xfrm rot="-1858199">
                    <a:off x="7924254" y="2749403"/>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80225EC2-9F12-21FA-1F89-E5F56AD3C277}"/>
                      </a:ext>
                    </a:extLst>
                  </p:cNvPr>
                  <p:cNvSpPr/>
                  <p:nvPr/>
                </p:nvSpPr>
                <p:spPr>
                  <a:xfrm rot="-2024999">
                    <a:off x="7876006" y="267311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3" name="Freeform: Shape 282">
                    <a:extLst>
                      <a:ext uri="{FF2B5EF4-FFF2-40B4-BE49-F238E27FC236}">
                        <a16:creationId xmlns:a16="http://schemas.microsoft.com/office/drawing/2014/main" id="{1C931C0D-B67F-E647-BEEF-FC60E0F1B345}"/>
                      </a:ext>
                    </a:extLst>
                  </p:cNvPr>
                  <p:cNvSpPr/>
                  <p:nvPr/>
                </p:nvSpPr>
                <p:spPr>
                  <a:xfrm rot="-2193598">
                    <a:off x="7824232" y="2599552"/>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4" name="Freeform: Shape 283">
                    <a:extLst>
                      <a:ext uri="{FF2B5EF4-FFF2-40B4-BE49-F238E27FC236}">
                        <a16:creationId xmlns:a16="http://schemas.microsoft.com/office/drawing/2014/main" id="{4FCC24B3-70FC-D57E-C2C7-43CA4F86AB53}"/>
                      </a:ext>
                    </a:extLst>
                  </p:cNvPr>
                  <p:cNvSpPr/>
                  <p:nvPr/>
                </p:nvSpPr>
                <p:spPr>
                  <a:xfrm rot="-2363402">
                    <a:off x="7768847" y="2528614"/>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C489F097-A078-5769-7685-29DF3B65532F}"/>
                      </a:ext>
                    </a:extLst>
                  </p:cNvPr>
                  <p:cNvSpPr/>
                  <p:nvPr/>
                </p:nvSpPr>
                <p:spPr>
                  <a:xfrm rot="-2531399">
                    <a:off x="7710202" y="2460532"/>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6" name="Freeform: Shape 285">
                    <a:extLst>
                      <a:ext uri="{FF2B5EF4-FFF2-40B4-BE49-F238E27FC236}">
                        <a16:creationId xmlns:a16="http://schemas.microsoft.com/office/drawing/2014/main" id="{5E042D0B-16F6-E4CC-DE99-310AC9D67F20}"/>
                      </a:ext>
                    </a:extLst>
                  </p:cNvPr>
                  <p:cNvSpPr/>
                  <p:nvPr/>
                </p:nvSpPr>
                <p:spPr>
                  <a:xfrm rot="-2869799">
                    <a:off x="7582570" y="233280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697F471B-DB34-CB17-EAFD-E7AA499FFB18}"/>
                      </a:ext>
                    </a:extLst>
                  </p:cNvPr>
                  <p:cNvSpPr/>
                  <p:nvPr/>
                </p:nvSpPr>
                <p:spPr>
                  <a:xfrm rot="-3038401">
                    <a:off x="7514623" y="227436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8" name="Freeform: Shape 287">
                    <a:extLst>
                      <a:ext uri="{FF2B5EF4-FFF2-40B4-BE49-F238E27FC236}">
                        <a16:creationId xmlns:a16="http://schemas.microsoft.com/office/drawing/2014/main" id="{7A398726-2D77-062D-BD61-093D680D084F}"/>
                      </a:ext>
                    </a:extLst>
                  </p:cNvPr>
                  <p:cNvSpPr/>
                  <p:nvPr/>
                </p:nvSpPr>
                <p:spPr>
                  <a:xfrm rot="-3207599">
                    <a:off x="7443353" y="221848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89" name="Freeform: Shape 288">
                    <a:extLst>
                      <a:ext uri="{FF2B5EF4-FFF2-40B4-BE49-F238E27FC236}">
                        <a16:creationId xmlns:a16="http://schemas.microsoft.com/office/drawing/2014/main" id="{A915006B-C922-67C6-7346-CEBB24D57FA7}"/>
                      </a:ext>
                    </a:extLst>
                  </p:cNvPr>
                  <p:cNvSpPr/>
                  <p:nvPr/>
                </p:nvSpPr>
                <p:spPr>
                  <a:xfrm rot="-3373802">
                    <a:off x="7369991" y="216694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0" name="Freeform: Shape 289">
                    <a:extLst>
                      <a:ext uri="{FF2B5EF4-FFF2-40B4-BE49-F238E27FC236}">
                        <a16:creationId xmlns:a16="http://schemas.microsoft.com/office/drawing/2014/main" id="{C2C5738E-6029-E149-E382-6D9F7BCC929B}"/>
                      </a:ext>
                    </a:extLst>
                  </p:cNvPr>
                  <p:cNvSpPr/>
                  <p:nvPr/>
                </p:nvSpPr>
                <p:spPr>
                  <a:xfrm rot="-3542999">
                    <a:off x="7293939" y="211882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1" name="Freeform: Shape 290">
                    <a:extLst>
                      <a:ext uri="{FF2B5EF4-FFF2-40B4-BE49-F238E27FC236}">
                        <a16:creationId xmlns:a16="http://schemas.microsoft.com/office/drawing/2014/main" id="{9AB55498-5424-FE43-DF49-A99C5E6B5441}"/>
                      </a:ext>
                    </a:extLst>
                  </p:cNvPr>
                  <p:cNvSpPr/>
                  <p:nvPr/>
                </p:nvSpPr>
                <p:spPr>
                  <a:xfrm rot="-3711599">
                    <a:off x="7215321" y="2074294"/>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2" name="Freeform: Shape 291">
                    <a:extLst>
                      <a:ext uri="{FF2B5EF4-FFF2-40B4-BE49-F238E27FC236}">
                        <a16:creationId xmlns:a16="http://schemas.microsoft.com/office/drawing/2014/main" id="{2E13640B-E01A-D6FE-479E-4A3539B54071}"/>
                      </a:ext>
                    </a:extLst>
                  </p:cNvPr>
                  <p:cNvSpPr/>
                  <p:nvPr/>
                </p:nvSpPr>
                <p:spPr>
                  <a:xfrm rot="-3882600">
                    <a:off x="7135143" y="203389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3" name="Freeform: Shape 292">
                    <a:extLst>
                      <a:ext uri="{FF2B5EF4-FFF2-40B4-BE49-F238E27FC236}">
                        <a16:creationId xmlns:a16="http://schemas.microsoft.com/office/drawing/2014/main" id="{8C6D3288-2907-E13E-1539-8053C304F8DC}"/>
                      </a:ext>
                    </a:extLst>
                  </p:cNvPr>
                  <p:cNvSpPr/>
                  <p:nvPr/>
                </p:nvSpPr>
                <p:spPr>
                  <a:xfrm rot="-4218599">
                    <a:off x="6968739" y="1965059"/>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4" name="Freeform: Shape 293">
                    <a:extLst>
                      <a:ext uri="{FF2B5EF4-FFF2-40B4-BE49-F238E27FC236}">
                        <a16:creationId xmlns:a16="http://schemas.microsoft.com/office/drawing/2014/main" id="{B47D9FD2-8FB4-B052-78CF-8F5A69B5E91C}"/>
                      </a:ext>
                    </a:extLst>
                  </p:cNvPr>
                  <p:cNvSpPr/>
                  <p:nvPr/>
                </p:nvSpPr>
                <p:spPr>
                  <a:xfrm rot="-4388400">
                    <a:off x="6883317" y="193680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5" name="Freeform: Shape 294">
                    <a:extLst>
                      <a:ext uri="{FF2B5EF4-FFF2-40B4-BE49-F238E27FC236}">
                        <a16:creationId xmlns:a16="http://schemas.microsoft.com/office/drawing/2014/main" id="{498BC326-4E61-398D-89EB-8B6CF399BFF9}"/>
                      </a:ext>
                    </a:extLst>
                  </p:cNvPr>
                  <p:cNvSpPr/>
                  <p:nvPr/>
                </p:nvSpPr>
                <p:spPr>
                  <a:xfrm rot="-4556998">
                    <a:off x="6796530" y="1912788"/>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9DACAE7D-EECE-3187-3FE4-3FF046FF200A}"/>
                      </a:ext>
                    </a:extLst>
                  </p:cNvPr>
                  <p:cNvSpPr/>
                  <p:nvPr/>
                </p:nvSpPr>
                <p:spPr>
                  <a:xfrm rot="-4725600">
                    <a:off x="6708675" y="1892966"/>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CA1F296B-3824-160D-50BF-03BF9B138685}"/>
                      </a:ext>
                    </a:extLst>
                  </p:cNvPr>
                  <p:cNvSpPr/>
                  <p:nvPr/>
                </p:nvSpPr>
                <p:spPr>
                  <a:xfrm rot="-4894801">
                    <a:off x="6619749" y="1877645"/>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D7005889-0735-E504-0200-C6DE316C673B}"/>
                      </a:ext>
                    </a:extLst>
                  </p:cNvPr>
                  <p:cNvSpPr/>
                  <p:nvPr/>
                </p:nvSpPr>
                <p:spPr>
                  <a:xfrm rot="-5063400">
                    <a:off x="6530764" y="1866620"/>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sp>
                <p:nvSpPr>
                  <p:cNvPr id="299" name="Freeform: Shape 298">
                    <a:extLst>
                      <a:ext uri="{FF2B5EF4-FFF2-40B4-BE49-F238E27FC236}">
                        <a16:creationId xmlns:a16="http://schemas.microsoft.com/office/drawing/2014/main" id="{D4BACE93-7DAB-186F-A757-E40D674C20EF}"/>
                      </a:ext>
                    </a:extLst>
                  </p:cNvPr>
                  <p:cNvSpPr/>
                  <p:nvPr/>
                </p:nvSpPr>
                <p:spPr>
                  <a:xfrm rot="-5232000">
                    <a:off x="6440703" y="1859917"/>
                    <a:ext cx="37571" cy="20463"/>
                  </a:xfrm>
                  <a:custGeom>
                    <a:avLst/>
                    <a:gdLst>
                      <a:gd name="connsiteX0" fmla="*/ 0 w 37571"/>
                      <a:gd name="connsiteY0" fmla="*/ 0 h 20463"/>
                      <a:gd name="connsiteX1" fmla="*/ 37571 w 37571"/>
                      <a:gd name="connsiteY1" fmla="*/ 0 h 20463"/>
                      <a:gd name="connsiteX2" fmla="*/ 37571 w 37571"/>
                      <a:gd name="connsiteY2" fmla="*/ 20464 h 20463"/>
                      <a:gd name="connsiteX3" fmla="*/ 0 w 37571"/>
                      <a:gd name="connsiteY3" fmla="*/ 20464 h 20463"/>
                    </a:gdLst>
                    <a:ahLst/>
                    <a:cxnLst>
                      <a:cxn ang="0">
                        <a:pos x="connsiteX0" y="connsiteY0"/>
                      </a:cxn>
                      <a:cxn ang="0">
                        <a:pos x="connsiteX1" y="connsiteY1"/>
                      </a:cxn>
                      <a:cxn ang="0">
                        <a:pos x="connsiteX2" y="connsiteY2"/>
                      </a:cxn>
                      <a:cxn ang="0">
                        <a:pos x="connsiteX3" y="connsiteY3"/>
                      </a:cxn>
                    </a:cxnLst>
                    <a:rect l="l" t="t" r="r" b="b"/>
                    <a:pathLst>
                      <a:path w="37571" h="20463">
                        <a:moveTo>
                          <a:pt x="0" y="0"/>
                        </a:moveTo>
                        <a:lnTo>
                          <a:pt x="37571" y="0"/>
                        </a:lnTo>
                        <a:lnTo>
                          <a:pt x="37571" y="20464"/>
                        </a:lnTo>
                        <a:lnTo>
                          <a:pt x="0" y="20464"/>
                        </a:lnTo>
                        <a:close/>
                      </a:path>
                    </a:pathLst>
                  </a:custGeom>
                  <a:grpFill/>
                  <a:ln w="0" cap="flat">
                    <a:noFill/>
                    <a:prstDash val="solid"/>
                    <a:miter/>
                  </a:ln>
                </p:spPr>
                <p:txBody>
                  <a:bodyPr rtlCol="0" anchor="ctr"/>
                  <a:lstStyle/>
                  <a:p>
                    <a:endParaRPr lang="en-US"/>
                  </a:p>
                </p:txBody>
              </p:sp>
            </p:grpSp>
          </p:grpSp>
        </p:grpSp>
        <p:grpSp>
          <p:nvGrpSpPr>
            <p:cNvPr id="81" name="Graphic 2673">
              <a:extLst>
                <a:ext uri="{FF2B5EF4-FFF2-40B4-BE49-F238E27FC236}">
                  <a16:creationId xmlns:a16="http://schemas.microsoft.com/office/drawing/2014/main" id="{5F00403F-9EF9-E491-B4E1-997187E31BAA}"/>
                </a:ext>
              </a:extLst>
            </p:cNvPr>
            <p:cNvGrpSpPr/>
            <p:nvPr/>
          </p:nvGrpSpPr>
          <p:grpSpPr>
            <a:xfrm>
              <a:off x="2149754" y="2208491"/>
              <a:ext cx="5346594" cy="2992669"/>
              <a:chOff x="2149754" y="2208491"/>
              <a:chExt cx="5346594" cy="2992669"/>
            </a:xfrm>
            <a:noFill/>
          </p:grpSpPr>
          <p:sp>
            <p:nvSpPr>
              <p:cNvPr id="170" name="Freeform: Shape 169">
                <a:extLst>
                  <a:ext uri="{FF2B5EF4-FFF2-40B4-BE49-F238E27FC236}">
                    <a16:creationId xmlns:a16="http://schemas.microsoft.com/office/drawing/2014/main" id="{4E55B4CB-B2A3-43E9-ECE4-F9979422BC45}"/>
                  </a:ext>
                </a:extLst>
              </p:cNvPr>
              <p:cNvSpPr/>
              <p:nvPr/>
            </p:nvSpPr>
            <p:spPr>
              <a:xfrm>
                <a:off x="3950177" y="4927629"/>
                <a:ext cx="1523335" cy="273532"/>
              </a:xfrm>
              <a:custGeom>
                <a:avLst/>
                <a:gdLst>
                  <a:gd name="connsiteX0" fmla="*/ 1523335 w 1523335"/>
                  <a:gd name="connsiteY0" fmla="*/ 0 h 273532"/>
                  <a:gd name="connsiteX1" fmla="*/ 1382395 w 1523335"/>
                  <a:gd name="connsiteY1" fmla="*/ 0 h 273532"/>
                  <a:gd name="connsiteX2" fmla="*/ 1125453 w 1523335"/>
                  <a:gd name="connsiteY2" fmla="*/ 273532 h 273532"/>
                  <a:gd name="connsiteX3" fmla="*/ 0 w 1523335"/>
                  <a:gd name="connsiteY3" fmla="*/ 273532 h 273532"/>
                </a:gdLst>
                <a:ahLst/>
                <a:cxnLst>
                  <a:cxn ang="0">
                    <a:pos x="connsiteX0" y="connsiteY0"/>
                  </a:cxn>
                  <a:cxn ang="0">
                    <a:pos x="connsiteX1" y="connsiteY1"/>
                  </a:cxn>
                  <a:cxn ang="0">
                    <a:pos x="connsiteX2" y="connsiteY2"/>
                  </a:cxn>
                  <a:cxn ang="0">
                    <a:pos x="connsiteX3" y="connsiteY3"/>
                  </a:cxn>
                </a:cxnLst>
                <a:rect l="l" t="t" r="r" b="b"/>
                <a:pathLst>
                  <a:path w="1523335" h="273532">
                    <a:moveTo>
                      <a:pt x="1523335" y="0"/>
                    </a:moveTo>
                    <a:lnTo>
                      <a:pt x="1382395" y="0"/>
                    </a:lnTo>
                    <a:lnTo>
                      <a:pt x="1125453" y="273532"/>
                    </a:lnTo>
                    <a:lnTo>
                      <a:pt x="0" y="273532"/>
                    </a:lnTo>
                  </a:path>
                </a:pathLst>
              </a:custGeom>
              <a:noFill/>
              <a:ln w="18849" cap="flat">
                <a:solidFill>
                  <a:schemeClr val="accent6">
                    <a:lumMod val="50000"/>
                  </a:schemeClr>
                </a:solidFill>
                <a:prstDash val="solid"/>
                <a:miter/>
              </a:ln>
            </p:spPr>
            <p:txBody>
              <a:bodyPr rtlCol="0" anchor="ctr"/>
              <a:lstStyle/>
              <a:p>
                <a:endParaRPr lang="en-US"/>
              </a:p>
            </p:txBody>
          </p:sp>
          <p:sp>
            <p:nvSpPr>
              <p:cNvPr id="171" name="Freeform: Shape 170">
                <a:extLst>
                  <a:ext uri="{FF2B5EF4-FFF2-40B4-BE49-F238E27FC236}">
                    <a16:creationId xmlns:a16="http://schemas.microsoft.com/office/drawing/2014/main" id="{4E63F74A-7F82-4C68-3360-94F653FF7F55}"/>
                  </a:ext>
                </a:extLst>
              </p:cNvPr>
              <p:cNvSpPr/>
              <p:nvPr/>
            </p:nvSpPr>
            <p:spPr>
              <a:xfrm>
                <a:off x="3941801" y="2208491"/>
                <a:ext cx="1609009" cy="362950"/>
              </a:xfrm>
              <a:custGeom>
                <a:avLst/>
                <a:gdLst>
                  <a:gd name="connsiteX0" fmla="*/ 1609010 w 1609009"/>
                  <a:gd name="connsiteY0" fmla="*/ 362950 h 362950"/>
                  <a:gd name="connsiteX1" fmla="*/ 1468069 w 1609009"/>
                  <a:gd name="connsiteY1" fmla="*/ 362950 h 362950"/>
                  <a:gd name="connsiteX2" fmla="*/ 1125453 w 1609009"/>
                  <a:gd name="connsiteY2" fmla="*/ 0 h 362950"/>
                  <a:gd name="connsiteX3" fmla="*/ 0 w 1609009"/>
                  <a:gd name="connsiteY3" fmla="*/ 0 h 362950"/>
                </a:gdLst>
                <a:ahLst/>
                <a:cxnLst>
                  <a:cxn ang="0">
                    <a:pos x="connsiteX0" y="connsiteY0"/>
                  </a:cxn>
                  <a:cxn ang="0">
                    <a:pos x="connsiteX1" y="connsiteY1"/>
                  </a:cxn>
                  <a:cxn ang="0">
                    <a:pos x="connsiteX2" y="connsiteY2"/>
                  </a:cxn>
                  <a:cxn ang="0">
                    <a:pos x="connsiteX3" y="connsiteY3"/>
                  </a:cxn>
                </a:cxnLst>
                <a:rect l="l" t="t" r="r" b="b"/>
                <a:pathLst>
                  <a:path w="1609009" h="362950">
                    <a:moveTo>
                      <a:pt x="1609010" y="362950"/>
                    </a:moveTo>
                    <a:lnTo>
                      <a:pt x="1468069" y="362950"/>
                    </a:lnTo>
                    <a:lnTo>
                      <a:pt x="1125453" y="0"/>
                    </a:lnTo>
                    <a:lnTo>
                      <a:pt x="0" y="0"/>
                    </a:lnTo>
                  </a:path>
                </a:pathLst>
              </a:custGeom>
              <a:noFill/>
              <a:ln w="18849" cap="flat">
                <a:solidFill>
                  <a:schemeClr val="accent6">
                    <a:lumMod val="50000"/>
                  </a:schemeClr>
                </a:solid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1A0BDC78-F75B-94A4-9FCC-B5BF91F69CBE}"/>
                  </a:ext>
                </a:extLst>
              </p:cNvPr>
              <p:cNvSpPr/>
              <p:nvPr/>
            </p:nvSpPr>
            <p:spPr>
              <a:xfrm>
                <a:off x="3169683" y="3976325"/>
                <a:ext cx="4326665" cy="246356"/>
              </a:xfrm>
              <a:custGeom>
                <a:avLst/>
                <a:gdLst>
                  <a:gd name="connsiteX0" fmla="*/ 4326666 w 4326665"/>
                  <a:gd name="connsiteY0" fmla="*/ 0 h 246356"/>
                  <a:gd name="connsiteX1" fmla="*/ 2788248 w 4326665"/>
                  <a:gd name="connsiteY1" fmla="*/ 0 h 246356"/>
                  <a:gd name="connsiteX2" fmla="*/ 2536828 w 4326665"/>
                  <a:gd name="connsiteY2" fmla="*/ 246357 h 246356"/>
                  <a:gd name="connsiteX3" fmla="*/ 0 w 4326665"/>
                  <a:gd name="connsiteY3" fmla="*/ 246357 h 246356"/>
                </a:gdLst>
                <a:ahLst/>
                <a:cxnLst>
                  <a:cxn ang="0">
                    <a:pos x="connsiteX0" y="connsiteY0"/>
                  </a:cxn>
                  <a:cxn ang="0">
                    <a:pos x="connsiteX1" y="connsiteY1"/>
                  </a:cxn>
                  <a:cxn ang="0">
                    <a:pos x="connsiteX2" y="connsiteY2"/>
                  </a:cxn>
                  <a:cxn ang="0">
                    <a:pos x="connsiteX3" y="connsiteY3"/>
                  </a:cxn>
                </a:cxnLst>
                <a:rect l="l" t="t" r="r" b="b"/>
                <a:pathLst>
                  <a:path w="4326665" h="246356">
                    <a:moveTo>
                      <a:pt x="4326666" y="0"/>
                    </a:moveTo>
                    <a:lnTo>
                      <a:pt x="2788248" y="0"/>
                    </a:lnTo>
                    <a:lnTo>
                      <a:pt x="2536828" y="246357"/>
                    </a:lnTo>
                    <a:lnTo>
                      <a:pt x="0" y="246357"/>
                    </a:lnTo>
                  </a:path>
                </a:pathLst>
              </a:custGeom>
              <a:noFill/>
              <a:ln w="18849" cap="flat">
                <a:solidFill>
                  <a:schemeClr val="accent6">
                    <a:lumMod val="50000"/>
                  </a:schemeClr>
                </a:solid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6290069F-2993-99B4-5E54-CE2893807177}"/>
                  </a:ext>
                </a:extLst>
              </p:cNvPr>
              <p:cNvSpPr/>
              <p:nvPr/>
            </p:nvSpPr>
            <p:spPr>
              <a:xfrm>
                <a:off x="4841070" y="4289422"/>
                <a:ext cx="2433727" cy="387944"/>
              </a:xfrm>
              <a:custGeom>
                <a:avLst/>
                <a:gdLst>
                  <a:gd name="connsiteX0" fmla="*/ 2433728 w 2433727"/>
                  <a:gd name="connsiteY0" fmla="*/ 0 h 387944"/>
                  <a:gd name="connsiteX1" fmla="*/ 1411482 w 2433727"/>
                  <a:gd name="connsiteY1" fmla="*/ 0 h 387944"/>
                  <a:gd name="connsiteX2" fmla="*/ 1018233 w 2433727"/>
                  <a:gd name="connsiteY2" fmla="*/ 387944 h 387944"/>
                  <a:gd name="connsiteX3" fmla="*/ 700206 w 2433727"/>
                  <a:gd name="connsiteY3" fmla="*/ 387944 h 387944"/>
                  <a:gd name="connsiteX4" fmla="*/ 618761 w 2433727"/>
                  <a:gd name="connsiteY4" fmla="*/ 387944 h 387944"/>
                  <a:gd name="connsiteX5" fmla="*/ 0 w 2433727"/>
                  <a:gd name="connsiteY5" fmla="*/ 387944 h 38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3727" h="387944">
                    <a:moveTo>
                      <a:pt x="2433728" y="0"/>
                    </a:moveTo>
                    <a:lnTo>
                      <a:pt x="1411482" y="0"/>
                    </a:lnTo>
                    <a:lnTo>
                      <a:pt x="1018233" y="387944"/>
                    </a:lnTo>
                    <a:lnTo>
                      <a:pt x="700206" y="387944"/>
                    </a:lnTo>
                    <a:moveTo>
                      <a:pt x="618761" y="387944"/>
                    </a:moveTo>
                    <a:lnTo>
                      <a:pt x="0" y="387944"/>
                    </a:lnTo>
                  </a:path>
                </a:pathLst>
              </a:custGeom>
              <a:noFill/>
              <a:ln w="18849" cap="flat">
                <a:solidFill>
                  <a:schemeClr val="accent6">
                    <a:lumMod val="50000"/>
                  </a:schemeClr>
                </a:solidFill>
                <a:prstDash val="solid"/>
                <a:miter/>
              </a:ln>
            </p:spPr>
            <p:txBody>
              <a:bodyPr rtlCol="0" anchor="ctr"/>
              <a:lstStyle/>
              <a:p>
                <a:endParaRPr lang="en-US"/>
              </a:p>
            </p:txBody>
          </p:sp>
          <p:sp>
            <p:nvSpPr>
              <p:cNvPr id="174" name="Freeform: Shape 173">
                <a:extLst>
                  <a:ext uri="{FF2B5EF4-FFF2-40B4-BE49-F238E27FC236}">
                    <a16:creationId xmlns:a16="http://schemas.microsoft.com/office/drawing/2014/main" id="{70D9BB39-CBA6-585D-794A-AAE7B16D7BCE}"/>
                  </a:ext>
                </a:extLst>
              </p:cNvPr>
              <p:cNvSpPr/>
              <p:nvPr/>
            </p:nvSpPr>
            <p:spPr>
              <a:xfrm>
                <a:off x="2149754" y="3194565"/>
                <a:ext cx="4886766" cy="279403"/>
              </a:xfrm>
              <a:custGeom>
                <a:avLst/>
                <a:gdLst>
                  <a:gd name="connsiteX0" fmla="*/ 4886767 w 4886766"/>
                  <a:gd name="connsiteY0" fmla="*/ 279404 h 279403"/>
                  <a:gd name="connsiteX1" fmla="*/ 3808177 w 4886766"/>
                  <a:gd name="connsiteY1" fmla="*/ 279404 h 279403"/>
                  <a:gd name="connsiteX2" fmla="*/ 3509489 w 4886766"/>
                  <a:gd name="connsiteY2" fmla="*/ 0 h 279403"/>
                  <a:gd name="connsiteX3" fmla="*/ 0 w 4886766"/>
                  <a:gd name="connsiteY3" fmla="*/ 0 h 279403"/>
                </a:gdLst>
                <a:ahLst/>
                <a:cxnLst>
                  <a:cxn ang="0">
                    <a:pos x="connsiteX0" y="connsiteY0"/>
                  </a:cxn>
                  <a:cxn ang="0">
                    <a:pos x="connsiteX1" y="connsiteY1"/>
                  </a:cxn>
                  <a:cxn ang="0">
                    <a:pos x="connsiteX2" y="connsiteY2"/>
                  </a:cxn>
                  <a:cxn ang="0">
                    <a:pos x="connsiteX3" y="connsiteY3"/>
                  </a:cxn>
                </a:cxnLst>
                <a:rect l="l" t="t" r="r" b="b"/>
                <a:pathLst>
                  <a:path w="4886766" h="279403">
                    <a:moveTo>
                      <a:pt x="4886767" y="279404"/>
                    </a:moveTo>
                    <a:lnTo>
                      <a:pt x="3808177" y="279404"/>
                    </a:lnTo>
                    <a:lnTo>
                      <a:pt x="3509489" y="0"/>
                    </a:lnTo>
                    <a:lnTo>
                      <a:pt x="0" y="0"/>
                    </a:lnTo>
                  </a:path>
                </a:pathLst>
              </a:custGeom>
              <a:noFill/>
              <a:ln w="18849" cap="flat">
                <a:solidFill>
                  <a:schemeClr val="accent6">
                    <a:lumMod val="50000"/>
                  </a:schemeClr>
                </a:solidFill>
                <a:prstDash val="solid"/>
                <a:miter/>
              </a:ln>
            </p:spPr>
            <p:txBody>
              <a:bodyPr rtlCol="0" anchor="ctr"/>
              <a:lstStyle/>
              <a:p>
                <a:endParaRPr lang="en-US"/>
              </a:p>
            </p:txBody>
          </p:sp>
          <p:sp>
            <p:nvSpPr>
              <p:cNvPr id="175" name="Freeform: Shape 174">
                <a:extLst>
                  <a:ext uri="{FF2B5EF4-FFF2-40B4-BE49-F238E27FC236}">
                    <a16:creationId xmlns:a16="http://schemas.microsoft.com/office/drawing/2014/main" id="{39752B24-1305-0BAD-4070-CCE4D468E482}"/>
                  </a:ext>
                </a:extLst>
              </p:cNvPr>
              <p:cNvSpPr/>
              <p:nvPr/>
            </p:nvSpPr>
            <p:spPr>
              <a:xfrm>
                <a:off x="4779690" y="2779446"/>
                <a:ext cx="2256831" cy="444584"/>
              </a:xfrm>
              <a:custGeom>
                <a:avLst/>
                <a:gdLst>
                  <a:gd name="connsiteX0" fmla="*/ 2256831 w 2256831"/>
                  <a:gd name="connsiteY0" fmla="*/ 444584 h 444584"/>
                  <a:gd name="connsiteX1" fmla="*/ 1507041 w 2256831"/>
                  <a:gd name="connsiteY1" fmla="*/ 444584 h 444584"/>
                  <a:gd name="connsiteX2" fmla="*/ 1047589 w 2256831"/>
                  <a:gd name="connsiteY2" fmla="*/ 0 h 444584"/>
                  <a:gd name="connsiteX3" fmla="*/ 839531 w 2256831"/>
                  <a:gd name="connsiteY3" fmla="*/ 0 h 444584"/>
                  <a:gd name="connsiteX4" fmla="*/ 757439 w 2256831"/>
                  <a:gd name="connsiteY4" fmla="*/ 0 h 444584"/>
                  <a:gd name="connsiteX5" fmla="*/ 0 w 2256831"/>
                  <a:gd name="connsiteY5" fmla="*/ 0 h 44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6831" h="444584">
                    <a:moveTo>
                      <a:pt x="2256831" y="444584"/>
                    </a:moveTo>
                    <a:lnTo>
                      <a:pt x="1507041" y="444584"/>
                    </a:lnTo>
                    <a:lnTo>
                      <a:pt x="1047589" y="0"/>
                    </a:lnTo>
                    <a:lnTo>
                      <a:pt x="839531" y="0"/>
                    </a:lnTo>
                    <a:moveTo>
                      <a:pt x="757439" y="0"/>
                    </a:moveTo>
                    <a:lnTo>
                      <a:pt x="0" y="0"/>
                    </a:lnTo>
                  </a:path>
                </a:pathLst>
              </a:custGeom>
              <a:noFill/>
              <a:ln w="18849" cap="flat">
                <a:solidFill>
                  <a:schemeClr val="accent6">
                    <a:lumMod val="50000"/>
                  </a:schemeClr>
                </a:solidFill>
                <a:prstDash val="solid"/>
                <a:miter/>
              </a:ln>
            </p:spPr>
            <p:txBody>
              <a:bodyPr rtlCol="0" anchor="ctr"/>
              <a:lstStyle/>
              <a:p>
                <a:endParaRPr lang="en-US"/>
              </a:p>
            </p:txBody>
          </p:sp>
          <p:sp>
            <p:nvSpPr>
              <p:cNvPr id="176" name="Freeform: Shape 175">
                <a:extLst>
                  <a:ext uri="{FF2B5EF4-FFF2-40B4-BE49-F238E27FC236}">
                    <a16:creationId xmlns:a16="http://schemas.microsoft.com/office/drawing/2014/main" id="{A69CCF29-2298-2E11-451A-EA7A7D15EB4D}"/>
                  </a:ext>
                </a:extLst>
              </p:cNvPr>
              <p:cNvSpPr/>
              <p:nvPr/>
            </p:nvSpPr>
            <p:spPr>
              <a:xfrm>
                <a:off x="4081180" y="3716798"/>
                <a:ext cx="2733789" cy="2693"/>
              </a:xfrm>
              <a:custGeom>
                <a:avLst/>
                <a:gdLst>
                  <a:gd name="connsiteX0" fmla="*/ 2733789 w 2733789"/>
                  <a:gd name="connsiteY0" fmla="*/ 0 h 2693"/>
                  <a:gd name="connsiteX1" fmla="*/ 0 w 2733789"/>
                  <a:gd name="connsiteY1" fmla="*/ 0 h 2693"/>
                </a:gdLst>
                <a:ahLst/>
                <a:cxnLst>
                  <a:cxn ang="0">
                    <a:pos x="connsiteX0" y="connsiteY0"/>
                  </a:cxn>
                  <a:cxn ang="0">
                    <a:pos x="connsiteX1" y="connsiteY1"/>
                  </a:cxn>
                </a:cxnLst>
                <a:rect l="l" t="t" r="r" b="b"/>
                <a:pathLst>
                  <a:path w="2733789" h="2693">
                    <a:moveTo>
                      <a:pt x="2733789" y="0"/>
                    </a:moveTo>
                    <a:lnTo>
                      <a:pt x="0" y="0"/>
                    </a:lnTo>
                  </a:path>
                </a:pathLst>
              </a:custGeom>
              <a:noFill/>
              <a:ln w="18849" cap="flat">
                <a:solidFill>
                  <a:schemeClr val="accent6">
                    <a:lumMod val="50000"/>
                  </a:schemeClr>
                </a:solid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766E7E46-EE8C-A3C3-8925-866CB123EBF7}"/>
                  </a:ext>
                </a:extLst>
              </p:cNvPr>
              <p:cNvSpPr/>
              <p:nvPr/>
            </p:nvSpPr>
            <p:spPr>
              <a:xfrm>
                <a:off x="5535509" y="2526243"/>
                <a:ext cx="91473" cy="91311"/>
              </a:xfrm>
              <a:custGeom>
                <a:avLst/>
                <a:gdLst>
                  <a:gd name="connsiteX0" fmla="*/ 48915 w 91473"/>
                  <a:gd name="connsiteY0" fmla="*/ 112 h 91311"/>
                  <a:gd name="connsiteX1" fmla="*/ 91361 w 91473"/>
                  <a:gd name="connsiteY1" fmla="*/ 48807 h 91311"/>
                  <a:gd name="connsiteX2" fmla="*/ 42559 w 91473"/>
                  <a:gd name="connsiteY2" fmla="*/ 91200 h 91311"/>
                  <a:gd name="connsiteX3" fmla="*/ 42559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1"/>
                      <a:pt x="91361" y="48807"/>
                    </a:cubicBezTo>
                    <a:cubicBezTo>
                      <a:pt x="89611" y="73962"/>
                      <a:pt x="67768" y="92950"/>
                      <a:pt x="42559" y="91200"/>
                    </a:cubicBezTo>
                    <a:lnTo>
                      <a:pt x="42559" y="91200"/>
                    </a:lnTo>
                    <a:cubicBezTo>
                      <a:pt x="17349" y="89449"/>
                      <a:pt x="-1639" y="67660"/>
                      <a:pt x="112" y="42505"/>
                    </a:cubicBezTo>
                    <a:cubicBezTo>
                      <a:pt x="1863" y="17349"/>
                      <a:pt x="23705" y="-1639"/>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193BF3DF-2569-0F49-441E-603F620F5E71}"/>
                  </a:ext>
                </a:extLst>
              </p:cNvPr>
              <p:cNvSpPr/>
              <p:nvPr/>
            </p:nvSpPr>
            <p:spPr>
              <a:xfrm>
                <a:off x="5535509" y="2735056"/>
                <a:ext cx="91473" cy="91311"/>
              </a:xfrm>
              <a:custGeom>
                <a:avLst/>
                <a:gdLst>
                  <a:gd name="connsiteX0" fmla="*/ 48915 w 91473"/>
                  <a:gd name="connsiteY0" fmla="*/ 112 h 91311"/>
                  <a:gd name="connsiteX1" fmla="*/ 91361 w 91473"/>
                  <a:gd name="connsiteY1" fmla="*/ 48807 h 91311"/>
                  <a:gd name="connsiteX2" fmla="*/ 42559 w 91473"/>
                  <a:gd name="connsiteY2" fmla="*/ 91200 h 91311"/>
                  <a:gd name="connsiteX3" fmla="*/ 42559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1"/>
                      <a:pt x="91361" y="48807"/>
                    </a:cubicBezTo>
                    <a:cubicBezTo>
                      <a:pt x="89611" y="73962"/>
                      <a:pt x="67768" y="92950"/>
                      <a:pt x="42559" y="91200"/>
                    </a:cubicBezTo>
                    <a:lnTo>
                      <a:pt x="42559" y="91200"/>
                    </a:lnTo>
                    <a:cubicBezTo>
                      <a:pt x="17349" y="89449"/>
                      <a:pt x="-1639" y="67660"/>
                      <a:pt x="112" y="42505"/>
                    </a:cubicBezTo>
                    <a:cubicBezTo>
                      <a:pt x="1863" y="17349"/>
                      <a:pt x="23705" y="-1639"/>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sp>
            <p:nvSpPr>
              <p:cNvPr id="179" name="Freeform: Shape 178">
                <a:extLst>
                  <a:ext uri="{FF2B5EF4-FFF2-40B4-BE49-F238E27FC236}">
                    <a16:creationId xmlns:a16="http://schemas.microsoft.com/office/drawing/2014/main" id="{D87993E7-A708-AD3E-B631-A3A43CD5C664}"/>
                  </a:ext>
                </a:extLst>
              </p:cNvPr>
              <p:cNvSpPr/>
              <p:nvPr/>
            </p:nvSpPr>
            <p:spPr>
              <a:xfrm>
                <a:off x="5453874" y="4633461"/>
                <a:ext cx="91473" cy="91311"/>
              </a:xfrm>
              <a:custGeom>
                <a:avLst/>
                <a:gdLst>
                  <a:gd name="connsiteX0" fmla="*/ 48915 w 91473"/>
                  <a:gd name="connsiteY0" fmla="*/ 112 h 91311"/>
                  <a:gd name="connsiteX1" fmla="*/ 91361 w 91473"/>
                  <a:gd name="connsiteY1" fmla="*/ 48807 h 91311"/>
                  <a:gd name="connsiteX2" fmla="*/ 42558 w 91473"/>
                  <a:gd name="connsiteY2" fmla="*/ 91200 h 91311"/>
                  <a:gd name="connsiteX3" fmla="*/ 42558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1"/>
                      <a:pt x="91361" y="48807"/>
                    </a:cubicBezTo>
                    <a:cubicBezTo>
                      <a:pt x="89611" y="73963"/>
                      <a:pt x="67768" y="92950"/>
                      <a:pt x="42558" y="91200"/>
                    </a:cubicBezTo>
                    <a:lnTo>
                      <a:pt x="42558" y="91200"/>
                    </a:lnTo>
                    <a:cubicBezTo>
                      <a:pt x="17349" y="89449"/>
                      <a:pt x="-1638" y="67660"/>
                      <a:pt x="112" y="42505"/>
                    </a:cubicBezTo>
                    <a:cubicBezTo>
                      <a:pt x="1863" y="17349"/>
                      <a:pt x="23705" y="-1639"/>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sp>
            <p:nvSpPr>
              <p:cNvPr id="180" name="Freeform: Shape 179">
                <a:extLst>
                  <a:ext uri="{FF2B5EF4-FFF2-40B4-BE49-F238E27FC236}">
                    <a16:creationId xmlns:a16="http://schemas.microsoft.com/office/drawing/2014/main" id="{35A798F8-F1F1-A6EE-B0A3-452DFA07F64A}"/>
                  </a:ext>
                </a:extLst>
              </p:cNvPr>
              <p:cNvSpPr/>
              <p:nvPr/>
            </p:nvSpPr>
            <p:spPr>
              <a:xfrm>
                <a:off x="5453874" y="4880491"/>
                <a:ext cx="91473" cy="91311"/>
              </a:xfrm>
              <a:custGeom>
                <a:avLst/>
                <a:gdLst>
                  <a:gd name="connsiteX0" fmla="*/ 48915 w 91473"/>
                  <a:gd name="connsiteY0" fmla="*/ 112 h 91311"/>
                  <a:gd name="connsiteX1" fmla="*/ 91361 w 91473"/>
                  <a:gd name="connsiteY1" fmla="*/ 48807 h 91311"/>
                  <a:gd name="connsiteX2" fmla="*/ 42558 w 91473"/>
                  <a:gd name="connsiteY2" fmla="*/ 91200 h 91311"/>
                  <a:gd name="connsiteX3" fmla="*/ 42558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1"/>
                      <a:pt x="91361" y="48807"/>
                    </a:cubicBezTo>
                    <a:cubicBezTo>
                      <a:pt x="89611" y="73963"/>
                      <a:pt x="67768" y="92951"/>
                      <a:pt x="42558" y="91200"/>
                    </a:cubicBezTo>
                    <a:lnTo>
                      <a:pt x="42558" y="91200"/>
                    </a:lnTo>
                    <a:cubicBezTo>
                      <a:pt x="17349" y="89449"/>
                      <a:pt x="-1638" y="67660"/>
                      <a:pt x="112" y="42505"/>
                    </a:cubicBezTo>
                    <a:cubicBezTo>
                      <a:pt x="1863" y="17349"/>
                      <a:pt x="23705" y="-1638"/>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9FC5EE13-DC69-E6FC-5FB1-33671CF51381}"/>
                  </a:ext>
                </a:extLst>
              </p:cNvPr>
              <p:cNvSpPr/>
              <p:nvPr/>
            </p:nvSpPr>
            <p:spPr>
              <a:xfrm>
                <a:off x="7279022" y="4243255"/>
                <a:ext cx="91473" cy="91311"/>
              </a:xfrm>
              <a:custGeom>
                <a:avLst/>
                <a:gdLst>
                  <a:gd name="connsiteX0" fmla="*/ 48915 w 91473"/>
                  <a:gd name="connsiteY0" fmla="*/ 112 h 91311"/>
                  <a:gd name="connsiteX1" fmla="*/ 91361 w 91473"/>
                  <a:gd name="connsiteY1" fmla="*/ 48807 h 91311"/>
                  <a:gd name="connsiteX2" fmla="*/ 42559 w 91473"/>
                  <a:gd name="connsiteY2" fmla="*/ 91200 h 91311"/>
                  <a:gd name="connsiteX3" fmla="*/ 42559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1"/>
                      <a:pt x="91361" y="48807"/>
                    </a:cubicBezTo>
                    <a:cubicBezTo>
                      <a:pt x="89611" y="73963"/>
                      <a:pt x="67768" y="92950"/>
                      <a:pt x="42559" y="91200"/>
                    </a:cubicBezTo>
                    <a:lnTo>
                      <a:pt x="42559" y="91200"/>
                    </a:lnTo>
                    <a:cubicBezTo>
                      <a:pt x="17349" y="89449"/>
                      <a:pt x="-1639" y="67660"/>
                      <a:pt x="112" y="42505"/>
                    </a:cubicBezTo>
                    <a:cubicBezTo>
                      <a:pt x="1863" y="17349"/>
                      <a:pt x="23705" y="-1639"/>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11BD6D7C-9E39-9948-2EDF-52AA74EAA176}"/>
                  </a:ext>
                </a:extLst>
              </p:cNvPr>
              <p:cNvSpPr/>
              <p:nvPr/>
            </p:nvSpPr>
            <p:spPr>
              <a:xfrm>
                <a:off x="6823880" y="3669203"/>
                <a:ext cx="91473" cy="91311"/>
              </a:xfrm>
              <a:custGeom>
                <a:avLst/>
                <a:gdLst>
                  <a:gd name="connsiteX0" fmla="*/ 48915 w 91473"/>
                  <a:gd name="connsiteY0" fmla="*/ 112 h 91311"/>
                  <a:gd name="connsiteX1" fmla="*/ 91361 w 91473"/>
                  <a:gd name="connsiteY1" fmla="*/ 48807 h 91311"/>
                  <a:gd name="connsiteX2" fmla="*/ 42559 w 91473"/>
                  <a:gd name="connsiteY2" fmla="*/ 91200 h 91311"/>
                  <a:gd name="connsiteX3" fmla="*/ 42559 w 91473"/>
                  <a:gd name="connsiteY3" fmla="*/ 91200 h 91311"/>
                  <a:gd name="connsiteX4" fmla="*/ 112 w 91473"/>
                  <a:gd name="connsiteY4" fmla="*/ 42505 h 91311"/>
                  <a:gd name="connsiteX5" fmla="*/ 48915 w 91473"/>
                  <a:gd name="connsiteY5" fmla="*/ 112 h 91311"/>
                  <a:gd name="connsiteX6" fmla="*/ 48915 w 91473"/>
                  <a:gd name="connsiteY6" fmla="*/ 112 h 9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73" h="91311">
                    <a:moveTo>
                      <a:pt x="48915" y="112"/>
                    </a:moveTo>
                    <a:cubicBezTo>
                      <a:pt x="74124" y="1863"/>
                      <a:pt x="93112" y="23652"/>
                      <a:pt x="91361" y="48807"/>
                    </a:cubicBezTo>
                    <a:cubicBezTo>
                      <a:pt x="89611" y="73963"/>
                      <a:pt x="67768" y="92950"/>
                      <a:pt x="42559" y="91200"/>
                    </a:cubicBezTo>
                    <a:lnTo>
                      <a:pt x="42559" y="91200"/>
                    </a:lnTo>
                    <a:cubicBezTo>
                      <a:pt x="17349" y="89449"/>
                      <a:pt x="-1639" y="67660"/>
                      <a:pt x="112" y="42505"/>
                    </a:cubicBezTo>
                    <a:cubicBezTo>
                      <a:pt x="1863" y="17349"/>
                      <a:pt x="23705" y="-1639"/>
                      <a:pt x="48915" y="112"/>
                    </a:cubicBezTo>
                    <a:lnTo>
                      <a:pt x="48915" y="112"/>
                    </a:lnTo>
                    <a:close/>
                  </a:path>
                </a:pathLst>
              </a:custGeom>
              <a:noFill/>
              <a:ln w="49816" cap="flat">
                <a:solidFill>
                  <a:schemeClr val="accent6">
                    <a:lumMod val="50000"/>
                  </a:schemeClr>
                </a:solidFill>
                <a:prstDash val="solid"/>
                <a:miter/>
              </a:ln>
            </p:spPr>
            <p:txBody>
              <a:bodyPr rtlCol="0" anchor="ctr"/>
              <a:lstStyle/>
              <a:p>
                <a:endParaRPr lang="en-US"/>
              </a:p>
            </p:txBody>
          </p:sp>
        </p:grpSp>
        <p:grpSp>
          <p:nvGrpSpPr>
            <p:cNvPr id="82" name="Graphic 2673">
              <a:extLst>
                <a:ext uri="{FF2B5EF4-FFF2-40B4-BE49-F238E27FC236}">
                  <a16:creationId xmlns:a16="http://schemas.microsoft.com/office/drawing/2014/main" id="{A84A224A-23A6-AECF-9268-9ABBB4A4B63F}"/>
                </a:ext>
              </a:extLst>
            </p:cNvPr>
            <p:cNvGrpSpPr/>
            <p:nvPr/>
          </p:nvGrpSpPr>
          <p:grpSpPr>
            <a:xfrm>
              <a:off x="2042510" y="2079917"/>
              <a:ext cx="3568051" cy="3246902"/>
              <a:chOff x="2042510" y="2079917"/>
              <a:chExt cx="3568051" cy="3246902"/>
            </a:xfrm>
            <a:solidFill>
              <a:schemeClr val="accent6">
                <a:lumMod val="50000"/>
              </a:schemeClr>
            </a:solidFill>
          </p:grpSpPr>
          <p:sp>
            <p:nvSpPr>
              <p:cNvPr id="148" name="Freeform: Shape 147">
                <a:extLst>
                  <a:ext uri="{FF2B5EF4-FFF2-40B4-BE49-F238E27FC236}">
                    <a16:creationId xmlns:a16="http://schemas.microsoft.com/office/drawing/2014/main" id="{E82F3DF2-9121-DCF8-A58C-1F7AD614ADFA}"/>
                  </a:ext>
                </a:extLst>
              </p:cNvPr>
              <p:cNvSpPr/>
              <p:nvPr/>
            </p:nvSpPr>
            <p:spPr>
              <a:xfrm>
                <a:off x="2416135" y="3095394"/>
                <a:ext cx="203373" cy="203042"/>
              </a:xfrm>
              <a:custGeom>
                <a:avLst/>
                <a:gdLst>
                  <a:gd name="connsiteX0" fmla="*/ 36616 w 203373"/>
                  <a:gd name="connsiteY0" fmla="*/ 23516 h 203042"/>
                  <a:gd name="connsiteX1" fmla="*/ 179819 w 203373"/>
                  <a:gd name="connsiteY1" fmla="*/ 36552 h 203042"/>
                  <a:gd name="connsiteX2" fmla="*/ 166757 w 203373"/>
                  <a:gd name="connsiteY2" fmla="*/ 179513 h 203042"/>
                  <a:gd name="connsiteX3" fmla="*/ 166757 w 203373"/>
                  <a:gd name="connsiteY3" fmla="*/ 179513 h 203042"/>
                  <a:gd name="connsiteX4" fmla="*/ 23554 w 203373"/>
                  <a:gd name="connsiteY4" fmla="*/ 166504 h 203042"/>
                  <a:gd name="connsiteX5" fmla="*/ 36616 w 203373"/>
                  <a:gd name="connsiteY5" fmla="*/ 23543 h 203042"/>
                  <a:gd name="connsiteX6" fmla="*/ 36616 w 203373"/>
                  <a:gd name="connsiteY6" fmla="*/ 23543 h 20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373" h="203042">
                    <a:moveTo>
                      <a:pt x="36616" y="23516"/>
                    </a:moveTo>
                    <a:cubicBezTo>
                      <a:pt x="79763" y="-12359"/>
                      <a:pt x="143891" y="-6541"/>
                      <a:pt x="179819" y="36552"/>
                    </a:cubicBezTo>
                    <a:cubicBezTo>
                      <a:pt x="215748" y="79645"/>
                      <a:pt x="209931" y="143638"/>
                      <a:pt x="166757" y="179513"/>
                    </a:cubicBezTo>
                    <a:lnTo>
                      <a:pt x="166757" y="179513"/>
                    </a:lnTo>
                    <a:cubicBezTo>
                      <a:pt x="123610" y="215414"/>
                      <a:pt x="59482" y="209570"/>
                      <a:pt x="23554" y="166504"/>
                    </a:cubicBezTo>
                    <a:cubicBezTo>
                      <a:pt x="-12375" y="123438"/>
                      <a:pt x="-6558" y="59418"/>
                      <a:pt x="36616" y="23543"/>
                    </a:cubicBezTo>
                    <a:lnTo>
                      <a:pt x="36616" y="23543"/>
                    </a:lnTo>
                    <a:close/>
                  </a:path>
                </a:pathLst>
              </a:custGeom>
              <a:grpFill/>
              <a:ln w="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DB8B9443-D046-BA99-584F-7B59E73C69E4}"/>
                  </a:ext>
                </a:extLst>
              </p:cNvPr>
              <p:cNvSpPr/>
              <p:nvPr/>
            </p:nvSpPr>
            <p:spPr>
              <a:xfrm>
                <a:off x="3231157" y="3072023"/>
                <a:ext cx="246997" cy="246588"/>
              </a:xfrm>
              <a:custGeom>
                <a:avLst/>
                <a:gdLst>
                  <a:gd name="connsiteX0" fmla="*/ 62955 w 349588"/>
                  <a:gd name="connsiteY0" fmla="*/ 40415 h 349009"/>
                  <a:gd name="connsiteX1" fmla="*/ 309096 w 349588"/>
                  <a:gd name="connsiteY1" fmla="*/ 62823 h 349009"/>
                  <a:gd name="connsiteX2" fmla="*/ 286661 w 349588"/>
                  <a:gd name="connsiteY2" fmla="*/ 308561 h 349009"/>
                  <a:gd name="connsiteX3" fmla="*/ 286634 w 349588"/>
                  <a:gd name="connsiteY3" fmla="*/ 308561 h 349009"/>
                  <a:gd name="connsiteX4" fmla="*/ 40493 w 349588"/>
                  <a:gd name="connsiteY4" fmla="*/ 286207 h 349009"/>
                  <a:gd name="connsiteX5" fmla="*/ 62928 w 349588"/>
                  <a:gd name="connsiteY5" fmla="*/ 40469 h 349009"/>
                  <a:gd name="connsiteX6" fmla="*/ 62955 w 349588"/>
                  <a:gd name="connsiteY6" fmla="*/ 40469 h 34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588" h="349009">
                    <a:moveTo>
                      <a:pt x="62955" y="40415"/>
                    </a:moveTo>
                    <a:cubicBezTo>
                      <a:pt x="137129" y="-21262"/>
                      <a:pt x="247312" y="-11216"/>
                      <a:pt x="309096" y="62823"/>
                    </a:cubicBezTo>
                    <a:cubicBezTo>
                      <a:pt x="370881" y="136863"/>
                      <a:pt x="360835" y="246884"/>
                      <a:pt x="286661" y="308561"/>
                    </a:cubicBezTo>
                    <a:lnTo>
                      <a:pt x="286634" y="308561"/>
                    </a:lnTo>
                    <a:cubicBezTo>
                      <a:pt x="212460" y="370265"/>
                      <a:pt x="102277" y="360246"/>
                      <a:pt x="40493" y="286207"/>
                    </a:cubicBezTo>
                    <a:cubicBezTo>
                      <a:pt x="-21292" y="212168"/>
                      <a:pt x="-11246" y="102146"/>
                      <a:pt x="62928" y="40469"/>
                    </a:cubicBezTo>
                    <a:lnTo>
                      <a:pt x="62955" y="40469"/>
                    </a:lnTo>
                    <a:close/>
                  </a:path>
                </a:pathLst>
              </a:custGeom>
              <a:grpFill/>
              <a:ln w="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769445B4-6CEA-C9A0-6AA4-0BF3B1662C04}"/>
                  </a:ext>
                </a:extLst>
              </p:cNvPr>
              <p:cNvSpPr/>
              <p:nvPr/>
            </p:nvSpPr>
            <p:spPr>
              <a:xfrm>
                <a:off x="3132014" y="4172668"/>
                <a:ext cx="101787" cy="101599"/>
              </a:xfrm>
              <a:custGeom>
                <a:avLst/>
                <a:gdLst>
                  <a:gd name="connsiteX0" fmla="*/ 18332 w 101787"/>
                  <a:gd name="connsiteY0" fmla="*/ 11769 h 101599"/>
                  <a:gd name="connsiteX1" fmla="*/ 90000 w 101787"/>
                  <a:gd name="connsiteY1" fmla="*/ 18287 h 101599"/>
                  <a:gd name="connsiteX2" fmla="*/ 83456 w 101787"/>
                  <a:gd name="connsiteY2" fmla="*/ 89821 h 101599"/>
                  <a:gd name="connsiteX3" fmla="*/ 83456 w 101787"/>
                  <a:gd name="connsiteY3" fmla="*/ 89821 h 101599"/>
                  <a:gd name="connsiteX4" fmla="*/ 11787 w 101787"/>
                  <a:gd name="connsiteY4" fmla="*/ 83303 h 101599"/>
                  <a:gd name="connsiteX5" fmla="*/ 18332 w 101787"/>
                  <a:gd name="connsiteY5" fmla="*/ 11769 h 101599"/>
                  <a:gd name="connsiteX6" fmla="*/ 18332 w 101787"/>
                  <a:gd name="connsiteY6" fmla="*/ 11769 h 10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87" h="101599">
                    <a:moveTo>
                      <a:pt x="18332" y="11769"/>
                    </a:moveTo>
                    <a:cubicBezTo>
                      <a:pt x="39932" y="-6195"/>
                      <a:pt x="72009" y="-3259"/>
                      <a:pt x="90000" y="18287"/>
                    </a:cubicBezTo>
                    <a:cubicBezTo>
                      <a:pt x="107992" y="39834"/>
                      <a:pt x="105056" y="71884"/>
                      <a:pt x="83456" y="89821"/>
                    </a:cubicBezTo>
                    <a:lnTo>
                      <a:pt x="83456" y="89821"/>
                    </a:lnTo>
                    <a:cubicBezTo>
                      <a:pt x="61855" y="107786"/>
                      <a:pt x="29778" y="104877"/>
                      <a:pt x="11787" y="83303"/>
                    </a:cubicBezTo>
                    <a:cubicBezTo>
                      <a:pt x="-6204" y="61730"/>
                      <a:pt x="-3269" y="29707"/>
                      <a:pt x="18332" y="11769"/>
                    </a:cubicBezTo>
                    <a:lnTo>
                      <a:pt x="18332" y="11769"/>
                    </a:lnTo>
                    <a:close/>
                  </a:path>
                </a:pathLst>
              </a:custGeom>
              <a:grpFill/>
              <a:ln w="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F0AFDCCE-F736-CD8D-FEEF-A002C95ABB89}"/>
                  </a:ext>
                </a:extLst>
              </p:cNvPr>
              <p:cNvSpPr/>
              <p:nvPr/>
            </p:nvSpPr>
            <p:spPr>
              <a:xfrm>
                <a:off x="3803649" y="3985646"/>
                <a:ext cx="485950" cy="485121"/>
              </a:xfrm>
              <a:custGeom>
                <a:avLst/>
                <a:gdLst>
                  <a:gd name="connsiteX0" fmla="*/ 87518 w 485950"/>
                  <a:gd name="connsiteY0" fmla="*/ 56180 h 485121"/>
                  <a:gd name="connsiteX1" fmla="*/ 429676 w 485950"/>
                  <a:gd name="connsiteY1" fmla="*/ 87315 h 485121"/>
                  <a:gd name="connsiteX2" fmla="*/ 398487 w 485950"/>
                  <a:gd name="connsiteY2" fmla="*/ 428907 h 485121"/>
                  <a:gd name="connsiteX3" fmla="*/ 398433 w 485950"/>
                  <a:gd name="connsiteY3" fmla="*/ 428907 h 485121"/>
                  <a:gd name="connsiteX4" fmla="*/ 56275 w 485950"/>
                  <a:gd name="connsiteY4" fmla="*/ 397827 h 485121"/>
                  <a:gd name="connsiteX5" fmla="*/ 87464 w 485950"/>
                  <a:gd name="connsiteY5" fmla="*/ 56234 h 485121"/>
                  <a:gd name="connsiteX6" fmla="*/ 87518 w 485950"/>
                  <a:gd name="connsiteY6" fmla="*/ 56234 h 48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950" h="485121">
                    <a:moveTo>
                      <a:pt x="87518" y="56180"/>
                    </a:moveTo>
                    <a:cubicBezTo>
                      <a:pt x="190618" y="-29548"/>
                      <a:pt x="343813" y="-15596"/>
                      <a:pt x="429676" y="87315"/>
                    </a:cubicBezTo>
                    <a:cubicBezTo>
                      <a:pt x="515538" y="190226"/>
                      <a:pt x="501587" y="343179"/>
                      <a:pt x="398487" y="428907"/>
                    </a:cubicBezTo>
                    <a:lnTo>
                      <a:pt x="398433" y="428907"/>
                    </a:lnTo>
                    <a:cubicBezTo>
                      <a:pt x="295333" y="514662"/>
                      <a:pt x="142138" y="500738"/>
                      <a:pt x="56275" y="397827"/>
                    </a:cubicBezTo>
                    <a:cubicBezTo>
                      <a:pt x="-29587" y="294915"/>
                      <a:pt x="-15636" y="141962"/>
                      <a:pt x="87464" y="56234"/>
                    </a:cubicBezTo>
                    <a:lnTo>
                      <a:pt x="87518" y="56234"/>
                    </a:lnTo>
                    <a:close/>
                  </a:path>
                </a:pathLst>
              </a:custGeom>
              <a:grpFill/>
              <a:ln w="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E76FF6DC-6AF1-27CC-4569-56B4A45D24D6}"/>
                  </a:ext>
                </a:extLst>
              </p:cNvPr>
              <p:cNvSpPr/>
              <p:nvPr/>
            </p:nvSpPr>
            <p:spPr>
              <a:xfrm>
                <a:off x="4616421" y="4465756"/>
                <a:ext cx="424061" cy="423302"/>
              </a:xfrm>
              <a:custGeom>
                <a:avLst/>
                <a:gdLst>
                  <a:gd name="connsiteX0" fmla="*/ 230063 w 424061"/>
                  <a:gd name="connsiteY0" fmla="*/ 422524 h 423302"/>
                  <a:gd name="connsiteX1" fmla="*/ 423281 w 424061"/>
                  <a:gd name="connsiteY1" fmla="*/ 193673 h 423302"/>
                  <a:gd name="connsiteX2" fmla="*/ 194053 w 424061"/>
                  <a:gd name="connsiteY2" fmla="*/ 778 h 423302"/>
                  <a:gd name="connsiteX3" fmla="*/ 193999 w 424061"/>
                  <a:gd name="connsiteY3" fmla="*/ 778 h 423302"/>
                  <a:gd name="connsiteX4" fmla="*/ 781 w 424061"/>
                  <a:gd name="connsiteY4" fmla="*/ 229629 h 423302"/>
                  <a:gd name="connsiteX5" fmla="*/ 230009 w 424061"/>
                  <a:gd name="connsiteY5" fmla="*/ 422524 h 423302"/>
                  <a:gd name="connsiteX6" fmla="*/ 230063 w 424061"/>
                  <a:gd name="connsiteY6" fmla="*/ 422524 h 42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061" h="423302">
                    <a:moveTo>
                      <a:pt x="230063" y="422524"/>
                    </a:moveTo>
                    <a:cubicBezTo>
                      <a:pt x="346710" y="412585"/>
                      <a:pt x="433246" y="310132"/>
                      <a:pt x="423281" y="193673"/>
                    </a:cubicBezTo>
                    <a:cubicBezTo>
                      <a:pt x="413342" y="77215"/>
                      <a:pt x="310700" y="-9160"/>
                      <a:pt x="194053" y="778"/>
                    </a:cubicBezTo>
                    <a:lnTo>
                      <a:pt x="193999" y="778"/>
                    </a:lnTo>
                    <a:cubicBezTo>
                      <a:pt x="77352" y="10717"/>
                      <a:pt x="-9184" y="113170"/>
                      <a:pt x="781" y="229629"/>
                    </a:cubicBezTo>
                    <a:cubicBezTo>
                      <a:pt x="10746" y="346088"/>
                      <a:pt x="113361" y="432462"/>
                      <a:pt x="230009" y="422524"/>
                    </a:cubicBezTo>
                    <a:lnTo>
                      <a:pt x="230063" y="422524"/>
                    </a:lnTo>
                    <a:close/>
                  </a:path>
                </a:pathLst>
              </a:custGeom>
              <a:grpFill/>
              <a:ln w="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E9249091-E584-CED5-9E56-86F3BB3D21D9}"/>
                  </a:ext>
                </a:extLst>
              </p:cNvPr>
              <p:cNvSpPr/>
              <p:nvPr/>
            </p:nvSpPr>
            <p:spPr>
              <a:xfrm>
                <a:off x="3825707" y="5111703"/>
                <a:ext cx="154244" cy="154002"/>
              </a:xfrm>
              <a:custGeom>
                <a:avLst/>
                <a:gdLst>
                  <a:gd name="connsiteX0" fmla="*/ 83667 w 154244"/>
                  <a:gd name="connsiteY0" fmla="*/ 153720 h 154002"/>
                  <a:gd name="connsiteX1" fmla="*/ 153962 w 154244"/>
                  <a:gd name="connsiteY1" fmla="*/ 70470 h 154002"/>
                  <a:gd name="connsiteX2" fmla="*/ 70577 w 154244"/>
                  <a:gd name="connsiteY2" fmla="*/ 282 h 154002"/>
                  <a:gd name="connsiteX3" fmla="*/ 70577 w 154244"/>
                  <a:gd name="connsiteY3" fmla="*/ 282 h 154002"/>
                  <a:gd name="connsiteX4" fmla="*/ 282 w 154244"/>
                  <a:gd name="connsiteY4" fmla="*/ 83532 h 154002"/>
                  <a:gd name="connsiteX5" fmla="*/ 83667 w 154244"/>
                  <a:gd name="connsiteY5" fmla="*/ 153720 h 154002"/>
                  <a:gd name="connsiteX6" fmla="*/ 83667 w 154244"/>
                  <a:gd name="connsiteY6" fmla="*/ 153720 h 15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44" h="154002">
                    <a:moveTo>
                      <a:pt x="83667" y="153720"/>
                    </a:moveTo>
                    <a:cubicBezTo>
                      <a:pt x="126113" y="150111"/>
                      <a:pt x="157571" y="112836"/>
                      <a:pt x="153962" y="70470"/>
                    </a:cubicBezTo>
                    <a:cubicBezTo>
                      <a:pt x="150353" y="28104"/>
                      <a:pt x="112997" y="-3327"/>
                      <a:pt x="70577" y="282"/>
                    </a:cubicBezTo>
                    <a:lnTo>
                      <a:pt x="70577" y="282"/>
                    </a:lnTo>
                    <a:cubicBezTo>
                      <a:pt x="28131" y="3891"/>
                      <a:pt x="-3327" y="41167"/>
                      <a:pt x="282" y="83532"/>
                    </a:cubicBezTo>
                    <a:cubicBezTo>
                      <a:pt x="3891" y="125898"/>
                      <a:pt x="41247" y="157329"/>
                      <a:pt x="83667" y="153720"/>
                    </a:cubicBezTo>
                    <a:lnTo>
                      <a:pt x="83667" y="153720"/>
                    </a:lnTo>
                    <a:close/>
                  </a:path>
                </a:pathLst>
              </a:custGeom>
              <a:grpFill/>
              <a:ln w="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ABA176BF-5139-B6F0-AA17-A636B6930039}"/>
                  </a:ext>
                </a:extLst>
              </p:cNvPr>
              <p:cNvSpPr/>
              <p:nvPr/>
            </p:nvSpPr>
            <p:spPr>
              <a:xfrm>
                <a:off x="3721949" y="2846304"/>
                <a:ext cx="702516" cy="701252"/>
              </a:xfrm>
              <a:custGeom>
                <a:avLst/>
                <a:gdLst>
                  <a:gd name="connsiteX0" fmla="*/ 280694 w 702516"/>
                  <a:gd name="connsiteY0" fmla="*/ 694028 h 701252"/>
                  <a:gd name="connsiteX1" fmla="*/ 695275 w 702516"/>
                  <a:gd name="connsiteY1" fmla="*/ 421115 h 701252"/>
                  <a:gd name="connsiteX2" fmla="*/ 421904 w 702516"/>
                  <a:gd name="connsiteY2" fmla="*/ 7234 h 701252"/>
                  <a:gd name="connsiteX3" fmla="*/ 421823 w 702516"/>
                  <a:gd name="connsiteY3" fmla="*/ 7234 h 701252"/>
                  <a:gd name="connsiteX4" fmla="*/ 7242 w 702516"/>
                  <a:gd name="connsiteY4" fmla="*/ 280147 h 701252"/>
                  <a:gd name="connsiteX5" fmla="*/ 280613 w 702516"/>
                  <a:gd name="connsiteY5" fmla="*/ 694028 h 701252"/>
                  <a:gd name="connsiteX6" fmla="*/ 280694 w 702516"/>
                  <a:gd name="connsiteY6" fmla="*/ 694028 h 70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516" h="701252">
                    <a:moveTo>
                      <a:pt x="280694" y="694028"/>
                    </a:moveTo>
                    <a:cubicBezTo>
                      <a:pt x="470680" y="732946"/>
                      <a:pt x="656276" y="610751"/>
                      <a:pt x="695275" y="421115"/>
                    </a:cubicBezTo>
                    <a:cubicBezTo>
                      <a:pt x="734274" y="231479"/>
                      <a:pt x="611863" y="46152"/>
                      <a:pt x="421904" y="7234"/>
                    </a:cubicBezTo>
                    <a:lnTo>
                      <a:pt x="421823" y="7234"/>
                    </a:lnTo>
                    <a:cubicBezTo>
                      <a:pt x="231837" y="-31711"/>
                      <a:pt x="46241" y="90484"/>
                      <a:pt x="7242" y="280147"/>
                    </a:cubicBezTo>
                    <a:cubicBezTo>
                      <a:pt x="-31757" y="469810"/>
                      <a:pt x="90654" y="655110"/>
                      <a:pt x="280613" y="694028"/>
                    </a:cubicBezTo>
                    <a:lnTo>
                      <a:pt x="280694" y="694028"/>
                    </a:lnTo>
                    <a:close/>
                  </a:path>
                </a:pathLst>
              </a:custGeom>
              <a:grpFill/>
              <a:ln w="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B9A7CC12-ABA8-789D-4973-FB9DCEE93406}"/>
                  </a:ext>
                </a:extLst>
              </p:cNvPr>
              <p:cNvSpPr/>
              <p:nvPr/>
            </p:nvSpPr>
            <p:spPr>
              <a:xfrm>
                <a:off x="3396938" y="4115084"/>
                <a:ext cx="217201" cy="216811"/>
              </a:xfrm>
              <a:custGeom>
                <a:avLst/>
                <a:gdLst>
                  <a:gd name="connsiteX0" fmla="*/ 86785 w 217201"/>
                  <a:gd name="connsiteY0" fmla="*/ 214576 h 216811"/>
                  <a:gd name="connsiteX1" fmla="*/ 214960 w 217201"/>
                  <a:gd name="connsiteY1" fmla="*/ 130195 h 216811"/>
                  <a:gd name="connsiteX2" fmla="*/ 130443 w 217201"/>
                  <a:gd name="connsiteY2" fmla="*/ 2236 h 216811"/>
                  <a:gd name="connsiteX3" fmla="*/ 130417 w 217201"/>
                  <a:gd name="connsiteY3" fmla="*/ 2236 h 216811"/>
                  <a:gd name="connsiteX4" fmla="*/ 2242 w 217201"/>
                  <a:gd name="connsiteY4" fmla="*/ 86590 h 216811"/>
                  <a:gd name="connsiteX5" fmla="*/ 86758 w 217201"/>
                  <a:gd name="connsiteY5" fmla="*/ 214549 h 216811"/>
                  <a:gd name="connsiteX6" fmla="*/ 86785 w 217201"/>
                  <a:gd name="connsiteY6" fmla="*/ 214549 h 21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201" h="216811">
                    <a:moveTo>
                      <a:pt x="86785" y="214576"/>
                    </a:moveTo>
                    <a:cubicBezTo>
                      <a:pt x="145526" y="226615"/>
                      <a:pt x="202894" y="188828"/>
                      <a:pt x="214960" y="130195"/>
                    </a:cubicBezTo>
                    <a:cubicBezTo>
                      <a:pt x="227026" y="71561"/>
                      <a:pt x="189185" y="14275"/>
                      <a:pt x="130443" y="2236"/>
                    </a:cubicBezTo>
                    <a:lnTo>
                      <a:pt x="130417" y="2236"/>
                    </a:lnTo>
                    <a:cubicBezTo>
                      <a:pt x="71676" y="-9803"/>
                      <a:pt x="14308" y="27984"/>
                      <a:pt x="2242" y="86590"/>
                    </a:cubicBezTo>
                    <a:cubicBezTo>
                      <a:pt x="-9824" y="145197"/>
                      <a:pt x="28017" y="202510"/>
                      <a:pt x="86758" y="214549"/>
                    </a:cubicBezTo>
                    <a:lnTo>
                      <a:pt x="86785" y="214549"/>
                    </a:lnTo>
                    <a:close/>
                  </a:path>
                </a:pathLst>
              </a:custGeom>
              <a:grpFill/>
              <a:ln w="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B833CDB1-8D92-7F47-1204-0BA6C4B494F5}"/>
                  </a:ext>
                </a:extLst>
              </p:cNvPr>
              <p:cNvSpPr/>
              <p:nvPr/>
            </p:nvSpPr>
            <p:spPr>
              <a:xfrm>
                <a:off x="4410330" y="3447828"/>
                <a:ext cx="538956" cy="537979"/>
              </a:xfrm>
              <a:custGeom>
                <a:avLst/>
                <a:gdLst>
                  <a:gd name="connsiteX0" fmla="*/ 183440 w 538956"/>
                  <a:gd name="connsiteY0" fmla="*/ 523811 h 537979"/>
                  <a:gd name="connsiteX1" fmla="*/ 524764 w 538956"/>
                  <a:gd name="connsiteY1" fmla="*/ 354913 h 537979"/>
                  <a:gd name="connsiteX2" fmla="*/ 355570 w 538956"/>
                  <a:gd name="connsiteY2" fmla="*/ 14183 h 537979"/>
                  <a:gd name="connsiteX3" fmla="*/ 355516 w 538956"/>
                  <a:gd name="connsiteY3" fmla="*/ 14183 h 537979"/>
                  <a:gd name="connsiteX4" fmla="*/ 14193 w 538956"/>
                  <a:gd name="connsiteY4" fmla="*/ 183053 h 537979"/>
                  <a:gd name="connsiteX5" fmla="*/ 183386 w 538956"/>
                  <a:gd name="connsiteY5" fmla="*/ 523784 h 537979"/>
                  <a:gd name="connsiteX6" fmla="*/ 183440 w 538956"/>
                  <a:gd name="connsiteY6" fmla="*/ 523784 h 53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956" h="537979">
                    <a:moveTo>
                      <a:pt x="183440" y="523811"/>
                    </a:moveTo>
                    <a:cubicBezTo>
                      <a:pt x="324408" y="571267"/>
                      <a:pt x="477227" y="495639"/>
                      <a:pt x="524764" y="354913"/>
                    </a:cubicBezTo>
                    <a:cubicBezTo>
                      <a:pt x="572300" y="214188"/>
                      <a:pt x="496538" y="61639"/>
                      <a:pt x="355570" y="14183"/>
                    </a:cubicBezTo>
                    <a:lnTo>
                      <a:pt x="355516" y="14183"/>
                    </a:lnTo>
                    <a:cubicBezTo>
                      <a:pt x="214548" y="-33300"/>
                      <a:pt x="61730" y="42328"/>
                      <a:pt x="14193" y="183053"/>
                    </a:cubicBezTo>
                    <a:cubicBezTo>
                      <a:pt x="-33344" y="323779"/>
                      <a:pt x="42419" y="476328"/>
                      <a:pt x="183386" y="523784"/>
                    </a:cubicBezTo>
                    <a:lnTo>
                      <a:pt x="183440" y="523784"/>
                    </a:lnTo>
                    <a:close/>
                  </a:path>
                </a:pathLst>
              </a:custGeom>
              <a:grpFill/>
              <a:ln w="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F72172B0-C417-AB03-DFDA-84EEDB65F3ED}"/>
                  </a:ext>
                </a:extLst>
              </p:cNvPr>
              <p:cNvSpPr/>
              <p:nvPr/>
            </p:nvSpPr>
            <p:spPr>
              <a:xfrm>
                <a:off x="4269696" y="2079917"/>
                <a:ext cx="264272" cy="263794"/>
              </a:xfrm>
              <a:custGeom>
                <a:avLst/>
                <a:gdLst>
                  <a:gd name="connsiteX0" fmla="*/ 70527 w 264272"/>
                  <a:gd name="connsiteY0" fmla="*/ 248534 h 263794"/>
                  <a:gd name="connsiteX1" fmla="*/ 248985 w 264272"/>
                  <a:gd name="connsiteY1" fmla="*/ 193429 h 263794"/>
                  <a:gd name="connsiteX2" fmla="*/ 193773 w 264272"/>
                  <a:gd name="connsiteY2" fmla="*/ 15266 h 263794"/>
                  <a:gd name="connsiteX3" fmla="*/ 193746 w 264272"/>
                  <a:gd name="connsiteY3" fmla="*/ 15266 h 263794"/>
                  <a:gd name="connsiteX4" fmla="*/ 15287 w 264272"/>
                  <a:gd name="connsiteY4" fmla="*/ 70371 h 263794"/>
                  <a:gd name="connsiteX5" fmla="*/ 70500 w 264272"/>
                  <a:gd name="connsiteY5" fmla="*/ 248534 h 263794"/>
                  <a:gd name="connsiteX6" fmla="*/ 70527 w 264272"/>
                  <a:gd name="connsiteY6" fmla="*/ 248534 h 26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272" h="263794">
                    <a:moveTo>
                      <a:pt x="70527" y="248534"/>
                    </a:moveTo>
                    <a:cubicBezTo>
                      <a:pt x="135058" y="282523"/>
                      <a:pt x="214942" y="257826"/>
                      <a:pt x="248985" y="193429"/>
                    </a:cubicBezTo>
                    <a:cubicBezTo>
                      <a:pt x="283029" y="129032"/>
                      <a:pt x="258304" y="49256"/>
                      <a:pt x="193773" y="15266"/>
                    </a:cubicBezTo>
                    <a:lnTo>
                      <a:pt x="193746" y="15266"/>
                    </a:lnTo>
                    <a:cubicBezTo>
                      <a:pt x="129214" y="-18723"/>
                      <a:pt x="49330" y="5947"/>
                      <a:pt x="15287" y="70371"/>
                    </a:cubicBezTo>
                    <a:cubicBezTo>
                      <a:pt x="-18756" y="134795"/>
                      <a:pt x="5968" y="214544"/>
                      <a:pt x="70500" y="248534"/>
                    </a:cubicBezTo>
                    <a:lnTo>
                      <a:pt x="70527" y="248534"/>
                    </a:lnTo>
                    <a:close/>
                  </a:path>
                </a:pathLst>
              </a:custGeom>
              <a:grpFill/>
              <a:ln w="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4590D6E0-AFDA-D186-BAF2-9075FC45641C}"/>
                  </a:ext>
                </a:extLst>
              </p:cNvPr>
              <p:cNvSpPr/>
              <p:nvPr/>
            </p:nvSpPr>
            <p:spPr>
              <a:xfrm>
                <a:off x="3865314" y="2134639"/>
                <a:ext cx="154618" cy="154355"/>
              </a:xfrm>
              <a:custGeom>
                <a:avLst/>
                <a:gdLst>
                  <a:gd name="connsiteX0" fmla="*/ 82655 w 154618"/>
                  <a:gd name="connsiteY0" fmla="*/ 190 h 154355"/>
                  <a:gd name="connsiteX1" fmla="*/ 154432 w 154618"/>
                  <a:gd name="connsiteY1" fmla="*/ 82524 h 154355"/>
                  <a:gd name="connsiteX2" fmla="*/ 71963 w 154618"/>
                  <a:gd name="connsiteY2" fmla="*/ 154166 h 154355"/>
                  <a:gd name="connsiteX3" fmla="*/ 71963 w 154618"/>
                  <a:gd name="connsiteY3" fmla="*/ 154166 h 154355"/>
                  <a:gd name="connsiteX4" fmla="*/ 186 w 154618"/>
                  <a:gd name="connsiteY4" fmla="*/ 71832 h 154355"/>
                  <a:gd name="connsiteX5" fmla="*/ 82655 w 154618"/>
                  <a:gd name="connsiteY5" fmla="*/ 190 h 154355"/>
                  <a:gd name="connsiteX6" fmla="*/ 82655 w 154618"/>
                  <a:gd name="connsiteY6" fmla="*/ 190 h 15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618" h="154355">
                    <a:moveTo>
                      <a:pt x="82655" y="190"/>
                    </a:moveTo>
                    <a:cubicBezTo>
                      <a:pt x="125236" y="3152"/>
                      <a:pt x="157368" y="39997"/>
                      <a:pt x="154432" y="82524"/>
                    </a:cubicBezTo>
                    <a:cubicBezTo>
                      <a:pt x="151496" y="125052"/>
                      <a:pt x="114544" y="157129"/>
                      <a:pt x="71963" y="154166"/>
                    </a:cubicBezTo>
                    <a:lnTo>
                      <a:pt x="71963" y="154166"/>
                    </a:lnTo>
                    <a:cubicBezTo>
                      <a:pt x="29382" y="151204"/>
                      <a:pt x="-2750" y="114359"/>
                      <a:pt x="186" y="71832"/>
                    </a:cubicBezTo>
                    <a:cubicBezTo>
                      <a:pt x="3122" y="29304"/>
                      <a:pt x="40074" y="-2773"/>
                      <a:pt x="82655" y="190"/>
                    </a:cubicBezTo>
                    <a:lnTo>
                      <a:pt x="82655" y="190"/>
                    </a:lnTo>
                    <a:close/>
                  </a:path>
                </a:pathLst>
              </a:custGeom>
              <a:grpFill/>
              <a:ln w="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529CA41D-9D13-EE8D-A648-4FE055EED1E2}"/>
                  </a:ext>
                </a:extLst>
              </p:cNvPr>
              <p:cNvSpPr/>
              <p:nvPr/>
            </p:nvSpPr>
            <p:spPr>
              <a:xfrm>
                <a:off x="5120251" y="2671012"/>
                <a:ext cx="217176" cy="216783"/>
              </a:xfrm>
              <a:custGeom>
                <a:avLst/>
                <a:gdLst>
                  <a:gd name="connsiteX0" fmla="*/ 73912 w 217176"/>
                  <a:gd name="connsiteY0" fmla="*/ 211076 h 216783"/>
                  <a:gd name="connsiteX1" fmla="*/ 211459 w 217176"/>
                  <a:gd name="connsiteY1" fmla="*/ 143016 h 216783"/>
                  <a:gd name="connsiteX2" fmla="*/ 143265 w 217176"/>
                  <a:gd name="connsiteY2" fmla="*/ 5711 h 216783"/>
                  <a:gd name="connsiteX3" fmla="*/ 143265 w 217176"/>
                  <a:gd name="connsiteY3" fmla="*/ 5711 h 216783"/>
                  <a:gd name="connsiteX4" fmla="*/ 5717 w 217176"/>
                  <a:gd name="connsiteY4" fmla="*/ 73771 h 216783"/>
                  <a:gd name="connsiteX5" fmla="*/ 73912 w 217176"/>
                  <a:gd name="connsiteY5" fmla="*/ 211076 h 216783"/>
                  <a:gd name="connsiteX6" fmla="*/ 73912 w 217176"/>
                  <a:gd name="connsiteY6" fmla="*/ 211076 h 21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6" h="216783">
                    <a:moveTo>
                      <a:pt x="73912" y="211076"/>
                    </a:moveTo>
                    <a:cubicBezTo>
                      <a:pt x="130714" y="230198"/>
                      <a:pt x="192310" y="199710"/>
                      <a:pt x="211459" y="143016"/>
                    </a:cubicBezTo>
                    <a:cubicBezTo>
                      <a:pt x="230609" y="86295"/>
                      <a:pt x="200093" y="24833"/>
                      <a:pt x="143265" y="5711"/>
                    </a:cubicBezTo>
                    <a:lnTo>
                      <a:pt x="143265" y="5711"/>
                    </a:lnTo>
                    <a:cubicBezTo>
                      <a:pt x="86463" y="-13412"/>
                      <a:pt x="24867" y="17050"/>
                      <a:pt x="5717" y="73771"/>
                    </a:cubicBezTo>
                    <a:cubicBezTo>
                      <a:pt x="-13432" y="130492"/>
                      <a:pt x="17083" y="191953"/>
                      <a:pt x="73912" y="211076"/>
                    </a:cubicBezTo>
                    <a:lnTo>
                      <a:pt x="73912" y="211076"/>
                    </a:lnTo>
                    <a:close/>
                  </a:path>
                </a:pathLst>
              </a:custGeom>
              <a:grpFill/>
              <a:ln w="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80546452-FD8E-2B31-65A3-52FCD6D9A284}"/>
                  </a:ext>
                </a:extLst>
              </p:cNvPr>
              <p:cNvSpPr/>
              <p:nvPr/>
            </p:nvSpPr>
            <p:spPr>
              <a:xfrm>
                <a:off x="4231117" y="5077206"/>
                <a:ext cx="250027" cy="249613"/>
              </a:xfrm>
              <a:custGeom>
                <a:avLst/>
                <a:gdLst>
                  <a:gd name="connsiteX0" fmla="*/ 27733 w 329106"/>
                  <a:gd name="connsiteY0" fmla="*/ 73043 h 328562"/>
                  <a:gd name="connsiteX1" fmla="*/ 255937 w 329106"/>
                  <a:gd name="connsiteY1" fmla="*/ 27688 h 328562"/>
                  <a:gd name="connsiteX2" fmla="*/ 301373 w 329106"/>
                  <a:gd name="connsiteY2" fmla="*/ 255488 h 328562"/>
                  <a:gd name="connsiteX3" fmla="*/ 301373 w 329106"/>
                  <a:gd name="connsiteY3" fmla="*/ 255488 h 328562"/>
                  <a:gd name="connsiteX4" fmla="*/ 73169 w 329106"/>
                  <a:gd name="connsiteY4" fmla="*/ 300897 h 328562"/>
                  <a:gd name="connsiteX5" fmla="*/ 27733 w 329106"/>
                  <a:gd name="connsiteY5" fmla="*/ 73097 h 328562"/>
                  <a:gd name="connsiteX6" fmla="*/ 27733 w 329106"/>
                  <a:gd name="connsiteY6" fmla="*/ 73097 h 32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06" h="328562">
                    <a:moveTo>
                      <a:pt x="27733" y="73043"/>
                    </a:moveTo>
                    <a:cubicBezTo>
                      <a:pt x="78206" y="-2397"/>
                      <a:pt x="180363" y="-22704"/>
                      <a:pt x="255937" y="27688"/>
                    </a:cubicBezTo>
                    <a:cubicBezTo>
                      <a:pt x="331511" y="78079"/>
                      <a:pt x="351846" y="180075"/>
                      <a:pt x="301373" y="255488"/>
                    </a:cubicBezTo>
                    <a:lnTo>
                      <a:pt x="301373" y="255488"/>
                    </a:lnTo>
                    <a:cubicBezTo>
                      <a:pt x="250901" y="330954"/>
                      <a:pt x="148744" y="351262"/>
                      <a:pt x="73169" y="300897"/>
                    </a:cubicBezTo>
                    <a:cubicBezTo>
                      <a:pt x="-2405" y="250532"/>
                      <a:pt x="-22740" y="148509"/>
                      <a:pt x="27733" y="73097"/>
                    </a:cubicBezTo>
                    <a:lnTo>
                      <a:pt x="27733" y="73097"/>
                    </a:lnTo>
                    <a:close/>
                  </a:path>
                </a:pathLst>
              </a:custGeom>
              <a:grpFill/>
              <a:ln w="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BF31C8F9-F0C0-A8E5-0981-35DADA6FF4F0}"/>
                  </a:ext>
                </a:extLst>
              </p:cNvPr>
              <p:cNvSpPr/>
              <p:nvPr/>
            </p:nvSpPr>
            <p:spPr>
              <a:xfrm>
                <a:off x="4450985" y="4139612"/>
                <a:ext cx="168027" cy="167728"/>
              </a:xfrm>
              <a:custGeom>
                <a:avLst/>
                <a:gdLst>
                  <a:gd name="connsiteX0" fmla="*/ 67131 w 168027"/>
                  <a:gd name="connsiteY0" fmla="*/ 165997 h 167728"/>
                  <a:gd name="connsiteX1" fmla="*/ 166298 w 168027"/>
                  <a:gd name="connsiteY1" fmla="*/ 100711 h 167728"/>
                  <a:gd name="connsiteX2" fmla="*/ 100905 w 168027"/>
                  <a:gd name="connsiteY2" fmla="*/ 1732 h 167728"/>
                  <a:gd name="connsiteX3" fmla="*/ 100905 w 168027"/>
                  <a:gd name="connsiteY3" fmla="*/ 1732 h 167728"/>
                  <a:gd name="connsiteX4" fmla="*/ 1737 w 168027"/>
                  <a:gd name="connsiteY4" fmla="*/ 66991 h 167728"/>
                  <a:gd name="connsiteX5" fmla="*/ 67131 w 168027"/>
                  <a:gd name="connsiteY5" fmla="*/ 165970 h 167728"/>
                  <a:gd name="connsiteX6" fmla="*/ 67131 w 168027"/>
                  <a:gd name="connsiteY6" fmla="*/ 165970 h 167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027" h="167728">
                    <a:moveTo>
                      <a:pt x="67131" y="165997"/>
                    </a:moveTo>
                    <a:cubicBezTo>
                      <a:pt x="112567" y="175315"/>
                      <a:pt x="156952" y="146093"/>
                      <a:pt x="166298" y="100711"/>
                    </a:cubicBezTo>
                    <a:cubicBezTo>
                      <a:pt x="175617" y="55356"/>
                      <a:pt x="146341" y="11024"/>
                      <a:pt x="100905" y="1732"/>
                    </a:cubicBezTo>
                    <a:lnTo>
                      <a:pt x="100905" y="1732"/>
                    </a:lnTo>
                    <a:cubicBezTo>
                      <a:pt x="55469" y="-7587"/>
                      <a:pt x="11083" y="21635"/>
                      <a:pt x="1737" y="66991"/>
                    </a:cubicBezTo>
                    <a:cubicBezTo>
                      <a:pt x="-7609" y="112346"/>
                      <a:pt x="21694" y="156678"/>
                      <a:pt x="67131" y="165970"/>
                    </a:cubicBezTo>
                    <a:lnTo>
                      <a:pt x="67131" y="165970"/>
                    </a:lnTo>
                    <a:close/>
                  </a:path>
                </a:pathLst>
              </a:custGeom>
              <a:grpFill/>
              <a:ln w="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55EC4D4A-55E7-B8F2-EC01-FFF751CA22BA}"/>
                  </a:ext>
                </a:extLst>
              </p:cNvPr>
              <p:cNvSpPr/>
              <p:nvPr/>
            </p:nvSpPr>
            <p:spPr>
              <a:xfrm>
                <a:off x="4435018" y="2511812"/>
                <a:ext cx="538921" cy="537932"/>
              </a:xfrm>
              <a:custGeom>
                <a:avLst/>
                <a:gdLst>
                  <a:gd name="connsiteX0" fmla="*/ 215339 w 538921"/>
                  <a:gd name="connsiteY0" fmla="*/ 532386 h 537932"/>
                  <a:gd name="connsiteX1" fmla="*/ 533365 w 538921"/>
                  <a:gd name="connsiteY1" fmla="*/ 323035 h 537932"/>
                  <a:gd name="connsiteX2" fmla="*/ 323664 w 538921"/>
                  <a:gd name="connsiteY2" fmla="*/ 5548 h 537932"/>
                  <a:gd name="connsiteX3" fmla="*/ 323583 w 538921"/>
                  <a:gd name="connsiteY3" fmla="*/ 5548 h 537932"/>
                  <a:gd name="connsiteX4" fmla="*/ 5557 w 538921"/>
                  <a:gd name="connsiteY4" fmla="*/ 214898 h 537932"/>
                  <a:gd name="connsiteX5" fmla="*/ 215258 w 538921"/>
                  <a:gd name="connsiteY5" fmla="*/ 532386 h 537932"/>
                  <a:gd name="connsiteX6" fmla="*/ 215339 w 538921"/>
                  <a:gd name="connsiteY6" fmla="*/ 532386 h 53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921" h="537932">
                    <a:moveTo>
                      <a:pt x="215339" y="532386"/>
                    </a:moveTo>
                    <a:cubicBezTo>
                      <a:pt x="361074" y="562254"/>
                      <a:pt x="503442" y="468500"/>
                      <a:pt x="533365" y="323035"/>
                    </a:cubicBezTo>
                    <a:cubicBezTo>
                      <a:pt x="563287" y="177569"/>
                      <a:pt x="469372" y="35416"/>
                      <a:pt x="323664" y="5548"/>
                    </a:cubicBezTo>
                    <a:lnTo>
                      <a:pt x="323583" y="5548"/>
                    </a:lnTo>
                    <a:cubicBezTo>
                      <a:pt x="177848" y="-24321"/>
                      <a:pt x="35479" y="69406"/>
                      <a:pt x="5557" y="214898"/>
                    </a:cubicBezTo>
                    <a:cubicBezTo>
                      <a:pt x="-24366" y="360391"/>
                      <a:pt x="69550" y="502517"/>
                      <a:pt x="215258" y="532386"/>
                    </a:cubicBezTo>
                    <a:lnTo>
                      <a:pt x="215339" y="532386"/>
                    </a:lnTo>
                    <a:close/>
                  </a:path>
                </a:pathLst>
              </a:custGeom>
              <a:grpFill/>
              <a:ln w="0"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ACF34AF6-769B-3935-C984-A42F6F5A707A}"/>
                  </a:ext>
                </a:extLst>
              </p:cNvPr>
              <p:cNvSpPr/>
              <p:nvPr/>
            </p:nvSpPr>
            <p:spPr>
              <a:xfrm>
                <a:off x="5183430" y="3632947"/>
                <a:ext cx="168027" cy="167728"/>
              </a:xfrm>
              <a:custGeom>
                <a:avLst/>
                <a:gdLst>
                  <a:gd name="connsiteX0" fmla="*/ 67131 w 168027"/>
                  <a:gd name="connsiteY0" fmla="*/ 165997 h 167728"/>
                  <a:gd name="connsiteX1" fmla="*/ 166298 w 168027"/>
                  <a:gd name="connsiteY1" fmla="*/ 100711 h 167728"/>
                  <a:gd name="connsiteX2" fmla="*/ 100904 w 168027"/>
                  <a:gd name="connsiteY2" fmla="*/ 1732 h 167728"/>
                  <a:gd name="connsiteX3" fmla="*/ 100904 w 168027"/>
                  <a:gd name="connsiteY3" fmla="*/ 1732 h 167728"/>
                  <a:gd name="connsiteX4" fmla="*/ 1737 w 168027"/>
                  <a:gd name="connsiteY4" fmla="*/ 66991 h 167728"/>
                  <a:gd name="connsiteX5" fmla="*/ 67131 w 168027"/>
                  <a:gd name="connsiteY5" fmla="*/ 165970 h 167728"/>
                  <a:gd name="connsiteX6" fmla="*/ 67131 w 168027"/>
                  <a:gd name="connsiteY6" fmla="*/ 165970 h 167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027" h="167728">
                    <a:moveTo>
                      <a:pt x="67131" y="165997"/>
                    </a:moveTo>
                    <a:cubicBezTo>
                      <a:pt x="112567" y="175315"/>
                      <a:pt x="156952" y="146093"/>
                      <a:pt x="166298" y="100711"/>
                    </a:cubicBezTo>
                    <a:cubicBezTo>
                      <a:pt x="175617" y="55356"/>
                      <a:pt x="146341" y="11024"/>
                      <a:pt x="100904" y="1732"/>
                    </a:cubicBezTo>
                    <a:lnTo>
                      <a:pt x="100904" y="1732"/>
                    </a:lnTo>
                    <a:cubicBezTo>
                      <a:pt x="55468" y="-7587"/>
                      <a:pt x="11083" y="21635"/>
                      <a:pt x="1737" y="66991"/>
                    </a:cubicBezTo>
                    <a:cubicBezTo>
                      <a:pt x="-7609" y="112346"/>
                      <a:pt x="21694" y="156678"/>
                      <a:pt x="67131" y="165970"/>
                    </a:cubicBezTo>
                    <a:lnTo>
                      <a:pt x="67131" y="165970"/>
                    </a:lnTo>
                    <a:close/>
                  </a:path>
                </a:pathLst>
              </a:custGeom>
              <a:grpFill/>
              <a:ln w="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706DADB4-35A3-E7A0-9BCB-CD947C9EEBF8}"/>
                  </a:ext>
                </a:extLst>
              </p:cNvPr>
              <p:cNvSpPr/>
              <p:nvPr/>
            </p:nvSpPr>
            <p:spPr>
              <a:xfrm>
                <a:off x="5491679" y="3657477"/>
                <a:ext cx="118882" cy="118669"/>
              </a:xfrm>
              <a:custGeom>
                <a:avLst/>
                <a:gdLst>
                  <a:gd name="connsiteX0" fmla="*/ 47496 w 118882"/>
                  <a:gd name="connsiteY0" fmla="*/ 117443 h 118669"/>
                  <a:gd name="connsiteX1" fmla="*/ 117657 w 118882"/>
                  <a:gd name="connsiteY1" fmla="*/ 71253 h 118669"/>
                  <a:gd name="connsiteX2" fmla="*/ 71386 w 118882"/>
                  <a:gd name="connsiteY2" fmla="*/ 1227 h 118669"/>
                  <a:gd name="connsiteX3" fmla="*/ 71386 w 118882"/>
                  <a:gd name="connsiteY3" fmla="*/ 1227 h 118669"/>
                  <a:gd name="connsiteX4" fmla="*/ 1225 w 118882"/>
                  <a:gd name="connsiteY4" fmla="*/ 47417 h 118669"/>
                  <a:gd name="connsiteX5" fmla="*/ 47496 w 118882"/>
                  <a:gd name="connsiteY5" fmla="*/ 117443 h 118669"/>
                  <a:gd name="connsiteX6" fmla="*/ 47496 w 118882"/>
                  <a:gd name="connsiteY6" fmla="*/ 117443 h 1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82" h="118669">
                    <a:moveTo>
                      <a:pt x="47496" y="117443"/>
                    </a:moveTo>
                    <a:cubicBezTo>
                      <a:pt x="79655" y="124041"/>
                      <a:pt x="111059" y="103357"/>
                      <a:pt x="117657" y="71253"/>
                    </a:cubicBezTo>
                    <a:cubicBezTo>
                      <a:pt x="124256" y="39148"/>
                      <a:pt x="103544" y="7798"/>
                      <a:pt x="71386" y="1227"/>
                    </a:cubicBezTo>
                    <a:lnTo>
                      <a:pt x="71386" y="1227"/>
                    </a:lnTo>
                    <a:cubicBezTo>
                      <a:pt x="39228" y="-5372"/>
                      <a:pt x="7824" y="15313"/>
                      <a:pt x="1225" y="47417"/>
                    </a:cubicBezTo>
                    <a:cubicBezTo>
                      <a:pt x="-5373" y="79521"/>
                      <a:pt x="15338" y="110871"/>
                      <a:pt x="47496" y="117443"/>
                    </a:cubicBezTo>
                    <a:lnTo>
                      <a:pt x="47496" y="117443"/>
                    </a:lnTo>
                    <a:close/>
                  </a:path>
                </a:pathLst>
              </a:custGeom>
              <a:grpFill/>
              <a:ln w="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5069FC40-5F99-54BE-42FB-62C8075BA691}"/>
                  </a:ext>
                </a:extLst>
              </p:cNvPr>
              <p:cNvSpPr/>
              <p:nvPr/>
            </p:nvSpPr>
            <p:spPr>
              <a:xfrm>
                <a:off x="4739950" y="4164142"/>
                <a:ext cx="118882" cy="118669"/>
              </a:xfrm>
              <a:custGeom>
                <a:avLst/>
                <a:gdLst>
                  <a:gd name="connsiteX0" fmla="*/ 47496 w 118882"/>
                  <a:gd name="connsiteY0" fmla="*/ 117443 h 118669"/>
                  <a:gd name="connsiteX1" fmla="*/ 117657 w 118882"/>
                  <a:gd name="connsiteY1" fmla="*/ 71253 h 118669"/>
                  <a:gd name="connsiteX2" fmla="*/ 71386 w 118882"/>
                  <a:gd name="connsiteY2" fmla="*/ 1227 h 118669"/>
                  <a:gd name="connsiteX3" fmla="*/ 71386 w 118882"/>
                  <a:gd name="connsiteY3" fmla="*/ 1227 h 118669"/>
                  <a:gd name="connsiteX4" fmla="*/ 1225 w 118882"/>
                  <a:gd name="connsiteY4" fmla="*/ 47417 h 118669"/>
                  <a:gd name="connsiteX5" fmla="*/ 47496 w 118882"/>
                  <a:gd name="connsiteY5" fmla="*/ 117443 h 118669"/>
                  <a:gd name="connsiteX6" fmla="*/ 47496 w 118882"/>
                  <a:gd name="connsiteY6" fmla="*/ 117443 h 1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82" h="118669">
                    <a:moveTo>
                      <a:pt x="47496" y="117443"/>
                    </a:moveTo>
                    <a:cubicBezTo>
                      <a:pt x="79655" y="124041"/>
                      <a:pt x="111058" y="103357"/>
                      <a:pt x="117657" y="71253"/>
                    </a:cubicBezTo>
                    <a:cubicBezTo>
                      <a:pt x="124256" y="39148"/>
                      <a:pt x="103544" y="7798"/>
                      <a:pt x="71386" y="1227"/>
                    </a:cubicBezTo>
                    <a:lnTo>
                      <a:pt x="71386" y="1227"/>
                    </a:lnTo>
                    <a:cubicBezTo>
                      <a:pt x="39228" y="-5372"/>
                      <a:pt x="7824" y="15313"/>
                      <a:pt x="1225" y="47417"/>
                    </a:cubicBezTo>
                    <a:cubicBezTo>
                      <a:pt x="-5373" y="79521"/>
                      <a:pt x="15338" y="110871"/>
                      <a:pt x="47496" y="117443"/>
                    </a:cubicBezTo>
                    <a:lnTo>
                      <a:pt x="47496" y="117443"/>
                    </a:lnTo>
                    <a:close/>
                  </a:path>
                </a:pathLst>
              </a:custGeom>
              <a:grpFill/>
              <a:ln w="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F80E4852-6AB0-A584-9719-D444D2094BE2}"/>
                  </a:ext>
                </a:extLst>
              </p:cNvPr>
              <p:cNvSpPr/>
              <p:nvPr/>
            </p:nvSpPr>
            <p:spPr>
              <a:xfrm>
                <a:off x="5189281" y="3139460"/>
                <a:ext cx="115179" cy="114950"/>
              </a:xfrm>
              <a:custGeom>
                <a:avLst/>
                <a:gdLst>
                  <a:gd name="connsiteX0" fmla="*/ 46008 w 115179"/>
                  <a:gd name="connsiteY0" fmla="*/ 113765 h 114950"/>
                  <a:gd name="connsiteX1" fmla="*/ 113987 w 115179"/>
                  <a:gd name="connsiteY1" fmla="*/ 69030 h 114950"/>
                  <a:gd name="connsiteX2" fmla="*/ 69171 w 115179"/>
                  <a:gd name="connsiteY2" fmla="*/ 1185 h 114950"/>
                  <a:gd name="connsiteX3" fmla="*/ 69171 w 115179"/>
                  <a:gd name="connsiteY3" fmla="*/ 1185 h 114950"/>
                  <a:gd name="connsiteX4" fmla="*/ 1192 w 115179"/>
                  <a:gd name="connsiteY4" fmla="*/ 45921 h 114950"/>
                  <a:gd name="connsiteX5" fmla="*/ 46008 w 115179"/>
                  <a:gd name="connsiteY5" fmla="*/ 113765 h 114950"/>
                  <a:gd name="connsiteX6" fmla="*/ 46008 w 115179"/>
                  <a:gd name="connsiteY6" fmla="*/ 113765 h 11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179" h="114950">
                    <a:moveTo>
                      <a:pt x="46008" y="113765"/>
                    </a:moveTo>
                    <a:cubicBezTo>
                      <a:pt x="77143" y="120149"/>
                      <a:pt x="107577" y="100110"/>
                      <a:pt x="113987" y="69030"/>
                    </a:cubicBezTo>
                    <a:cubicBezTo>
                      <a:pt x="120398" y="37949"/>
                      <a:pt x="100306" y="7541"/>
                      <a:pt x="69171" y="1185"/>
                    </a:cubicBezTo>
                    <a:lnTo>
                      <a:pt x="69171" y="1185"/>
                    </a:lnTo>
                    <a:cubicBezTo>
                      <a:pt x="38036" y="-5198"/>
                      <a:pt x="7602" y="14840"/>
                      <a:pt x="1192" y="45921"/>
                    </a:cubicBezTo>
                    <a:cubicBezTo>
                      <a:pt x="-5218" y="77002"/>
                      <a:pt x="14874" y="107409"/>
                      <a:pt x="46008" y="113765"/>
                    </a:cubicBezTo>
                    <a:lnTo>
                      <a:pt x="46008" y="113765"/>
                    </a:lnTo>
                    <a:close/>
                  </a:path>
                </a:pathLst>
              </a:custGeom>
              <a:grpFill/>
              <a:ln w="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EEAFA81D-974D-B4CF-1FCA-C7C2BCD14A2B}"/>
                  </a:ext>
                </a:extLst>
              </p:cNvPr>
              <p:cNvSpPr/>
              <p:nvPr/>
            </p:nvSpPr>
            <p:spPr>
              <a:xfrm>
                <a:off x="4009503" y="3608418"/>
                <a:ext cx="217176" cy="216783"/>
              </a:xfrm>
              <a:custGeom>
                <a:avLst/>
                <a:gdLst>
                  <a:gd name="connsiteX0" fmla="*/ 73912 w 217176"/>
                  <a:gd name="connsiteY0" fmla="*/ 211076 h 216783"/>
                  <a:gd name="connsiteX1" fmla="*/ 211459 w 217176"/>
                  <a:gd name="connsiteY1" fmla="*/ 143016 h 216783"/>
                  <a:gd name="connsiteX2" fmla="*/ 143265 w 217176"/>
                  <a:gd name="connsiteY2" fmla="*/ 5711 h 216783"/>
                  <a:gd name="connsiteX3" fmla="*/ 143265 w 217176"/>
                  <a:gd name="connsiteY3" fmla="*/ 5711 h 216783"/>
                  <a:gd name="connsiteX4" fmla="*/ 5717 w 217176"/>
                  <a:gd name="connsiteY4" fmla="*/ 73771 h 216783"/>
                  <a:gd name="connsiteX5" fmla="*/ 73912 w 217176"/>
                  <a:gd name="connsiteY5" fmla="*/ 211076 h 216783"/>
                  <a:gd name="connsiteX6" fmla="*/ 73912 w 217176"/>
                  <a:gd name="connsiteY6" fmla="*/ 211076 h 216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6" h="216783">
                    <a:moveTo>
                      <a:pt x="73912" y="211076"/>
                    </a:moveTo>
                    <a:cubicBezTo>
                      <a:pt x="130714" y="230198"/>
                      <a:pt x="192310" y="199710"/>
                      <a:pt x="211459" y="143016"/>
                    </a:cubicBezTo>
                    <a:cubicBezTo>
                      <a:pt x="230609" y="86295"/>
                      <a:pt x="200094" y="24833"/>
                      <a:pt x="143265" y="5711"/>
                    </a:cubicBezTo>
                    <a:lnTo>
                      <a:pt x="143265" y="5711"/>
                    </a:lnTo>
                    <a:cubicBezTo>
                      <a:pt x="86463" y="-13412"/>
                      <a:pt x="24867" y="17050"/>
                      <a:pt x="5717" y="73771"/>
                    </a:cubicBezTo>
                    <a:cubicBezTo>
                      <a:pt x="-13432" y="130492"/>
                      <a:pt x="17083" y="191953"/>
                      <a:pt x="73912" y="211076"/>
                    </a:cubicBezTo>
                    <a:lnTo>
                      <a:pt x="73912" y="211076"/>
                    </a:lnTo>
                    <a:close/>
                  </a:path>
                </a:pathLst>
              </a:custGeom>
              <a:grpFill/>
              <a:ln w="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A12D6F3F-9783-3956-9E0B-BF554CB90047}"/>
                  </a:ext>
                </a:extLst>
              </p:cNvPr>
              <p:cNvSpPr/>
              <p:nvPr/>
            </p:nvSpPr>
            <p:spPr>
              <a:xfrm>
                <a:off x="5187120" y="4619769"/>
                <a:ext cx="118882" cy="118669"/>
              </a:xfrm>
              <a:custGeom>
                <a:avLst/>
                <a:gdLst>
                  <a:gd name="connsiteX0" fmla="*/ 47496 w 118882"/>
                  <a:gd name="connsiteY0" fmla="*/ 117443 h 118669"/>
                  <a:gd name="connsiteX1" fmla="*/ 117657 w 118882"/>
                  <a:gd name="connsiteY1" fmla="*/ 71253 h 118669"/>
                  <a:gd name="connsiteX2" fmla="*/ 71386 w 118882"/>
                  <a:gd name="connsiteY2" fmla="*/ 1227 h 118669"/>
                  <a:gd name="connsiteX3" fmla="*/ 71386 w 118882"/>
                  <a:gd name="connsiteY3" fmla="*/ 1227 h 118669"/>
                  <a:gd name="connsiteX4" fmla="*/ 1225 w 118882"/>
                  <a:gd name="connsiteY4" fmla="*/ 47417 h 118669"/>
                  <a:gd name="connsiteX5" fmla="*/ 47496 w 118882"/>
                  <a:gd name="connsiteY5" fmla="*/ 117443 h 118669"/>
                  <a:gd name="connsiteX6" fmla="*/ 47496 w 118882"/>
                  <a:gd name="connsiteY6" fmla="*/ 117443 h 11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82" h="118669">
                    <a:moveTo>
                      <a:pt x="47496" y="117443"/>
                    </a:moveTo>
                    <a:cubicBezTo>
                      <a:pt x="79655" y="124042"/>
                      <a:pt x="111058" y="103357"/>
                      <a:pt x="117657" y="71253"/>
                    </a:cubicBezTo>
                    <a:cubicBezTo>
                      <a:pt x="124256" y="39149"/>
                      <a:pt x="103544" y="7798"/>
                      <a:pt x="71386" y="1227"/>
                    </a:cubicBezTo>
                    <a:lnTo>
                      <a:pt x="71386" y="1227"/>
                    </a:lnTo>
                    <a:cubicBezTo>
                      <a:pt x="39228" y="-5372"/>
                      <a:pt x="7824" y="15313"/>
                      <a:pt x="1225" y="47417"/>
                    </a:cubicBezTo>
                    <a:cubicBezTo>
                      <a:pt x="-5373" y="79521"/>
                      <a:pt x="15338" y="110871"/>
                      <a:pt x="47496" y="117443"/>
                    </a:cubicBezTo>
                    <a:lnTo>
                      <a:pt x="47496" y="117443"/>
                    </a:lnTo>
                    <a:close/>
                  </a:path>
                </a:pathLst>
              </a:custGeom>
              <a:grpFill/>
              <a:ln w="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74F065AD-9B07-5C3F-A92A-98DDF952E644}"/>
                  </a:ext>
                </a:extLst>
              </p:cNvPr>
              <p:cNvSpPr/>
              <p:nvPr/>
            </p:nvSpPr>
            <p:spPr>
              <a:xfrm>
                <a:off x="2042510" y="3135249"/>
                <a:ext cx="123569" cy="123357"/>
              </a:xfrm>
              <a:custGeom>
                <a:avLst/>
                <a:gdLst>
                  <a:gd name="connsiteX0" fmla="*/ 22234 w 123569"/>
                  <a:gd name="connsiteY0" fmla="*/ 14284 h 123357"/>
                  <a:gd name="connsiteX1" fmla="*/ 109254 w 123569"/>
                  <a:gd name="connsiteY1" fmla="*/ 22203 h 123357"/>
                  <a:gd name="connsiteX2" fmla="*/ 101336 w 123569"/>
                  <a:gd name="connsiteY2" fmla="*/ 109062 h 123357"/>
                  <a:gd name="connsiteX3" fmla="*/ 101336 w 123569"/>
                  <a:gd name="connsiteY3" fmla="*/ 109062 h 123357"/>
                  <a:gd name="connsiteX4" fmla="*/ 14315 w 123569"/>
                  <a:gd name="connsiteY4" fmla="*/ 101143 h 123357"/>
                  <a:gd name="connsiteX5" fmla="*/ 22234 w 123569"/>
                  <a:gd name="connsiteY5" fmla="*/ 14284 h 123357"/>
                  <a:gd name="connsiteX6" fmla="*/ 22234 w 123569"/>
                  <a:gd name="connsiteY6" fmla="*/ 14284 h 12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69" h="123357">
                    <a:moveTo>
                      <a:pt x="22234" y="14284"/>
                    </a:moveTo>
                    <a:cubicBezTo>
                      <a:pt x="48440" y="-7505"/>
                      <a:pt x="87412" y="-3976"/>
                      <a:pt x="109254" y="22203"/>
                    </a:cubicBezTo>
                    <a:cubicBezTo>
                      <a:pt x="131097" y="48382"/>
                      <a:pt x="127542" y="87273"/>
                      <a:pt x="101336" y="109062"/>
                    </a:cubicBezTo>
                    <a:lnTo>
                      <a:pt x="101336" y="109062"/>
                    </a:lnTo>
                    <a:cubicBezTo>
                      <a:pt x="75130" y="130878"/>
                      <a:pt x="36158" y="127322"/>
                      <a:pt x="14315" y="101143"/>
                    </a:cubicBezTo>
                    <a:cubicBezTo>
                      <a:pt x="-7527" y="74965"/>
                      <a:pt x="-3972" y="36073"/>
                      <a:pt x="22234" y="14284"/>
                    </a:cubicBezTo>
                    <a:lnTo>
                      <a:pt x="22234" y="14284"/>
                    </a:lnTo>
                    <a:close/>
                  </a:path>
                </a:pathLst>
              </a:custGeom>
              <a:grpFill/>
              <a:ln w="0" cap="flat">
                <a:noFill/>
                <a:prstDash val="solid"/>
                <a:miter/>
              </a:ln>
            </p:spPr>
            <p:txBody>
              <a:bodyPr rtlCol="0" anchor="ctr"/>
              <a:lstStyle/>
              <a:p>
                <a:endParaRPr lang="en-US"/>
              </a:p>
            </p:txBody>
          </p:sp>
        </p:grpSp>
        <p:grpSp>
          <p:nvGrpSpPr>
            <p:cNvPr id="83" name="Graphic 2673">
              <a:extLst>
                <a:ext uri="{FF2B5EF4-FFF2-40B4-BE49-F238E27FC236}">
                  <a16:creationId xmlns:a16="http://schemas.microsoft.com/office/drawing/2014/main" id="{F3AB2377-D6E0-8F19-66DA-214D37A83A0B}"/>
                </a:ext>
              </a:extLst>
            </p:cNvPr>
            <p:cNvGrpSpPr/>
            <p:nvPr/>
          </p:nvGrpSpPr>
          <p:grpSpPr>
            <a:xfrm>
              <a:off x="2784258" y="2113999"/>
              <a:ext cx="3645985" cy="3046991"/>
              <a:chOff x="2784258" y="2113999"/>
              <a:chExt cx="3645985" cy="3046991"/>
            </a:xfrm>
            <a:solidFill>
              <a:srgbClr val="00ABAB"/>
            </a:solidFill>
          </p:grpSpPr>
          <p:sp>
            <p:nvSpPr>
              <p:cNvPr id="141" name="Freeform: Shape 140">
                <a:extLst>
                  <a:ext uri="{FF2B5EF4-FFF2-40B4-BE49-F238E27FC236}">
                    <a16:creationId xmlns:a16="http://schemas.microsoft.com/office/drawing/2014/main" id="{1061A14E-A44D-1494-E516-C1EDA419C5B9}"/>
                  </a:ext>
                </a:extLst>
              </p:cNvPr>
              <p:cNvSpPr/>
              <p:nvPr/>
            </p:nvSpPr>
            <p:spPr>
              <a:xfrm>
                <a:off x="4620852" y="2113999"/>
                <a:ext cx="260981" cy="54752"/>
              </a:xfrm>
              <a:custGeom>
                <a:avLst/>
                <a:gdLst>
                  <a:gd name="connsiteX0" fmla="*/ 26543 w 260981"/>
                  <a:gd name="connsiteY0" fmla="*/ 11 h 54752"/>
                  <a:gd name="connsiteX1" fmla="*/ 67 w 260981"/>
                  <a:gd name="connsiteY1" fmla="*/ 25462 h 54752"/>
                  <a:gd name="connsiteX2" fmla="*/ 25492 w 260981"/>
                  <a:gd name="connsiteY2" fmla="*/ 54685 h 54752"/>
                  <a:gd name="connsiteX3" fmla="*/ 54768 w 260981"/>
                  <a:gd name="connsiteY3" fmla="*/ 29287 h 54752"/>
                  <a:gd name="connsiteX4" fmla="*/ 29344 w 260981"/>
                  <a:gd name="connsiteY4" fmla="*/ 64 h 54752"/>
                  <a:gd name="connsiteX5" fmla="*/ 26543 w 260981"/>
                  <a:gd name="connsiteY5" fmla="*/ 11 h 54752"/>
                  <a:gd name="connsiteX6" fmla="*/ 26543 w 260981"/>
                  <a:gd name="connsiteY6" fmla="*/ 11 h 54752"/>
                  <a:gd name="connsiteX7" fmla="*/ 129615 w 260981"/>
                  <a:gd name="connsiteY7" fmla="*/ 11 h 54752"/>
                  <a:gd name="connsiteX8" fmla="*/ 103140 w 260981"/>
                  <a:gd name="connsiteY8" fmla="*/ 25462 h 54752"/>
                  <a:gd name="connsiteX9" fmla="*/ 128565 w 260981"/>
                  <a:gd name="connsiteY9" fmla="*/ 54685 h 54752"/>
                  <a:gd name="connsiteX10" fmla="*/ 157841 w 260981"/>
                  <a:gd name="connsiteY10" fmla="*/ 29287 h 54752"/>
                  <a:gd name="connsiteX11" fmla="*/ 132417 w 260981"/>
                  <a:gd name="connsiteY11" fmla="*/ 64 h 54752"/>
                  <a:gd name="connsiteX12" fmla="*/ 129615 w 260981"/>
                  <a:gd name="connsiteY12" fmla="*/ 11 h 54752"/>
                  <a:gd name="connsiteX13" fmla="*/ 129615 w 260981"/>
                  <a:gd name="connsiteY13" fmla="*/ 11 h 54752"/>
                  <a:gd name="connsiteX14" fmla="*/ 232688 w 260981"/>
                  <a:gd name="connsiteY14" fmla="*/ 11 h 54752"/>
                  <a:gd name="connsiteX15" fmla="*/ 206213 w 260981"/>
                  <a:gd name="connsiteY15" fmla="*/ 25462 h 54752"/>
                  <a:gd name="connsiteX16" fmla="*/ 231638 w 260981"/>
                  <a:gd name="connsiteY16" fmla="*/ 54685 h 54752"/>
                  <a:gd name="connsiteX17" fmla="*/ 260914 w 260981"/>
                  <a:gd name="connsiteY17" fmla="*/ 29287 h 54752"/>
                  <a:gd name="connsiteX18" fmla="*/ 235489 w 260981"/>
                  <a:gd name="connsiteY18" fmla="*/ 64 h 54752"/>
                  <a:gd name="connsiteX19" fmla="*/ 232688 w 260981"/>
                  <a:gd name="connsiteY19" fmla="*/ 11 h 54752"/>
                  <a:gd name="connsiteX20" fmla="*/ 232688 w 260981"/>
                  <a:gd name="connsiteY20" fmla="*/ 11 h 5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2">
                    <a:moveTo>
                      <a:pt x="26543" y="11"/>
                    </a:moveTo>
                    <a:cubicBezTo>
                      <a:pt x="12645" y="441"/>
                      <a:pt x="1064" y="11322"/>
                      <a:pt x="67" y="25462"/>
                    </a:cubicBezTo>
                    <a:cubicBezTo>
                      <a:pt x="-983" y="40545"/>
                      <a:pt x="10383" y="53634"/>
                      <a:pt x="25492" y="54685"/>
                    </a:cubicBezTo>
                    <a:cubicBezTo>
                      <a:pt x="40602" y="55735"/>
                      <a:pt x="53718" y="44369"/>
                      <a:pt x="54768" y="29287"/>
                    </a:cubicBezTo>
                    <a:cubicBezTo>
                      <a:pt x="55819" y="14204"/>
                      <a:pt x="44453" y="1115"/>
                      <a:pt x="29344" y="64"/>
                    </a:cubicBezTo>
                    <a:cubicBezTo>
                      <a:pt x="28401" y="11"/>
                      <a:pt x="27458" y="-16"/>
                      <a:pt x="26543" y="11"/>
                    </a:cubicBezTo>
                    <a:lnTo>
                      <a:pt x="26543" y="11"/>
                    </a:lnTo>
                    <a:close/>
                    <a:moveTo>
                      <a:pt x="129615" y="11"/>
                    </a:moveTo>
                    <a:cubicBezTo>
                      <a:pt x="115718" y="441"/>
                      <a:pt x="104137" y="11322"/>
                      <a:pt x="103140" y="25462"/>
                    </a:cubicBezTo>
                    <a:cubicBezTo>
                      <a:pt x="102090" y="40545"/>
                      <a:pt x="113456" y="53634"/>
                      <a:pt x="128565" y="54685"/>
                    </a:cubicBezTo>
                    <a:cubicBezTo>
                      <a:pt x="143675" y="55735"/>
                      <a:pt x="156791" y="44369"/>
                      <a:pt x="157841" y="29287"/>
                    </a:cubicBezTo>
                    <a:cubicBezTo>
                      <a:pt x="158892" y="14204"/>
                      <a:pt x="147526" y="1115"/>
                      <a:pt x="132417" y="64"/>
                    </a:cubicBezTo>
                    <a:cubicBezTo>
                      <a:pt x="131474" y="11"/>
                      <a:pt x="130531" y="-16"/>
                      <a:pt x="129615" y="11"/>
                    </a:cubicBezTo>
                    <a:lnTo>
                      <a:pt x="129615" y="11"/>
                    </a:lnTo>
                    <a:close/>
                    <a:moveTo>
                      <a:pt x="232688" y="11"/>
                    </a:moveTo>
                    <a:cubicBezTo>
                      <a:pt x="218791" y="441"/>
                      <a:pt x="207210" y="11322"/>
                      <a:pt x="206213" y="25462"/>
                    </a:cubicBezTo>
                    <a:cubicBezTo>
                      <a:pt x="205163" y="40545"/>
                      <a:pt x="216529" y="53634"/>
                      <a:pt x="231638" y="54685"/>
                    </a:cubicBezTo>
                    <a:cubicBezTo>
                      <a:pt x="246747" y="55735"/>
                      <a:pt x="259864" y="44369"/>
                      <a:pt x="260914" y="29287"/>
                    </a:cubicBezTo>
                    <a:cubicBezTo>
                      <a:pt x="261965" y="14204"/>
                      <a:pt x="250599" y="1115"/>
                      <a:pt x="235489" y="64"/>
                    </a:cubicBezTo>
                    <a:cubicBezTo>
                      <a:pt x="234547" y="11"/>
                      <a:pt x="233604" y="-16"/>
                      <a:pt x="232688" y="11"/>
                    </a:cubicBezTo>
                    <a:lnTo>
                      <a:pt x="232688" y="11"/>
                    </a:lnTo>
                    <a:close/>
                  </a:path>
                </a:pathLst>
              </a:custGeom>
              <a:grpFill/>
              <a:ln w="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DCEB2940-DAEF-4698-D130-33C56042AD4E}"/>
                  </a:ext>
                </a:extLst>
              </p:cNvPr>
              <p:cNvSpPr/>
              <p:nvPr/>
            </p:nvSpPr>
            <p:spPr>
              <a:xfrm>
                <a:off x="6169262" y="3376137"/>
                <a:ext cx="260981" cy="54752"/>
              </a:xfrm>
              <a:custGeom>
                <a:avLst/>
                <a:gdLst>
                  <a:gd name="connsiteX0" fmla="*/ 26542 w 260981"/>
                  <a:gd name="connsiteY0" fmla="*/ 11 h 54752"/>
                  <a:gd name="connsiteX1" fmla="*/ 67 w 260981"/>
                  <a:gd name="connsiteY1" fmla="*/ 25462 h 54752"/>
                  <a:gd name="connsiteX2" fmla="*/ 25492 w 260981"/>
                  <a:gd name="connsiteY2" fmla="*/ 54685 h 54752"/>
                  <a:gd name="connsiteX3" fmla="*/ 54768 w 260981"/>
                  <a:gd name="connsiteY3" fmla="*/ 29287 h 54752"/>
                  <a:gd name="connsiteX4" fmla="*/ 29344 w 260981"/>
                  <a:gd name="connsiteY4" fmla="*/ 64 h 54752"/>
                  <a:gd name="connsiteX5" fmla="*/ 26542 w 260981"/>
                  <a:gd name="connsiteY5" fmla="*/ 11 h 54752"/>
                  <a:gd name="connsiteX6" fmla="*/ 26542 w 260981"/>
                  <a:gd name="connsiteY6" fmla="*/ 11 h 54752"/>
                  <a:gd name="connsiteX7" fmla="*/ 129615 w 260981"/>
                  <a:gd name="connsiteY7" fmla="*/ 11 h 54752"/>
                  <a:gd name="connsiteX8" fmla="*/ 103140 w 260981"/>
                  <a:gd name="connsiteY8" fmla="*/ 25462 h 54752"/>
                  <a:gd name="connsiteX9" fmla="*/ 128565 w 260981"/>
                  <a:gd name="connsiteY9" fmla="*/ 54685 h 54752"/>
                  <a:gd name="connsiteX10" fmla="*/ 157841 w 260981"/>
                  <a:gd name="connsiteY10" fmla="*/ 29287 h 54752"/>
                  <a:gd name="connsiteX11" fmla="*/ 132417 w 260981"/>
                  <a:gd name="connsiteY11" fmla="*/ 64 h 54752"/>
                  <a:gd name="connsiteX12" fmla="*/ 129615 w 260981"/>
                  <a:gd name="connsiteY12" fmla="*/ 11 h 54752"/>
                  <a:gd name="connsiteX13" fmla="*/ 129615 w 260981"/>
                  <a:gd name="connsiteY13" fmla="*/ 11 h 54752"/>
                  <a:gd name="connsiteX14" fmla="*/ 232688 w 260981"/>
                  <a:gd name="connsiteY14" fmla="*/ 11 h 54752"/>
                  <a:gd name="connsiteX15" fmla="*/ 206213 w 260981"/>
                  <a:gd name="connsiteY15" fmla="*/ 25462 h 54752"/>
                  <a:gd name="connsiteX16" fmla="*/ 231638 w 260981"/>
                  <a:gd name="connsiteY16" fmla="*/ 54685 h 54752"/>
                  <a:gd name="connsiteX17" fmla="*/ 260914 w 260981"/>
                  <a:gd name="connsiteY17" fmla="*/ 29287 h 54752"/>
                  <a:gd name="connsiteX18" fmla="*/ 235489 w 260981"/>
                  <a:gd name="connsiteY18" fmla="*/ 64 h 54752"/>
                  <a:gd name="connsiteX19" fmla="*/ 232688 w 260981"/>
                  <a:gd name="connsiteY19" fmla="*/ 11 h 54752"/>
                  <a:gd name="connsiteX20" fmla="*/ 232688 w 260981"/>
                  <a:gd name="connsiteY20" fmla="*/ 11 h 5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2">
                    <a:moveTo>
                      <a:pt x="26542" y="11"/>
                    </a:moveTo>
                    <a:cubicBezTo>
                      <a:pt x="12645" y="442"/>
                      <a:pt x="1064" y="11323"/>
                      <a:pt x="67" y="25462"/>
                    </a:cubicBezTo>
                    <a:cubicBezTo>
                      <a:pt x="-983" y="40545"/>
                      <a:pt x="10383" y="53634"/>
                      <a:pt x="25492" y="54685"/>
                    </a:cubicBezTo>
                    <a:cubicBezTo>
                      <a:pt x="40601" y="55735"/>
                      <a:pt x="53718" y="44369"/>
                      <a:pt x="54768" y="29287"/>
                    </a:cubicBezTo>
                    <a:cubicBezTo>
                      <a:pt x="55819" y="14204"/>
                      <a:pt x="44453" y="1115"/>
                      <a:pt x="29344" y="64"/>
                    </a:cubicBezTo>
                    <a:cubicBezTo>
                      <a:pt x="28401" y="11"/>
                      <a:pt x="27458" y="-16"/>
                      <a:pt x="26542" y="11"/>
                    </a:cubicBezTo>
                    <a:lnTo>
                      <a:pt x="26542" y="11"/>
                    </a:lnTo>
                    <a:close/>
                    <a:moveTo>
                      <a:pt x="129615" y="11"/>
                    </a:moveTo>
                    <a:cubicBezTo>
                      <a:pt x="115718" y="442"/>
                      <a:pt x="104137" y="11323"/>
                      <a:pt x="103140" y="25462"/>
                    </a:cubicBezTo>
                    <a:cubicBezTo>
                      <a:pt x="102090" y="40545"/>
                      <a:pt x="113456" y="53634"/>
                      <a:pt x="128565" y="54685"/>
                    </a:cubicBezTo>
                    <a:cubicBezTo>
                      <a:pt x="143674" y="55735"/>
                      <a:pt x="156791" y="44369"/>
                      <a:pt x="157841" y="29287"/>
                    </a:cubicBezTo>
                    <a:cubicBezTo>
                      <a:pt x="158892" y="14204"/>
                      <a:pt x="147526" y="1115"/>
                      <a:pt x="132417" y="64"/>
                    </a:cubicBezTo>
                    <a:cubicBezTo>
                      <a:pt x="131474" y="11"/>
                      <a:pt x="130531" y="-16"/>
                      <a:pt x="129615" y="11"/>
                    </a:cubicBezTo>
                    <a:lnTo>
                      <a:pt x="129615" y="11"/>
                    </a:lnTo>
                    <a:close/>
                    <a:moveTo>
                      <a:pt x="232688" y="11"/>
                    </a:moveTo>
                    <a:cubicBezTo>
                      <a:pt x="218791" y="442"/>
                      <a:pt x="207209" y="11323"/>
                      <a:pt x="206213" y="25462"/>
                    </a:cubicBezTo>
                    <a:cubicBezTo>
                      <a:pt x="205163" y="40545"/>
                      <a:pt x="216529" y="53634"/>
                      <a:pt x="231638" y="54685"/>
                    </a:cubicBezTo>
                    <a:cubicBezTo>
                      <a:pt x="246747" y="55735"/>
                      <a:pt x="259864" y="44369"/>
                      <a:pt x="260914" y="29287"/>
                    </a:cubicBezTo>
                    <a:cubicBezTo>
                      <a:pt x="261965" y="14204"/>
                      <a:pt x="250599" y="1115"/>
                      <a:pt x="235489" y="64"/>
                    </a:cubicBezTo>
                    <a:cubicBezTo>
                      <a:pt x="234547" y="11"/>
                      <a:pt x="233604" y="-16"/>
                      <a:pt x="232688" y="11"/>
                    </a:cubicBezTo>
                    <a:lnTo>
                      <a:pt x="232688" y="11"/>
                    </a:lnTo>
                    <a:close/>
                  </a:path>
                </a:pathLst>
              </a:custGeom>
              <a:grpFill/>
              <a:ln w="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55AD949C-BB4F-E26F-E4EE-DAEC929DAC27}"/>
                  </a:ext>
                </a:extLst>
              </p:cNvPr>
              <p:cNvSpPr/>
              <p:nvPr/>
            </p:nvSpPr>
            <p:spPr>
              <a:xfrm>
                <a:off x="5185019" y="4125383"/>
                <a:ext cx="260981" cy="54757"/>
              </a:xfrm>
              <a:custGeom>
                <a:avLst/>
                <a:gdLst>
                  <a:gd name="connsiteX0" fmla="*/ 26543 w 260981"/>
                  <a:gd name="connsiteY0" fmla="*/ 16 h 54757"/>
                  <a:gd name="connsiteX1" fmla="*/ 67 w 260981"/>
                  <a:gd name="connsiteY1" fmla="*/ 25468 h 54757"/>
                  <a:gd name="connsiteX2" fmla="*/ 25492 w 260981"/>
                  <a:gd name="connsiteY2" fmla="*/ 54690 h 54757"/>
                  <a:gd name="connsiteX3" fmla="*/ 54769 w 260981"/>
                  <a:gd name="connsiteY3" fmla="*/ 29292 h 54757"/>
                  <a:gd name="connsiteX4" fmla="*/ 29344 w 260981"/>
                  <a:gd name="connsiteY4" fmla="*/ 70 h 54757"/>
                  <a:gd name="connsiteX5" fmla="*/ 26543 w 260981"/>
                  <a:gd name="connsiteY5" fmla="*/ 16 h 54757"/>
                  <a:gd name="connsiteX6" fmla="*/ 26543 w 260981"/>
                  <a:gd name="connsiteY6" fmla="*/ 16 h 54757"/>
                  <a:gd name="connsiteX7" fmla="*/ 129615 w 260981"/>
                  <a:gd name="connsiteY7" fmla="*/ 16 h 54757"/>
                  <a:gd name="connsiteX8" fmla="*/ 103140 w 260981"/>
                  <a:gd name="connsiteY8" fmla="*/ 25468 h 54757"/>
                  <a:gd name="connsiteX9" fmla="*/ 128565 w 260981"/>
                  <a:gd name="connsiteY9" fmla="*/ 54690 h 54757"/>
                  <a:gd name="connsiteX10" fmla="*/ 157842 w 260981"/>
                  <a:gd name="connsiteY10" fmla="*/ 29292 h 54757"/>
                  <a:gd name="connsiteX11" fmla="*/ 132417 w 260981"/>
                  <a:gd name="connsiteY11" fmla="*/ 70 h 54757"/>
                  <a:gd name="connsiteX12" fmla="*/ 129615 w 260981"/>
                  <a:gd name="connsiteY12" fmla="*/ 16 h 54757"/>
                  <a:gd name="connsiteX13" fmla="*/ 129615 w 260981"/>
                  <a:gd name="connsiteY13" fmla="*/ 16 h 54757"/>
                  <a:gd name="connsiteX14" fmla="*/ 232688 w 260981"/>
                  <a:gd name="connsiteY14" fmla="*/ 16 h 54757"/>
                  <a:gd name="connsiteX15" fmla="*/ 206213 w 260981"/>
                  <a:gd name="connsiteY15" fmla="*/ 25468 h 54757"/>
                  <a:gd name="connsiteX16" fmla="*/ 231638 w 260981"/>
                  <a:gd name="connsiteY16" fmla="*/ 54690 h 54757"/>
                  <a:gd name="connsiteX17" fmla="*/ 260914 w 260981"/>
                  <a:gd name="connsiteY17" fmla="*/ 29292 h 54757"/>
                  <a:gd name="connsiteX18" fmla="*/ 235490 w 260981"/>
                  <a:gd name="connsiteY18" fmla="*/ 70 h 54757"/>
                  <a:gd name="connsiteX19" fmla="*/ 232688 w 260981"/>
                  <a:gd name="connsiteY19" fmla="*/ 16 h 54757"/>
                  <a:gd name="connsiteX20" fmla="*/ 232688 w 260981"/>
                  <a:gd name="connsiteY20" fmla="*/ 16 h 5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7">
                    <a:moveTo>
                      <a:pt x="26543" y="16"/>
                    </a:moveTo>
                    <a:cubicBezTo>
                      <a:pt x="12645" y="447"/>
                      <a:pt x="1064" y="11328"/>
                      <a:pt x="67" y="25468"/>
                    </a:cubicBezTo>
                    <a:cubicBezTo>
                      <a:pt x="-983" y="40550"/>
                      <a:pt x="10383" y="53640"/>
                      <a:pt x="25492" y="54690"/>
                    </a:cubicBezTo>
                    <a:cubicBezTo>
                      <a:pt x="40602" y="55741"/>
                      <a:pt x="53718" y="44375"/>
                      <a:pt x="54769" y="29292"/>
                    </a:cubicBezTo>
                    <a:cubicBezTo>
                      <a:pt x="55819" y="14210"/>
                      <a:pt x="44453" y="1120"/>
                      <a:pt x="29344" y="70"/>
                    </a:cubicBezTo>
                    <a:cubicBezTo>
                      <a:pt x="28401" y="-11"/>
                      <a:pt x="27458" y="-11"/>
                      <a:pt x="26543" y="16"/>
                    </a:cubicBezTo>
                    <a:lnTo>
                      <a:pt x="26543" y="16"/>
                    </a:lnTo>
                    <a:close/>
                    <a:moveTo>
                      <a:pt x="129615" y="16"/>
                    </a:moveTo>
                    <a:cubicBezTo>
                      <a:pt x="115718" y="447"/>
                      <a:pt x="104137" y="11328"/>
                      <a:pt x="103140" y="25468"/>
                    </a:cubicBezTo>
                    <a:cubicBezTo>
                      <a:pt x="102090" y="40550"/>
                      <a:pt x="113456" y="53640"/>
                      <a:pt x="128565" y="54690"/>
                    </a:cubicBezTo>
                    <a:cubicBezTo>
                      <a:pt x="143675" y="55741"/>
                      <a:pt x="156791" y="44375"/>
                      <a:pt x="157842" y="29292"/>
                    </a:cubicBezTo>
                    <a:cubicBezTo>
                      <a:pt x="158892" y="14210"/>
                      <a:pt x="147526" y="1120"/>
                      <a:pt x="132417" y="70"/>
                    </a:cubicBezTo>
                    <a:cubicBezTo>
                      <a:pt x="131474" y="-11"/>
                      <a:pt x="130531" y="-11"/>
                      <a:pt x="129615" y="16"/>
                    </a:cubicBezTo>
                    <a:lnTo>
                      <a:pt x="129615" y="16"/>
                    </a:lnTo>
                    <a:close/>
                    <a:moveTo>
                      <a:pt x="232688" y="16"/>
                    </a:moveTo>
                    <a:cubicBezTo>
                      <a:pt x="218791" y="447"/>
                      <a:pt x="207210" y="11328"/>
                      <a:pt x="206213" y="25468"/>
                    </a:cubicBezTo>
                    <a:cubicBezTo>
                      <a:pt x="205163" y="40550"/>
                      <a:pt x="216529" y="53640"/>
                      <a:pt x="231638" y="54690"/>
                    </a:cubicBezTo>
                    <a:cubicBezTo>
                      <a:pt x="246747" y="55741"/>
                      <a:pt x="259864" y="44375"/>
                      <a:pt x="260914" y="29292"/>
                    </a:cubicBezTo>
                    <a:cubicBezTo>
                      <a:pt x="261965" y="14210"/>
                      <a:pt x="250599" y="1120"/>
                      <a:pt x="235490" y="70"/>
                    </a:cubicBezTo>
                    <a:cubicBezTo>
                      <a:pt x="234547" y="-11"/>
                      <a:pt x="233604" y="-11"/>
                      <a:pt x="232688" y="16"/>
                    </a:cubicBezTo>
                    <a:lnTo>
                      <a:pt x="232688" y="16"/>
                    </a:lnTo>
                    <a:close/>
                  </a:path>
                </a:pathLst>
              </a:custGeom>
              <a:grpFill/>
              <a:ln w="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83D56D43-BC86-E898-0855-FA4DD2EBA413}"/>
                  </a:ext>
                </a:extLst>
              </p:cNvPr>
              <p:cNvSpPr/>
              <p:nvPr/>
            </p:nvSpPr>
            <p:spPr>
              <a:xfrm>
                <a:off x="4712855" y="3243357"/>
                <a:ext cx="260981" cy="54752"/>
              </a:xfrm>
              <a:custGeom>
                <a:avLst/>
                <a:gdLst>
                  <a:gd name="connsiteX0" fmla="*/ 26543 w 260981"/>
                  <a:gd name="connsiteY0" fmla="*/ 11 h 54752"/>
                  <a:gd name="connsiteX1" fmla="*/ 67 w 260981"/>
                  <a:gd name="connsiteY1" fmla="*/ 25462 h 54752"/>
                  <a:gd name="connsiteX2" fmla="*/ 25492 w 260981"/>
                  <a:gd name="connsiteY2" fmla="*/ 54685 h 54752"/>
                  <a:gd name="connsiteX3" fmla="*/ 54768 w 260981"/>
                  <a:gd name="connsiteY3" fmla="*/ 29287 h 54752"/>
                  <a:gd name="connsiteX4" fmla="*/ 29344 w 260981"/>
                  <a:gd name="connsiteY4" fmla="*/ 64 h 54752"/>
                  <a:gd name="connsiteX5" fmla="*/ 26543 w 260981"/>
                  <a:gd name="connsiteY5" fmla="*/ 11 h 54752"/>
                  <a:gd name="connsiteX6" fmla="*/ 26543 w 260981"/>
                  <a:gd name="connsiteY6" fmla="*/ 11 h 54752"/>
                  <a:gd name="connsiteX7" fmla="*/ 129616 w 260981"/>
                  <a:gd name="connsiteY7" fmla="*/ 11 h 54752"/>
                  <a:gd name="connsiteX8" fmla="*/ 103140 w 260981"/>
                  <a:gd name="connsiteY8" fmla="*/ 25462 h 54752"/>
                  <a:gd name="connsiteX9" fmla="*/ 128565 w 260981"/>
                  <a:gd name="connsiteY9" fmla="*/ 54685 h 54752"/>
                  <a:gd name="connsiteX10" fmla="*/ 157841 w 260981"/>
                  <a:gd name="connsiteY10" fmla="*/ 29287 h 54752"/>
                  <a:gd name="connsiteX11" fmla="*/ 132417 w 260981"/>
                  <a:gd name="connsiteY11" fmla="*/ 64 h 54752"/>
                  <a:gd name="connsiteX12" fmla="*/ 129616 w 260981"/>
                  <a:gd name="connsiteY12" fmla="*/ 11 h 54752"/>
                  <a:gd name="connsiteX13" fmla="*/ 129616 w 260981"/>
                  <a:gd name="connsiteY13" fmla="*/ 11 h 54752"/>
                  <a:gd name="connsiteX14" fmla="*/ 232689 w 260981"/>
                  <a:gd name="connsiteY14" fmla="*/ 11 h 54752"/>
                  <a:gd name="connsiteX15" fmla="*/ 206213 w 260981"/>
                  <a:gd name="connsiteY15" fmla="*/ 25462 h 54752"/>
                  <a:gd name="connsiteX16" fmla="*/ 231638 w 260981"/>
                  <a:gd name="connsiteY16" fmla="*/ 54685 h 54752"/>
                  <a:gd name="connsiteX17" fmla="*/ 260914 w 260981"/>
                  <a:gd name="connsiteY17" fmla="*/ 29287 h 54752"/>
                  <a:gd name="connsiteX18" fmla="*/ 235489 w 260981"/>
                  <a:gd name="connsiteY18" fmla="*/ 64 h 54752"/>
                  <a:gd name="connsiteX19" fmla="*/ 232689 w 260981"/>
                  <a:gd name="connsiteY19" fmla="*/ 11 h 54752"/>
                  <a:gd name="connsiteX20" fmla="*/ 232689 w 260981"/>
                  <a:gd name="connsiteY20" fmla="*/ 11 h 5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2">
                    <a:moveTo>
                      <a:pt x="26543" y="11"/>
                    </a:moveTo>
                    <a:cubicBezTo>
                      <a:pt x="12645" y="441"/>
                      <a:pt x="1064" y="11323"/>
                      <a:pt x="67" y="25462"/>
                    </a:cubicBezTo>
                    <a:cubicBezTo>
                      <a:pt x="-983" y="40545"/>
                      <a:pt x="10383" y="53634"/>
                      <a:pt x="25492" y="54685"/>
                    </a:cubicBezTo>
                    <a:cubicBezTo>
                      <a:pt x="40602" y="55735"/>
                      <a:pt x="53718" y="44369"/>
                      <a:pt x="54768" y="29287"/>
                    </a:cubicBezTo>
                    <a:cubicBezTo>
                      <a:pt x="55819" y="14204"/>
                      <a:pt x="44453" y="1115"/>
                      <a:pt x="29344" y="64"/>
                    </a:cubicBezTo>
                    <a:cubicBezTo>
                      <a:pt x="28401" y="11"/>
                      <a:pt x="27458" y="-16"/>
                      <a:pt x="26543" y="11"/>
                    </a:cubicBezTo>
                    <a:lnTo>
                      <a:pt x="26543" y="11"/>
                    </a:lnTo>
                    <a:close/>
                    <a:moveTo>
                      <a:pt x="129616" y="11"/>
                    </a:moveTo>
                    <a:cubicBezTo>
                      <a:pt x="115718" y="441"/>
                      <a:pt x="104137" y="11323"/>
                      <a:pt x="103140" y="25462"/>
                    </a:cubicBezTo>
                    <a:cubicBezTo>
                      <a:pt x="102090" y="40545"/>
                      <a:pt x="113456" y="53634"/>
                      <a:pt x="128565" y="54685"/>
                    </a:cubicBezTo>
                    <a:cubicBezTo>
                      <a:pt x="143675" y="55735"/>
                      <a:pt x="156791" y="44369"/>
                      <a:pt x="157841" y="29287"/>
                    </a:cubicBezTo>
                    <a:cubicBezTo>
                      <a:pt x="158892" y="14204"/>
                      <a:pt x="147526" y="1115"/>
                      <a:pt x="132417" y="64"/>
                    </a:cubicBezTo>
                    <a:cubicBezTo>
                      <a:pt x="131474" y="11"/>
                      <a:pt x="130531" y="-16"/>
                      <a:pt x="129616" y="11"/>
                    </a:cubicBezTo>
                    <a:lnTo>
                      <a:pt x="129616" y="11"/>
                    </a:lnTo>
                    <a:close/>
                    <a:moveTo>
                      <a:pt x="232689" y="11"/>
                    </a:moveTo>
                    <a:cubicBezTo>
                      <a:pt x="218791" y="441"/>
                      <a:pt x="207210" y="11323"/>
                      <a:pt x="206213" y="25462"/>
                    </a:cubicBezTo>
                    <a:cubicBezTo>
                      <a:pt x="205163" y="40545"/>
                      <a:pt x="216529" y="53634"/>
                      <a:pt x="231638" y="54685"/>
                    </a:cubicBezTo>
                    <a:cubicBezTo>
                      <a:pt x="246748" y="55735"/>
                      <a:pt x="259864" y="44369"/>
                      <a:pt x="260914" y="29287"/>
                    </a:cubicBezTo>
                    <a:cubicBezTo>
                      <a:pt x="261965" y="14204"/>
                      <a:pt x="250599" y="1115"/>
                      <a:pt x="235489" y="64"/>
                    </a:cubicBezTo>
                    <a:cubicBezTo>
                      <a:pt x="234547" y="11"/>
                      <a:pt x="233604" y="-16"/>
                      <a:pt x="232689" y="11"/>
                    </a:cubicBezTo>
                    <a:lnTo>
                      <a:pt x="232689" y="11"/>
                    </a:lnTo>
                    <a:close/>
                  </a:path>
                </a:pathLst>
              </a:custGeom>
              <a:grpFill/>
              <a:ln w="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A1C53543-6593-3139-F896-8E1079EA232B}"/>
                  </a:ext>
                </a:extLst>
              </p:cNvPr>
              <p:cNvSpPr/>
              <p:nvPr/>
            </p:nvSpPr>
            <p:spPr>
              <a:xfrm>
                <a:off x="6023634" y="4421157"/>
                <a:ext cx="196559" cy="204169"/>
              </a:xfrm>
              <a:custGeom>
                <a:avLst/>
                <a:gdLst>
                  <a:gd name="connsiteX0" fmla="*/ 6909 w 196559"/>
                  <a:gd name="connsiteY0" fmla="*/ 158631 h 204169"/>
                  <a:gd name="connsiteX1" fmla="*/ 7232 w 196559"/>
                  <a:gd name="connsiteY1" fmla="*/ 195314 h 204169"/>
                  <a:gd name="connsiteX2" fmla="*/ 45962 w 196559"/>
                  <a:gd name="connsiteY2" fmla="*/ 196957 h 204169"/>
                  <a:gd name="connsiteX3" fmla="*/ 47605 w 196559"/>
                  <a:gd name="connsiteY3" fmla="*/ 158281 h 204169"/>
                  <a:gd name="connsiteX4" fmla="*/ 8875 w 196559"/>
                  <a:gd name="connsiteY4" fmla="*/ 156638 h 204169"/>
                  <a:gd name="connsiteX5" fmla="*/ 6909 w 196559"/>
                  <a:gd name="connsiteY5" fmla="*/ 158631 h 204169"/>
                  <a:gd name="connsiteX6" fmla="*/ 6909 w 196559"/>
                  <a:gd name="connsiteY6" fmla="*/ 158631 h 204169"/>
                  <a:gd name="connsiteX7" fmla="*/ 77770 w 196559"/>
                  <a:gd name="connsiteY7" fmla="*/ 83918 h 204169"/>
                  <a:gd name="connsiteX8" fmla="*/ 78093 w 196559"/>
                  <a:gd name="connsiteY8" fmla="*/ 120601 h 204169"/>
                  <a:gd name="connsiteX9" fmla="*/ 116823 w 196559"/>
                  <a:gd name="connsiteY9" fmla="*/ 122244 h 204169"/>
                  <a:gd name="connsiteX10" fmla="*/ 118466 w 196559"/>
                  <a:gd name="connsiteY10" fmla="*/ 83568 h 204169"/>
                  <a:gd name="connsiteX11" fmla="*/ 79736 w 196559"/>
                  <a:gd name="connsiteY11" fmla="*/ 81925 h 204169"/>
                  <a:gd name="connsiteX12" fmla="*/ 77770 w 196559"/>
                  <a:gd name="connsiteY12" fmla="*/ 83918 h 204169"/>
                  <a:gd name="connsiteX13" fmla="*/ 77770 w 196559"/>
                  <a:gd name="connsiteY13" fmla="*/ 83918 h 204169"/>
                  <a:gd name="connsiteX14" fmla="*/ 148631 w 196559"/>
                  <a:gd name="connsiteY14" fmla="*/ 9206 h 204169"/>
                  <a:gd name="connsiteX15" fmla="*/ 148954 w 196559"/>
                  <a:gd name="connsiteY15" fmla="*/ 45889 h 204169"/>
                  <a:gd name="connsiteX16" fmla="*/ 187684 w 196559"/>
                  <a:gd name="connsiteY16" fmla="*/ 47532 h 204169"/>
                  <a:gd name="connsiteX17" fmla="*/ 189327 w 196559"/>
                  <a:gd name="connsiteY17" fmla="*/ 8856 h 204169"/>
                  <a:gd name="connsiteX18" fmla="*/ 150597 w 196559"/>
                  <a:gd name="connsiteY18" fmla="*/ 7213 h 204169"/>
                  <a:gd name="connsiteX19" fmla="*/ 148631 w 196559"/>
                  <a:gd name="connsiteY19" fmla="*/ 9206 h 204169"/>
                  <a:gd name="connsiteX20" fmla="*/ 148631 w 196559"/>
                  <a:gd name="connsiteY20" fmla="*/ 9206 h 20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559" h="204169">
                    <a:moveTo>
                      <a:pt x="6909" y="158631"/>
                    </a:moveTo>
                    <a:cubicBezTo>
                      <a:pt x="-2329" y="169000"/>
                      <a:pt x="-2383" y="184891"/>
                      <a:pt x="7232" y="195314"/>
                    </a:cubicBezTo>
                    <a:cubicBezTo>
                      <a:pt x="17493" y="206437"/>
                      <a:pt x="34811" y="207191"/>
                      <a:pt x="45962" y="196957"/>
                    </a:cubicBezTo>
                    <a:cubicBezTo>
                      <a:pt x="57112" y="186722"/>
                      <a:pt x="57866" y="169431"/>
                      <a:pt x="47605" y="158281"/>
                    </a:cubicBezTo>
                    <a:cubicBezTo>
                      <a:pt x="37343" y="147130"/>
                      <a:pt x="20025" y="146403"/>
                      <a:pt x="8875" y="156638"/>
                    </a:cubicBezTo>
                    <a:cubicBezTo>
                      <a:pt x="8175" y="157284"/>
                      <a:pt x="7528" y="157931"/>
                      <a:pt x="6909" y="158631"/>
                    </a:cubicBezTo>
                    <a:lnTo>
                      <a:pt x="6909" y="158631"/>
                    </a:lnTo>
                    <a:close/>
                    <a:moveTo>
                      <a:pt x="77770" y="83918"/>
                    </a:moveTo>
                    <a:cubicBezTo>
                      <a:pt x="68532" y="94288"/>
                      <a:pt x="68478" y="110178"/>
                      <a:pt x="78093" y="120601"/>
                    </a:cubicBezTo>
                    <a:cubicBezTo>
                      <a:pt x="88354" y="131725"/>
                      <a:pt x="105673" y="132479"/>
                      <a:pt x="116823" y="122244"/>
                    </a:cubicBezTo>
                    <a:cubicBezTo>
                      <a:pt x="127973" y="112009"/>
                      <a:pt x="128727" y="94719"/>
                      <a:pt x="118466" y="83568"/>
                    </a:cubicBezTo>
                    <a:cubicBezTo>
                      <a:pt x="108204" y="72445"/>
                      <a:pt x="90886" y="71691"/>
                      <a:pt x="79736" y="81925"/>
                    </a:cubicBezTo>
                    <a:cubicBezTo>
                      <a:pt x="79036" y="82572"/>
                      <a:pt x="78389" y="83218"/>
                      <a:pt x="77770" y="83918"/>
                    </a:cubicBezTo>
                    <a:lnTo>
                      <a:pt x="77770" y="83918"/>
                    </a:lnTo>
                    <a:close/>
                    <a:moveTo>
                      <a:pt x="148631" y="9206"/>
                    </a:moveTo>
                    <a:cubicBezTo>
                      <a:pt x="139393" y="19575"/>
                      <a:pt x="139339" y="35466"/>
                      <a:pt x="148954" y="45889"/>
                    </a:cubicBezTo>
                    <a:cubicBezTo>
                      <a:pt x="159215" y="57012"/>
                      <a:pt x="176533" y="57766"/>
                      <a:pt x="187684" y="47532"/>
                    </a:cubicBezTo>
                    <a:cubicBezTo>
                      <a:pt x="198834" y="37297"/>
                      <a:pt x="199588" y="20006"/>
                      <a:pt x="189327" y="8856"/>
                    </a:cubicBezTo>
                    <a:cubicBezTo>
                      <a:pt x="179065" y="-2267"/>
                      <a:pt x="161747" y="-3022"/>
                      <a:pt x="150597" y="7213"/>
                    </a:cubicBezTo>
                    <a:cubicBezTo>
                      <a:pt x="149897" y="7859"/>
                      <a:pt x="149250" y="8506"/>
                      <a:pt x="148631" y="9206"/>
                    </a:cubicBezTo>
                    <a:lnTo>
                      <a:pt x="148631" y="9206"/>
                    </a:lnTo>
                    <a:close/>
                  </a:path>
                </a:pathLst>
              </a:custGeom>
              <a:grpFill/>
              <a:ln w="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FD4EF252-3C38-DA6B-8B52-7E4C2FB4BDD3}"/>
                  </a:ext>
                </a:extLst>
              </p:cNvPr>
              <p:cNvSpPr/>
              <p:nvPr/>
            </p:nvSpPr>
            <p:spPr>
              <a:xfrm>
                <a:off x="2784258" y="3084668"/>
                <a:ext cx="260981" cy="54752"/>
              </a:xfrm>
              <a:custGeom>
                <a:avLst/>
                <a:gdLst>
                  <a:gd name="connsiteX0" fmla="*/ 26543 w 260981"/>
                  <a:gd name="connsiteY0" fmla="*/ 11 h 54752"/>
                  <a:gd name="connsiteX1" fmla="*/ 67 w 260981"/>
                  <a:gd name="connsiteY1" fmla="*/ 25462 h 54752"/>
                  <a:gd name="connsiteX2" fmla="*/ 25492 w 260981"/>
                  <a:gd name="connsiteY2" fmla="*/ 54685 h 54752"/>
                  <a:gd name="connsiteX3" fmla="*/ 54768 w 260981"/>
                  <a:gd name="connsiteY3" fmla="*/ 29287 h 54752"/>
                  <a:gd name="connsiteX4" fmla="*/ 29344 w 260981"/>
                  <a:gd name="connsiteY4" fmla="*/ 64 h 54752"/>
                  <a:gd name="connsiteX5" fmla="*/ 26543 w 260981"/>
                  <a:gd name="connsiteY5" fmla="*/ 11 h 54752"/>
                  <a:gd name="connsiteX6" fmla="*/ 26543 w 260981"/>
                  <a:gd name="connsiteY6" fmla="*/ 11 h 54752"/>
                  <a:gd name="connsiteX7" fmla="*/ 129615 w 260981"/>
                  <a:gd name="connsiteY7" fmla="*/ 11 h 54752"/>
                  <a:gd name="connsiteX8" fmla="*/ 103140 w 260981"/>
                  <a:gd name="connsiteY8" fmla="*/ 25462 h 54752"/>
                  <a:gd name="connsiteX9" fmla="*/ 128565 w 260981"/>
                  <a:gd name="connsiteY9" fmla="*/ 54685 h 54752"/>
                  <a:gd name="connsiteX10" fmla="*/ 157841 w 260981"/>
                  <a:gd name="connsiteY10" fmla="*/ 29287 h 54752"/>
                  <a:gd name="connsiteX11" fmla="*/ 132416 w 260981"/>
                  <a:gd name="connsiteY11" fmla="*/ 64 h 54752"/>
                  <a:gd name="connsiteX12" fmla="*/ 129615 w 260981"/>
                  <a:gd name="connsiteY12" fmla="*/ 11 h 54752"/>
                  <a:gd name="connsiteX13" fmla="*/ 129615 w 260981"/>
                  <a:gd name="connsiteY13" fmla="*/ 11 h 54752"/>
                  <a:gd name="connsiteX14" fmla="*/ 232688 w 260981"/>
                  <a:gd name="connsiteY14" fmla="*/ 11 h 54752"/>
                  <a:gd name="connsiteX15" fmla="*/ 206213 w 260981"/>
                  <a:gd name="connsiteY15" fmla="*/ 25462 h 54752"/>
                  <a:gd name="connsiteX16" fmla="*/ 231638 w 260981"/>
                  <a:gd name="connsiteY16" fmla="*/ 54685 h 54752"/>
                  <a:gd name="connsiteX17" fmla="*/ 260914 w 260981"/>
                  <a:gd name="connsiteY17" fmla="*/ 29287 h 54752"/>
                  <a:gd name="connsiteX18" fmla="*/ 235489 w 260981"/>
                  <a:gd name="connsiteY18" fmla="*/ 64 h 54752"/>
                  <a:gd name="connsiteX19" fmla="*/ 232688 w 260981"/>
                  <a:gd name="connsiteY19" fmla="*/ 11 h 54752"/>
                  <a:gd name="connsiteX20" fmla="*/ 232688 w 260981"/>
                  <a:gd name="connsiteY20" fmla="*/ 11 h 5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2">
                    <a:moveTo>
                      <a:pt x="26543" y="11"/>
                    </a:moveTo>
                    <a:cubicBezTo>
                      <a:pt x="12645" y="441"/>
                      <a:pt x="1064" y="11322"/>
                      <a:pt x="67" y="25462"/>
                    </a:cubicBezTo>
                    <a:cubicBezTo>
                      <a:pt x="-983" y="40545"/>
                      <a:pt x="10383" y="53634"/>
                      <a:pt x="25492" y="54685"/>
                    </a:cubicBezTo>
                    <a:cubicBezTo>
                      <a:pt x="40602" y="55735"/>
                      <a:pt x="53718" y="44369"/>
                      <a:pt x="54768" y="29287"/>
                    </a:cubicBezTo>
                    <a:cubicBezTo>
                      <a:pt x="55819" y="14204"/>
                      <a:pt x="44453" y="1115"/>
                      <a:pt x="29344" y="64"/>
                    </a:cubicBezTo>
                    <a:cubicBezTo>
                      <a:pt x="28401" y="11"/>
                      <a:pt x="27458" y="-16"/>
                      <a:pt x="26543" y="11"/>
                    </a:cubicBezTo>
                    <a:lnTo>
                      <a:pt x="26543" y="11"/>
                    </a:lnTo>
                    <a:close/>
                    <a:moveTo>
                      <a:pt x="129615" y="11"/>
                    </a:moveTo>
                    <a:cubicBezTo>
                      <a:pt x="115718" y="441"/>
                      <a:pt x="104137" y="11322"/>
                      <a:pt x="103140" y="25462"/>
                    </a:cubicBezTo>
                    <a:cubicBezTo>
                      <a:pt x="102090" y="40545"/>
                      <a:pt x="113456" y="53634"/>
                      <a:pt x="128565" y="54685"/>
                    </a:cubicBezTo>
                    <a:cubicBezTo>
                      <a:pt x="143675" y="55735"/>
                      <a:pt x="156791" y="44369"/>
                      <a:pt x="157841" y="29287"/>
                    </a:cubicBezTo>
                    <a:cubicBezTo>
                      <a:pt x="158892" y="14204"/>
                      <a:pt x="147526" y="1115"/>
                      <a:pt x="132416" y="64"/>
                    </a:cubicBezTo>
                    <a:cubicBezTo>
                      <a:pt x="131474" y="11"/>
                      <a:pt x="130531" y="-16"/>
                      <a:pt x="129615" y="11"/>
                    </a:cubicBezTo>
                    <a:lnTo>
                      <a:pt x="129615" y="11"/>
                    </a:lnTo>
                    <a:close/>
                    <a:moveTo>
                      <a:pt x="232688" y="11"/>
                    </a:moveTo>
                    <a:cubicBezTo>
                      <a:pt x="218791" y="441"/>
                      <a:pt x="207210" y="11322"/>
                      <a:pt x="206213" y="25462"/>
                    </a:cubicBezTo>
                    <a:cubicBezTo>
                      <a:pt x="205163" y="40545"/>
                      <a:pt x="216529" y="53634"/>
                      <a:pt x="231638" y="54685"/>
                    </a:cubicBezTo>
                    <a:cubicBezTo>
                      <a:pt x="246747" y="55735"/>
                      <a:pt x="259864" y="44369"/>
                      <a:pt x="260914" y="29287"/>
                    </a:cubicBezTo>
                    <a:cubicBezTo>
                      <a:pt x="261965" y="14204"/>
                      <a:pt x="250599" y="1115"/>
                      <a:pt x="235489" y="64"/>
                    </a:cubicBezTo>
                    <a:cubicBezTo>
                      <a:pt x="234547" y="11"/>
                      <a:pt x="233604" y="-16"/>
                      <a:pt x="232688" y="11"/>
                    </a:cubicBezTo>
                    <a:lnTo>
                      <a:pt x="232688" y="11"/>
                    </a:lnTo>
                    <a:close/>
                  </a:path>
                </a:pathLst>
              </a:custGeom>
              <a:grpFill/>
              <a:ln w="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168C51-A67A-1172-7FD7-A2D3953AA6CF}"/>
                  </a:ext>
                </a:extLst>
              </p:cNvPr>
              <p:cNvSpPr/>
              <p:nvPr/>
            </p:nvSpPr>
            <p:spPr>
              <a:xfrm>
                <a:off x="4690635" y="5106233"/>
                <a:ext cx="260981" cy="54757"/>
              </a:xfrm>
              <a:custGeom>
                <a:avLst/>
                <a:gdLst>
                  <a:gd name="connsiteX0" fmla="*/ 26543 w 260981"/>
                  <a:gd name="connsiteY0" fmla="*/ 16 h 54757"/>
                  <a:gd name="connsiteX1" fmla="*/ 67 w 260981"/>
                  <a:gd name="connsiteY1" fmla="*/ 25468 h 54757"/>
                  <a:gd name="connsiteX2" fmla="*/ 25492 w 260981"/>
                  <a:gd name="connsiteY2" fmla="*/ 54690 h 54757"/>
                  <a:gd name="connsiteX3" fmla="*/ 54768 w 260981"/>
                  <a:gd name="connsiteY3" fmla="*/ 29292 h 54757"/>
                  <a:gd name="connsiteX4" fmla="*/ 29344 w 260981"/>
                  <a:gd name="connsiteY4" fmla="*/ 70 h 54757"/>
                  <a:gd name="connsiteX5" fmla="*/ 26543 w 260981"/>
                  <a:gd name="connsiteY5" fmla="*/ 16 h 54757"/>
                  <a:gd name="connsiteX6" fmla="*/ 26543 w 260981"/>
                  <a:gd name="connsiteY6" fmla="*/ 16 h 54757"/>
                  <a:gd name="connsiteX7" fmla="*/ 129616 w 260981"/>
                  <a:gd name="connsiteY7" fmla="*/ 16 h 54757"/>
                  <a:gd name="connsiteX8" fmla="*/ 103140 w 260981"/>
                  <a:gd name="connsiteY8" fmla="*/ 25468 h 54757"/>
                  <a:gd name="connsiteX9" fmla="*/ 128565 w 260981"/>
                  <a:gd name="connsiteY9" fmla="*/ 54690 h 54757"/>
                  <a:gd name="connsiteX10" fmla="*/ 157841 w 260981"/>
                  <a:gd name="connsiteY10" fmla="*/ 29292 h 54757"/>
                  <a:gd name="connsiteX11" fmla="*/ 132417 w 260981"/>
                  <a:gd name="connsiteY11" fmla="*/ 70 h 54757"/>
                  <a:gd name="connsiteX12" fmla="*/ 129616 w 260981"/>
                  <a:gd name="connsiteY12" fmla="*/ 16 h 54757"/>
                  <a:gd name="connsiteX13" fmla="*/ 129616 w 260981"/>
                  <a:gd name="connsiteY13" fmla="*/ 16 h 54757"/>
                  <a:gd name="connsiteX14" fmla="*/ 232689 w 260981"/>
                  <a:gd name="connsiteY14" fmla="*/ 16 h 54757"/>
                  <a:gd name="connsiteX15" fmla="*/ 206213 w 260981"/>
                  <a:gd name="connsiteY15" fmla="*/ 25468 h 54757"/>
                  <a:gd name="connsiteX16" fmla="*/ 231638 w 260981"/>
                  <a:gd name="connsiteY16" fmla="*/ 54690 h 54757"/>
                  <a:gd name="connsiteX17" fmla="*/ 260914 w 260981"/>
                  <a:gd name="connsiteY17" fmla="*/ 29292 h 54757"/>
                  <a:gd name="connsiteX18" fmla="*/ 235489 w 260981"/>
                  <a:gd name="connsiteY18" fmla="*/ 70 h 54757"/>
                  <a:gd name="connsiteX19" fmla="*/ 232689 w 260981"/>
                  <a:gd name="connsiteY19" fmla="*/ 16 h 54757"/>
                  <a:gd name="connsiteX20" fmla="*/ 232689 w 260981"/>
                  <a:gd name="connsiteY20" fmla="*/ 16 h 5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0981" h="54757">
                    <a:moveTo>
                      <a:pt x="26543" y="16"/>
                    </a:moveTo>
                    <a:cubicBezTo>
                      <a:pt x="12645" y="447"/>
                      <a:pt x="1064" y="11328"/>
                      <a:pt x="67" y="25468"/>
                    </a:cubicBezTo>
                    <a:cubicBezTo>
                      <a:pt x="-983" y="40551"/>
                      <a:pt x="10383" y="53640"/>
                      <a:pt x="25492" y="54690"/>
                    </a:cubicBezTo>
                    <a:cubicBezTo>
                      <a:pt x="40602" y="55741"/>
                      <a:pt x="53718" y="44375"/>
                      <a:pt x="54768" y="29292"/>
                    </a:cubicBezTo>
                    <a:cubicBezTo>
                      <a:pt x="55819" y="14210"/>
                      <a:pt x="44453" y="1120"/>
                      <a:pt x="29344" y="70"/>
                    </a:cubicBezTo>
                    <a:cubicBezTo>
                      <a:pt x="28401" y="-11"/>
                      <a:pt x="27458" y="-11"/>
                      <a:pt x="26543" y="16"/>
                    </a:cubicBezTo>
                    <a:lnTo>
                      <a:pt x="26543" y="16"/>
                    </a:lnTo>
                    <a:close/>
                    <a:moveTo>
                      <a:pt x="129616" y="16"/>
                    </a:moveTo>
                    <a:cubicBezTo>
                      <a:pt x="115718" y="447"/>
                      <a:pt x="104137" y="11328"/>
                      <a:pt x="103140" y="25468"/>
                    </a:cubicBezTo>
                    <a:cubicBezTo>
                      <a:pt x="102090" y="40551"/>
                      <a:pt x="113456" y="53640"/>
                      <a:pt x="128565" y="54690"/>
                    </a:cubicBezTo>
                    <a:cubicBezTo>
                      <a:pt x="143675" y="55741"/>
                      <a:pt x="156791" y="44375"/>
                      <a:pt x="157841" y="29292"/>
                    </a:cubicBezTo>
                    <a:cubicBezTo>
                      <a:pt x="158892" y="14210"/>
                      <a:pt x="147526" y="1120"/>
                      <a:pt x="132417" y="70"/>
                    </a:cubicBezTo>
                    <a:cubicBezTo>
                      <a:pt x="131474" y="-11"/>
                      <a:pt x="130531" y="-11"/>
                      <a:pt x="129616" y="16"/>
                    </a:cubicBezTo>
                    <a:lnTo>
                      <a:pt x="129616" y="16"/>
                    </a:lnTo>
                    <a:close/>
                    <a:moveTo>
                      <a:pt x="232689" y="16"/>
                    </a:moveTo>
                    <a:cubicBezTo>
                      <a:pt x="218791" y="447"/>
                      <a:pt x="207210" y="11328"/>
                      <a:pt x="206213" y="25468"/>
                    </a:cubicBezTo>
                    <a:cubicBezTo>
                      <a:pt x="205163" y="40551"/>
                      <a:pt x="216529" y="53640"/>
                      <a:pt x="231638" y="54690"/>
                    </a:cubicBezTo>
                    <a:cubicBezTo>
                      <a:pt x="246748" y="55741"/>
                      <a:pt x="259864" y="44375"/>
                      <a:pt x="260914" y="29292"/>
                    </a:cubicBezTo>
                    <a:cubicBezTo>
                      <a:pt x="261965" y="14210"/>
                      <a:pt x="250599" y="1120"/>
                      <a:pt x="235489" y="70"/>
                    </a:cubicBezTo>
                    <a:cubicBezTo>
                      <a:pt x="234547" y="-11"/>
                      <a:pt x="233604" y="-11"/>
                      <a:pt x="232689" y="16"/>
                    </a:cubicBezTo>
                    <a:lnTo>
                      <a:pt x="232689" y="16"/>
                    </a:lnTo>
                    <a:close/>
                  </a:path>
                </a:pathLst>
              </a:custGeom>
              <a:grpFill/>
              <a:ln w="0" cap="flat">
                <a:noFill/>
                <a:prstDash val="solid"/>
                <a:miter/>
              </a:ln>
            </p:spPr>
            <p:txBody>
              <a:bodyPr rtlCol="0" anchor="ctr"/>
              <a:lstStyle/>
              <a:p>
                <a:endParaRPr lang="en-US"/>
              </a:p>
            </p:txBody>
          </p:sp>
        </p:grpSp>
        <p:sp>
          <p:nvSpPr>
            <p:cNvPr id="84" name="Freeform: Shape 83">
              <a:extLst>
                <a:ext uri="{FF2B5EF4-FFF2-40B4-BE49-F238E27FC236}">
                  <a16:creationId xmlns:a16="http://schemas.microsoft.com/office/drawing/2014/main" id="{519A1B72-6944-B63E-B086-7E4AA1823966}"/>
                </a:ext>
              </a:extLst>
            </p:cNvPr>
            <p:cNvSpPr/>
            <p:nvPr/>
          </p:nvSpPr>
          <p:spPr>
            <a:xfrm>
              <a:off x="7631931" y="4242346"/>
              <a:ext cx="137620" cy="137591"/>
            </a:xfrm>
            <a:custGeom>
              <a:avLst/>
              <a:gdLst>
                <a:gd name="connsiteX0" fmla="*/ 55142 w 137620"/>
                <a:gd name="connsiteY0" fmla="*/ 136209 h 137591"/>
                <a:gd name="connsiteX1" fmla="*/ 1383 w 137620"/>
                <a:gd name="connsiteY1" fmla="*/ 55140 h 137591"/>
                <a:gd name="connsiteX2" fmla="*/ 82479 w 137620"/>
                <a:gd name="connsiteY2" fmla="*/ 1382 h 137591"/>
                <a:gd name="connsiteX3" fmla="*/ 136237 w 137620"/>
                <a:gd name="connsiteY3" fmla="*/ 82451 h 137591"/>
                <a:gd name="connsiteX4" fmla="*/ 55142 w 137620"/>
                <a:gd name="connsiteY4" fmla="*/ 136209 h 137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20" h="137591">
                  <a:moveTo>
                    <a:pt x="55142" y="136209"/>
                  </a:moveTo>
                  <a:cubicBezTo>
                    <a:pt x="17893" y="128668"/>
                    <a:pt x="-6158" y="92362"/>
                    <a:pt x="1383" y="55140"/>
                  </a:cubicBezTo>
                  <a:cubicBezTo>
                    <a:pt x="8925" y="17919"/>
                    <a:pt x="45230" y="-6159"/>
                    <a:pt x="82479" y="1382"/>
                  </a:cubicBezTo>
                  <a:cubicBezTo>
                    <a:pt x="119727" y="8923"/>
                    <a:pt x="143778" y="45229"/>
                    <a:pt x="136237" y="82451"/>
                  </a:cubicBezTo>
                  <a:cubicBezTo>
                    <a:pt x="128696" y="119672"/>
                    <a:pt x="92390" y="143750"/>
                    <a:pt x="55142" y="136209"/>
                  </a:cubicBezTo>
                  <a:close/>
                </a:path>
              </a:pathLst>
            </a:custGeom>
            <a:solidFill>
              <a:srgbClr val="049FE7"/>
            </a:solidFill>
            <a:ln w="0" cap="flat">
              <a:noFill/>
              <a:prstDash val="solid"/>
              <a:miter/>
            </a:ln>
          </p:spPr>
          <p:txBody>
            <a:bodyPr rtlCol="0" anchor="ctr"/>
            <a:lstStyle/>
            <a:p>
              <a:endParaRPr lang="en-US"/>
            </a:p>
          </p:txBody>
        </p:sp>
        <p:grpSp>
          <p:nvGrpSpPr>
            <p:cNvPr id="85" name="Group 84">
              <a:extLst>
                <a:ext uri="{FF2B5EF4-FFF2-40B4-BE49-F238E27FC236}">
                  <a16:creationId xmlns:a16="http://schemas.microsoft.com/office/drawing/2014/main" id="{91D8019F-5158-CB24-4D88-934C35DF6AD8}"/>
                </a:ext>
              </a:extLst>
            </p:cNvPr>
            <p:cNvGrpSpPr/>
            <p:nvPr/>
          </p:nvGrpSpPr>
          <p:grpSpPr>
            <a:xfrm>
              <a:off x="6357255" y="2556407"/>
              <a:ext cx="1262693" cy="282312"/>
              <a:chOff x="5357620" y="1748420"/>
              <a:chExt cx="1262693" cy="282312"/>
            </a:xfrm>
          </p:grpSpPr>
          <p:sp>
            <p:nvSpPr>
              <p:cNvPr id="134" name="Freeform: Shape 133">
                <a:extLst>
                  <a:ext uri="{FF2B5EF4-FFF2-40B4-BE49-F238E27FC236}">
                    <a16:creationId xmlns:a16="http://schemas.microsoft.com/office/drawing/2014/main" id="{FF2BEE4E-D6F5-2AC5-217E-562739830D76}"/>
                  </a:ext>
                </a:extLst>
              </p:cNvPr>
              <p:cNvSpPr/>
              <p:nvPr/>
            </p:nvSpPr>
            <p:spPr>
              <a:xfrm>
                <a:off x="5357620" y="1852974"/>
                <a:ext cx="73257" cy="73204"/>
              </a:xfrm>
              <a:custGeom>
                <a:avLst/>
                <a:gdLst>
                  <a:gd name="connsiteX0" fmla="*/ 73258 w 73257"/>
                  <a:gd name="connsiteY0" fmla="*/ 36602 h 73204"/>
                  <a:gd name="connsiteX1" fmla="*/ 36629 w 73257"/>
                  <a:gd name="connsiteY1" fmla="*/ 73204 h 73204"/>
                  <a:gd name="connsiteX2" fmla="*/ 0 w 73257"/>
                  <a:gd name="connsiteY2" fmla="*/ 36602 h 73204"/>
                  <a:gd name="connsiteX3" fmla="*/ 36629 w 73257"/>
                  <a:gd name="connsiteY3" fmla="*/ 0 h 73204"/>
                  <a:gd name="connsiteX4" fmla="*/ 73258 w 73257"/>
                  <a:gd name="connsiteY4" fmla="*/ 36602 h 73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57" h="73204">
                    <a:moveTo>
                      <a:pt x="73258" y="36602"/>
                    </a:moveTo>
                    <a:cubicBezTo>
                      <a:pt x="73258" y="56829"/>
                      <a:pt x="56856" y="73204"/>
                      <a:pt x="36629" y="73204"/>
                    </a:cubicBezTo>
                    <a:cubicBezTo>
                      <a:pt x="16402" y="73204"/>
                      <a:pt x="0" y="56829"/>
                      <a:pt x="0" y="36602"/>
                    </a:cubicBezTo>
                    <a:cubicBezTo>
                      <a:pt x="0" y="16375"/>
                      <a:pt x="16402" y="0"/>
                      <a:pt x="36629" y="0"/>
                    </a:cubicBezTo>
                    <a:cubicBezTo>
                      <a:pt x="56856" y="0"/>
                      <a:pt x="73258" y="16375"/>
                      <a:pt x="73258" y="36602"/>
                    </a:cubicBezTo>
                    <a:close/>
                  </a:path>
                </a:pathLst>
              </a:custGeom>
              <a:solidFill>
                <a:srgbClr val="049FE7"/>
              </a:solidFill>
              <a:ln w="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2BA621BF-EB8A-42D8-A144-738601A343EA}"/>
                  </a:ext>
                </a:extLst>
              </p:cNvPr>
              <p:cNvSpPr/>
              <p:nvPr/>
            </p:nvSpPr>
            <p:spPr>
              <a:xfrm>
                <a:off x="5514693" y="1852974"/>
                <a:ext cx="73258" cy="73204"/>
              </a:xfrm>
              <a:custGeom>
                <a:avLst/>
                <a:gdLst>
                  <a:gd name="connsiteX0" fmla="*/ 73258 w 73258"/>
                  <a:gd name="connsiteY0" fmla="*/ 36602 h 73204"/>
                  <a:gd name="connsiteX1" fmla="*/ 36629 w 73258"/>
                  <a:gd name="connsiteY1" fmla="*/ 73204 h 73204"/>
                  <a:gd name="connsiteX2" fmla="*/ 0 w 73258"/>
                  <a:gd name="connsiteY2" fmla="*/ 36602 h 73204"/>
                  <a:gd name="connsiteX3" fmla="*/ 36629 w 73258"/>
                  <a:gd name="connsiteY3" fmla="*/ 0 h 73204"/>
                  <a:gd name="connsiteX4" fmla="*/ 73258 w 73258"/>
                  <a:gd name="connsiteY4" fmla="*/ 36602 h 73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58" h="73204">
                    <a:moveTo>
                      <a:pt x="73258" y="36602"/>
                    </a:moveTo>
                    <a:cubicBezTo>
                      <a:pt x="73258" y="56829"/>
                      <a:pt x="56856" y="73204"/>
                      <a:pt x="36629" y="73204"/>
                    </a:cubicBezTo>
                    <a:cubicBezTo>
                      <a:pt x="16402" y="73204"/>
                      <a:pt x="0" y="56829"/>
                      <a:pt x="0" y="36602"/>
                    </a:cubicBezTo>
                    <a:cubicBezTo>
                      <a:pt x="0" y="16375"/>
                      <a:pt x="16402" y="0"/>
                      <a:pt x="36629" y="0"/>
                    </a:cubicBezTo>
                    <a:cubicBezTo>
                      <a:pt x="56856" y="0"/>
                      <a:pt x="73258" y="16375"/>
                      <a:pt x="73258" y="36602"/>
                    </a:cubicBezTo>
                    <a:close/>
                  </a:path>
                </a:pathLst>
              </a:custGeom>
              <a:solidFill>
                <a:srgbClr val="049FE7"/>
              </a:solidFill>
              <a:ln w="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B1AC17C9-30FB-0378-576F-E287C77627C6}"/>
                  </a:ext>
                </a:extLst>
              </p:cNvPr>
              <p:cNvSpPr/>
              <p:nvPr/>
            </p:nvSpPr>
            <p:spPr>
              <a:xfrm>
                <a:off x="5671767" y="1852974"/>
                <a:ext cx="73257" cy="73204"/>
              </a:xfrm>
              <a:custGeom>
                <a:avLst/>
                <a:gdLst>
                  <a:gd name="connsiteX0" fmla="*/ 73258 w 73257"/>
                  <a:gd name="connsiteY0" fmla="*/ 36602 h 73204"/>
                  <a:gd name="connsiteX1" fmla="*/ 36629 w 73257"/>
                  <a:gd name="connsiteY1" fmla="*/ 73204 h 73204"/>
                  <a:gd name="connsiteX2" fmla="*/ 0 w 73257"/>
                  <a:gd name="connsiteY2" fmla="*/ 36602 h 73204"/>
                  <a:gd name="connsiteX3" fmla="*/ 36629 w 73257"/>
                  <a:gd name="connsiteY3" fmla="*/ 0 h 73204"/>
                  <a:gd name="connsiteX4" fmla="*/ 73258 w 73257"/>
                  <a:gd name="connsiteY4" fmla="*/ 36602 h 73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57" h="73204">
                    <a:moveTo>
                      <a:pt x="73258" y="36602"/>
                    </a:moveTo>
                    <a:cubicBezTo>
                      <a:pt x="73258" y="56829"/>
                      <a:pt x="56856" y="73204"/>
                      <a:pt x="36629" y="73204"/>
                    </a:cubicBezTo>
                    <a:cubicBezTo>
                      <a:pt x="16402" y="73204"/>
                      <a:pt x="0" y="56829"/>
                      <a:pt x="0" y="36602"/>
                    </a:cubicBezTo>
                    <a:cubicBezTo>
                      <a:pt x="0" y="16375"/>
                      <a:pt x="16402" y="0"/>
                      <a:pt x="36629" y="0"/>
                    </a:cubicBezTo>
                    <a:cubicBezTo>
                      <a:pt x="56856" y="0"/>
                      <a:pt x="73258" y="16375"/>
                      <a:pt x="73258" y="36602"/>
                    </a:cubicBezTo>
                    <a:close/>
                  </a:path>
                </a:pathLst>
              </a:custGeom>
              <a:solidFill>
                <a:srgbClr val="049FE7"/>
              </a:solidFill>
              <a:ln w="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8205302B-1DD3-36CD-7309-7E319D254CF9}"/>
                  </a:ext>
                </a:extLst>
              </p:cNvPr>
              <p:cNvSpPr/>
              <p:nvPr/>
            </p:nvSpPr>
            <p:spPr>
              <a:xfrm>
                <a:off x="5974872" y="1836437"/>
                <a:ext cx="106331" cy="106277"/>
              </a:xfrm>
              <a:custGeom>
                <a:avLst/>
                <a:gdLst>
                  <a:gd name="connsiteX0" fmla="*/ 106332 w 106331"/>
                  <a:gd name="connsiteY0" fmla="*/ 53139 h 106277"/>
                  <a:gd name="connsiteX1" fmla="*/ 53166 w 106331"/>
                  <a:gd name="connsiteY1" fmla="*/ 106278 h 106277"/>
                  <a:gd name="connsiteX2" fmla="*/ 0 w 106331"/>
                  <a:gd name="connsiteY2" fmla="*/ 53139 h 106277"/>
                  <a:gd name="connsiteX3" fmla="*/ 53166 w 106331"/>
                  <a:gd name="connsiteY3" fmla="*/ 0 h 106277"/>
                  <a:gd name="connsiteX4" fmla="*/ 106332 w 106331"/>
                  <a:gd name="connsiteY4" fmla="*/ 53139 h 106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31" h="106277">
                    <a:moveTo>
                      <a:pt x="106332" y="53139"/>
                    </a:moveTo>
                    <a:cubicBezTo>
                      <a:pt x="106332" y="82469"/>
                      <a:pt x="82523" y="106278"/>
                      <a:pt x="53166" y="106278"/>
                    </a:cubicBezTo>
                    <a:cubicBezTo>
                      <a:pt x="23809" y="106278"/>
                      <a:pt x="0" y="82496"/>
                      <a:pt x="0" y="53139"/>
                    </a:cubicBezTo>
                    <a:cubicBezTo>
                      <a:pt x="0" y="23782"/>
                      <a:pt x="23809" y="0"/>
                      <a:pt x="53166" y="0"/>
                    </a:cubicBezTo>
                    <a:cubicBezTo>
                      <a:pt x="82523" y="0"/>
                      <a:pt x="106332" y="23782"/>
                      <a:pt x="106332" y="53139"/>
                    </a:cubicBezTo>
                    <a:close/>
                  </a:path>
                </a:pathLst>
              </a:custGeom>
              <a:solidFill>
                <a:srgbClr val="049FE7"/>
              </a:solidFill>
              <a:ln w="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17AB7D2E-E5E3-564A-394F-FCA1FBA0D4BC}"/>
                  </a:ext>
                </a:extLst>
              </p:cNvPr>
              <p:cNvSpPr/>
              <p:nvPr/>
            </p:nvSpPr>
            <p:spPr>
              <a:xfrm>
                <a:off x="5886828" y="1748420"/>
                <a:ext cx="282474" cy="282312"/>
              </a:xfrm>
              <a:custGeom>
                <a:avLst/>
                <a:gdLst>
                  <a:gd name="connsiteX0" fmla="*/ 282474 w 282474"/>
                  <a:gd name="connsiteY0" fmla="*/ 141156 h 282312"/>
                  <a:gd name="connsiteX1" fmla="*/ 141237 w 282474"/>
                  <a:gd name="connsiteY1" fmla="*/ 282313 h 282312"/>
                  <a:gd name="connsiteX2" fmla="*/ 0 w 282474"/>
                  <a:gd name="connsiteY2" fmla="*/ 141156 h 282312"/>
                  <a:gd name="connsiteX3" fmla="*/ 141237 w 282474"/>
                  <a:gd name="connsiteY3" fmla="*/ 0 h 282312"/>
                  <a:gd name="connsiteX4" fmla="*/ 282474 w 282474"/>
                  <a:gd name="connsiteY4" fmla="*/ 141156 h 282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474" h="282312">
                    <a:moveTo>
                      <a:pt x="282474" y="141156"/>
                    </a:moveTo>
                    <a:cubicBezTo>
                      <a:pt x="282474" y="219128"/>
                      <a:pt x="219235" y="282313"/>
                      <a:pt x="141237" y="282313"/>
                    </a:cubicBezTo>
                    <a:cubicBezTo>
                      <a:pt x="63239" y="282313"/>
                      <a:pt x="0" y="219101"/>
                      <a:pt x="0" y="141156"/>
                    </a:cubicBezTo>
                    <a:cubicBezTo>
                      <a:pt x="0" y="63212"/>
                      <a:pt x="63239" y="0"/>
                      <a:pt x="141237" y="0"/>
                    </a:cubicBezTo>
                    <a:cubicBezTo>
                      <a:pt x="219235" y="0"/>
                      <a:pt x="282474" y="63212"/>
                      <a:pt x="282474" y="141156"/>
                    </a:cubicBezTo>
                    <a:close/>
                  </a:path>
                </a:pathLst>
              </a:custGeom>
              <a:noFill/>
              <a:ln w="10771" cap="flat">
                <a:solidFill>
                  <a:srgbClr val="17A8F7"/>
                </a:solid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55E1255D-691B-10E3-E3D4-12BD6A19499A}"/>
                  </a:ext>
                </a:extLst>
              </p:cNvPr>
              <p:cNvSpPr/>
              <p:nvPr/>
            </p:nvSpPr>
            <p:spPr>
              <a:xfrm>
                <a:off x="6485398" y="1822117"/>
                <a:ext cx="134915" cy="134895"/>
              </a:xfrm>
              <a:custGeom>
                <a:avLst/>
                <a:gdLst>
                  <a:gd name="connsiteX0" fmla="*/ 64872 w 134915"/>
                  <a:gd name="connsiteY0" fmla="*/ 46 h 134895"/>
                  <a:gd name="connsiteX1" fmla="*/ 25092 w 134915"/>
                  <a:gd name="connsiteY1" fmla="*/ 15021 h 134895"/>
                  <a:gd name="connsiteX2" fmla="*/ 14965 w 134915"/>
                  <a:gd name="connsiteY2" fmla="*/ 109852 h 134895"/>
                  <a:gd name="connsiteX3" fmla="*/ 109824 w 134915"/>
                  <a:gd name="connsiteY3" fmla="*/ 119898 h 134895"/>
                  <a:gd name="connsiteX4" fmla="*/ 119951 w 134915"/>
                  <a:gd name="connsiteY4" fmla="*/ 25067 h 134895"/>
                  <a:gd name="connsiteX5" fmla="*/ 64872 w 134915"/>
                  <a:gd name="connsiteY5" fmla="*/ 46 h 134895"/>
                  <a:gd name="connsiteX6" fmla="*/ 64872 w 134915"/>
                  <a:gd name="connsiteY6" fmla="*/ 46 h 134895"/>
                  <a:gd name="connsiteX7" fmla="*/ 67700 w 134915"/>
                  <a:gd name="connsiteY7" fmla="*/ 45778 h 134895"/>
                  <a:gd name="connsiteX8" fmla="*/ 84345 w 134915"/>
                  <a:gd name="connsiteY8" fmla="*/ 53858 h 134895"/>
                  <a:gd name="connsiteX9" fmla="*/ 81140 w 134915"/>
                  <a:gd name="connsiteY9" fmla="*/ 84373 h 134895"/>
                  <a:gd name="connsiteX10" fmla="*/ 50625 w 134915"/>
                  <a:gd name="connsiteY10" fmla="*/ 81087 h 134895"/>
                  <a:gd name="connsiteX11" fmla="*/ 53830 w 134915"/>
                  <a:gd name="connsiteY11" fmla="*/ 50572 h 134895"/>
                  <a:gd name="connsiteX12" fmla="*/ 67727 w 134915"/>
                  <a:gd name="connsiteY12" fmla="*/ 45778 h 134895"/>
                  <a:gd name="connsiteX13" fmla="*/ 67727 w 134915"/>
                  <a:gd name="connsiteY13" fmla="*/ 45778 h 134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915" h="134895">
                    <a:moveTo>
                      <a:pt x="64872" y="46"/>
                    </a:moveTo>
                    <a:cubicBezTo>
                      <a:pt x="50840" y="558"/>
                      <a:pt x="36862" y="5513"/>
                      <a:pt x="25092" y="15021"/>
                    </a:cubicBezTo>
                    <a:cubicBezTo>
                      <a:pt x="-3888" y="38425"/>
                      <a:pt x="-8439" y="80872"/>
                      <a:pt x="14965" y="109852"/>
                    </a:cubicBezTo>
                    <a:cubicBezTo>
                      <a:pt x="38370" y="138832"/>
                      <a:pt x="80817" y="143303"/>
                      <a:pt x="109824" y="119898"/>
                    </a:cubicBezTo>
                    <a:cubicBezTo>
                      <a:pt x="138804" y="96493"/>
                      <a:pt x="143355" y="54047"/>
                      <a:pt x="119951" y="25067"/>
                    </a:cubicBezTo>
                    <a:cubicBezTo>
                      <a:pt x="106053" y="7856"/>
                      <a:pt x="85395" y="-708"/>
                      <a:pt x="64872" y="46"/>
                    </a:cubicBezTo>
                    <a:lnTo>
                      <a:pt x="64872" y="46"/>
                    </a:lnTo>
                    <a:close/>
                    <a:moveTo>
                      <a:pt x="67700" y="45778"/>
                    </a:moveTo>
                    <a:cubicBezTo>
                      <a:pt x="73949" y="45832"/>
                      <a:pt x="80090" y="48606"/>
                      <a:pt x="84345" y="53858"/>
                    </a:cubicBezTo>
                    <a:cubicBezTo>
                      <a:pt x="91886" y="63177"/>
                      <a:pt x="90459" y="76832"/>
                      <a:pt x="81140" y="84373"/>
                    </a:cubicBezTo>
                    <a:cubicBezTo>
                      <a:pt x="71821" y="91915"/>
                      <a:pt x="58166" y="90406"/>
                      <a:pt x="50625" y="81087"/>
                    </a:cubicBezTo>
                    <a:cubicBezTo>
                      <a:pt x="43084" y="71769"/>
                      <a:pt x="44511" y="58114"/>
                      <a:pt x="53830" y="50572"/>
                    </a:cubicBezTo>
                    <a:cubicBezTo>
                      <a:pt x="57924" y="47286"/>
                      <a:pt x="62852" y="45724"/>
                      <a:pt x="67727" y="45778"/>
                    </a:cubicBezTo>
                    <a:lnTo>
                      <a:pt x="67727" y="45778"/>
                    </a:lnTo>
                    <a:close/>
                  </a:path>
                </a:pathLst>
              </a:custGeom>
              <a:solidFill>
                <a:srgbClr val="049FE7"/>
              </a:solidFill>
              <a:ln w="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B6241C67-65DA-EF79-F39F-BCDD813FD5F2}"/>
                  </a:ext>
                </a:extLst>
              </p:cNvPr>
              <p:cNvSpPr/>
              <p:nvPr/>
            </p:nvSpPr>
            <p:spPr>
              <a:xfrm>
                <a:off x="6173100" y="1889576"/>
                <a:ext cx="333458" cy="2693"/>
              </a:xfrm>
              <a:custGeom>
                <a:avLst/>
                <a:gdLst>
                  <a:gd name="connsiteX0" fmla="*/ 333459 w 333458"/>
                  <a:gd name="connsiteY0" fmla="*/ 0 h 2693"/>
                  <a:gd name="connsiteX1" fmla="*/ 0 w 333458"/>
                  <a:gd name="connsiteY1" fmla="*/ 0 h 2693"/>
                </a:gdLst>
                <a:ahLst/>
                <a:cxnLst>
                  <a:cxn ang="0">
                    <a:pos x="connsiteX0" y="connsiteY0"/>
                  </a:cxn>
                  <a:cxn ang="0">
                    <a:pos x="connsiteX1" y="connsiteY1"/>
                  </a:cxn>
                </a:cxnLst>
                <a:rect l="l" t="t" r="r" b="b"/>
                <a:pathLst>
                  <a:path w="333458" h="2693">
                    <a:moveTo>
                      <a:pt x="333459" y="0"/>
                    </a:moveTo>
                    <a:lnTo>
                      <a:pt x="0" y="0"/>
                    </a:lnTo>
                  </a:path>
                </a:pathLst>
              </a:custGeom>
              <a:noFill/>
              <a:ln w="10771" cap="flat">
                <a:solidFill>
                  <a:srgbClr val="17A8F7"/>
                </a:solidFill>
                <a:prstDash val="solid"/>
                <a:miter/>
              </a:ln>
            </p:spPr>
            <p:txBody>
              <a:bodyPr rtlCol="0" anchor="ctr"/>
              <a:lstStyle/>
              <a:p>
                <a:endParaRPr lang="en-US"/>
              </a:p>
            </p:txBody>
          </p:sp>
        </p:grpSp>
        <p:grpSp>
          <p:nvGrpSpPr>
            <p:cNvPr id="86" name="Group 85">
              <a:extLst>
                <a:ext uri="{FF2B5EF4-FFF2-40B4-BE49-F238E27FC236}">
                  <a16:creationId xmlns:a16="http://schemas.microsoft.com/office/drawing/2014/main" id="{99E1631B-398A-C2D7-284B-1401C82E34C3}"/>
                </a:ext>
              </a:extLst>
            </p:cNvPr>
            <p:cNvGrpSpPr/>
            <p:nvPr/>
          </p:nvGrpSpPr>
          <p:grpSpPr>
            <a:xfrm>
              <a:off x="1543510" y="4599900"/>
              <a:ext cx="380322" cy="264304"/>
              <a:chOff x="5944115" y="5341402"/>
              <a:chExt cx="572031" cy="397532"/>
            </a:xfrm>
          </p:grpSpPr>
          <p:sp>
            <p:nvSpPr>
              <p:cNvPr id="131" name="Freeform: Shape 130">
                <a:extLst>
                  <a:ext uri="{FF2B5EF4-FFF2-40B4-BE49-F238E27FC236}">
                    <a16:creationId xmlns:a16="http://schemas.microsoft.com/office/drawing/2014/main" id="{C431544B-1833-AE3D-246F-74AA6C42ABA2}"/>
                  </a:ext>
                </a:extLst>
              </p:cNvPr>
              <p:cNvSpPr/>
              <p:nvPr/>
            </p:nvSpPr>
            <p:spPr>
              <a:xfrm>
                <a:off x="5944115" y="5341402"/>
                <a:ext cx="151013" cy="397532"/>
              </a:xfrm>
              <a:custGeom>
                <a:avLst/>
                <a:gdLst>
                  <a:gd name="connsiteX0" fmla="*/ 0 w 151013"/>
                  <a:gd name="connsiteY0" fmla="*/ 0 h 397532"/>
                  <a:gd name="connsiteX1" fmla="*/ 151014 w 151013"/>
                  <a:gd name="connsiteY1" fmla="*/ 198766 h 397532"/>
                  <a:gd name="connsiteX2" fmla="*/ 0 w 151013"/>
                  <a:gd name="connsiteY2" fmla="*/ 397532 h 397532"/>
                </a:gdLst>
                <a:ahLst/>
                <a:cxnLst>
                  <a:cxn ang="0">
                    <a:pos x="connsiteX0" y="connsiteY0"/>
                  </a:cxn>
                  <a:cxn ang="0">
                    <a:pos x="connsiteX1" y="connsiteY1"/>
                  </a:cxn>
                  <a:cxn ang="0">
                    <a:pos x="connsiteX2" y="connsiteY2"/>
                  </a:cxn>
                </a:cxnLst>
                <a:rect l="l" t="t" r="r" b="b"/>
                <a:pathLst>
                  <a:path w="151013" h="397532">
                    <a:moveTo>
                      <a:pt x="0" y="0"/>
                    </a:moveTo>
                    <a:lnTo>
                      <a:pt x="151014" y="198766"/>
                    </a:lnTo>
                    <a:lnTo>
                      <a:pt x="0" y="397532"/>
                    </a:lnTo>
                  </a:path>
                </a:pathLst>
              </a:custGeom>
              <a:noFill/>
              <a:ln w="26443" cap="flat">
                <a:solidFill>
                  <a:srgbClr val="17A8F7">
                    <a:alpha val="27000"/>
                  </a:srgbClr>
                </a:solid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4E2C786B-E8E6-47CD-6F25-03F2057A648C}"/>
                  </a:ext>
                </a:extLst>
              </p:cNvPr>
              <p:cNvSpPr/>
              <p:nvPr/>
            </p:nvSpPr>
            <p:spPr>
              <a:xfrm>
                <a:off x="6143796" y="5341402"/>
                <a:ext cx="151014" cy="397532"/>
              </a:xfrm>
              <a:custGeom>
                <a:avLst/>
                <a:gdLst>
                  <a:gd name="connsiteX0" fmla="*/ 0 w 151014"/>
                  <a:gd name="connsiteY0" fmla="*/ 0 h 397532"/>
                  <a:gd name="connsiteX1" fmla="*/ 151014 w 151014"/>
                  <a:gd name="connsiteY1" fmla="*/ 198766 h 397532"/>
                  <a:gd name="connsiteX2" fmla="*/ 0 w 151014"/>
                  <a:gd name="connsiteY2" fmla="*/ 397532 h 397532"/>
                </a:gdLst>
                <a:ahLst/>
                <a:cxnLst>
                  <a:cxn ang="0">
                    <a:pos x="connsiteX0" y="connsiteY0"/>
                  </a:cxn>
                  <a:cxn ang="0">
                    <a:pos x="connsiteX1" y="connsiteY1"/>
                  </a:cxn>
                  <a:cxn ang="0">
                    <a:pos x="connsiteX2" y="connsiteY2"/>
                  </a:cxn>
                </a:cxnLst>
                <a:rect l="l" t="t" r="r" b="b"/>
                <a:pathLst>
                  <a:path w="151014" h="397532">
                    <a:moveTo>
                      <a:pt x="0" y="0"/>
                    </a:moveTo>
                    <a:lnTo>
                      <a:pt x="151014" y="198766"/>
                    </a:lnTo>
                    <a:lnTo>
                      <a:pt x="0" y="397532"/>
                    </a:lnTo>
                  </a:path>
                </a:pathLst>
              </a:custGeom>
              <a:noFill/>
              <a:ln w="26443" cap="flat">
                <a:solidFill>
                  <a:srgbClr val="17A8F7">
                    <a:alpha val="27000"/>
                  </a:srgbClr>
                </a:solid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9327C946-B19E-0E17-F9A4-404EFF481CBD}"/>
                  </a:ext>
                </a:extLst>
              </p:cNvPr>
              <p:cNvSpPr/>
              <p:nvPr/>
            </p:nvSpPr>
            <p:spPr>
              <a:xfrm>
                <a:off x="6365133" y="5341402"/>
                <a:ext cx="151013" cy="397532"/>
              </a:xfrm>
              <a:custGeom>
                <a:avLst/>
                <a:gdLst>
                  <a:gd name="connsiteX0" fmla="*/ 0 w 151013"/>
                  <a:gd name="connsiteY0" fmla="*/ 0 h 397532"/>
                  <a:gd name="connsiteX1" fmla="*/ 151014 w 151013"/>
                  <a:gd name="connsiteY1" fmla="*/ 198766 h 397532"/>
                  <a:gd name="connsiteX2" fmla="*/ 0 w 151013"/>
                  <a:gd name="connsiteY2" fmla="*/ 397532 h 397532"/>
                </a:gdLst>
                <a:ahLst/>
                <a:cxnLst>
                  <a:cxn ang="0">
                    <a:pos x="connsiteX0" y="connsiteY0"/>
                  </a:cxn>
                  <a:cxn ang="0">
                    <a:pos x="connsiteX1" y="connsiteY1"/>
                  </a:cxn>
                  <a:cxn ang="0">
                    <a:pos x="connsiteX2" y="connsiteY2"/>
                  </a:cxn>
                </a:cxnLst>
                <a:rect l="l" t="t" r="r" b="b"/>
                <a:pathLst>
                  <a:path w="151013" h="397532">
                    <a:moveTo>
                      <a:pt x="0" y="0"/>
                    </a:moveTo>
                    <a:lnTo>
                      <a:pt x="151014" y="198766"/>
                    </a:lnTo>
                    <a:lnTo>
                      <a:pt x="0" y="397532"/>
                    </a:lnTo>
                  </a:path>
                </a:pathLst>
              </a:custGeom>
              <a:noFill/>
              <a:ln w="26443" cap="flat">
                <a:solidFill>
                  <a:srgbClr val="17A8F7">
                    <a:alpha val="27000"/>
                  </a:srgbClr>
                </a:solidFill>
                <a:prstDash val="solid"/>
                <a:miter/>
              </a:ln>
            </p:spPr>
            <p:txBody>
              <a:bodyPr rtlCol="0" anchor="ctr"/>
              <a:lstStyle/>
              <a:p>
                <a:endParaRPr lang="en-US"/>
              </a:p>
            </p:txBody>
          </p:sp>
        </p:grpSp>
        <p:grpSp>
          <p:nvGrpSpPr>
            <p:cNvPr id="87" name="Group 86">
              <a:extLst>
                <a:ext uri="{FF2B5EF4-FFF2-40B4-BE49-F238E27FC236}">
                  <a16:creationId xmlns:a16="http://schemas.microsoft.com/office/drawing/2014/main" id="{6BF6D48F-94C1-3FDC-CC5B-40C1219FE332}"/>
                </a:ext>
              </a:extLst>
            </p:cNvPr>
            <p:cNvGrpSpPr/>
            <p:nvPr/>
          </p:nvGrpSpPr>
          <p:grpSpPr>
            <a:xfrm>
              <a:off x="3346014" y="4999513"/>
              <a:ext cx="283202" cy="383419"/>
              <a:chOff x="3346014" y="4999513"/>
              <a:chExt cx="283202" cy="383419"/>
            </a:xfrm>
          </p:grpSpPr>
          <p:sp>
            <p:nvSpPr>
              <p:cNvPr id="129" name="Freeform: Shape 128">
                <a:extLst>
                  <a:ext uri="{FF2B5EF4-FFF2-40B4-BE49-F238E27FC236}">
                    <a16:creationId xmlns:a16="http://schemas.microsoft.com/office/drawing/2014/main" id="{0A113315-D6D3-0819-084E-A8D24F70C37C}"/>
                  </a:ext>
                </a:extLst>
              </p:cNvPr>
              <p:cNvSpPr/>
              <p:nvPr/>
            </p:nvSpPr>
            <p:spPr>
              <a:xfrm>
                <a:off x="3346014" y="4999513"/>
                <a:ext cx="145654" cy="383419"/>
              </a:xfrm>
              <a:custGeom>
                <a:avLst/>
                <a:gdLst>
                  <a:gd name="connsiteX0" fmla="*/ 0 w 145654"/>
                  <a:gd name="connsiteY0" fmla="*/ 0 h 383419"/>
                  <a:gd name="connsiteX1" fmla="*/ 145654 w 145654"/>
                  <a:gd name="connsiteY1" fmla="*/ 191710 h 383419"/>
                  <a:gd name="connsiteX2" fmla="*/ 0 w 145654"/>
                  <a:gd name="connsiteY2" fmla="*/ 383419 h 383419"/>
                </a:gdLst>
                <a:ahLst/>
                <a:cxnLst>
                  <a:cxn ang="0">
                    <a:pos x="connsiteX0" y="connsiteY0"/>
                  </a:cxn>
                  <a:cxn ang="0">
                    <a:pos x="connsiteX1" y="connsiteY1"/>
                  </a:cxn>
                  <a:cxn ang="0">
                    <a:pos x="connsiteX2" y="connsiteY2"/>
                  </a:cxn>
                </a:cxnLst>
                <a:rect l="l" t="t" r="r" b="b"/>
                <a:pathLst>
                  <a:path w="145654" h="383419">
                    <a:moveTo>
                      <a:pt x="0" y="0"/>
                    </a:moveTo>
                    <a:lnTo>
                      <a:pt x="145654" y="191710"/>
                    </a:lnTo>
                    <a:lnTo>
                      <a:pt x="0" y="383419"/>
                    </a:lnTo>
                  </a:path>
                </a:pathLst>
              </a:custGeom>
              <a:noFill/>
              <a:ln w="26443" cap="flat">
                <a:solidFill>
                  <a:srgbClr val="17A8F7">
                    <a:alpha val="33000"/>
                  </a:srgbClr>
                </a:solid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1D19EE74-BBE5-2583-C6C3-06E5D4827C14}"/>
                  </a:ext>
                </a:extLst>
              </p:cNvPr>
              <p:cNvSpPr/>
              <p:nvPr/>
            </p:nvSpPr>
            <p:spPr>
              <a:xfrm>
                <a:off x="3483562" y="4999513"/>
                <a:ext cx="145654" cy="383419"/>
              </a:xfrm>
              <a:custGeom>
                <a:avLst/>
                <a:gdLst>
                  <a:gd name="connsiteX0" fmla="*/ 0 w 145654"/>
                  <a:gd name="connsiteY0" fmla="*/ 0 h 383419"/>
                  <a:gd name="connsiteX1" fmla="*/ 145654 w 145654"/>
                  <a:gd name="connsiteY1" fmla="*/ 191710 h 383419"/>
                  <a:gd name="connsiteX2" fmla="*/ 0 w 145654"/>
                  <a:gd name="connsiteY2" fmla="*/ 383419 h 383419"/>
                </a:gdLst>
                <a:ahLst/>
                <a:cxnLst>
                  <a:cxn ang="0">
                    <a:pos x="connsiteX0" y="connsiteY0"/>
                  </a:cxn>
                  <a:cxn ang="0">
                    <a:pos x="connsiteX1" y="connsiteY1"/>
                  </a:cxn>
                  <a:cxn ang="0">
                    <a:pos x="connsiteX2" y="connsiteY2"/>
                  </a:cxn>
                </a:cxnLst>
                <a:rect l="l" t="t" r="r" b="b"/>
                <a:pathLst>
                  <a:path w="145654" h="383419">
                    <a:moveTo>
                      <a:pt x="0" y="0"/>
                    </a:moveTo>
                    <a:lnTo>
                      <a:pt x="145654" y="191710"/>
                    </a:lnTo>
                    <a:lnTo>
                      <a:pt x="0" y="383419"/>
                    </a:lnTo>
                  </a:path>
                </a:pathLst>
              </a:custGeom>
              <a:noFill/>
              <a:ln w="26443" cap="flat">
                <a:solidFill>
                  <a:srgbClr val="17A8F7">
                    <a:alpha val="33000"/>
                  </a:srgbClr>
                </a:solidFill>
                <a:prstDash val="solid"/>
                <a:miter/>
              </a:ln>
            </p:spPr>
            <p:txBody>
              <a:bodyPr rtlCol="0" anchor="ctr"/>
              <a:lstStyle/>
              <a:p>
                <a:endParaRPr lang="en-US"/>
              </a:p>
            </p:txBody>
          </p:sp>
        </p:grpSp>
        <p:grpSp>
          <p:nvGrpSpPr>
            <p:cNvPr id="88" name="Graphic 2673">
              <a:extLst>
                <a:ext uri="{FF2B5EF4-FFF2-40B4-BE49-F238E27FC236}">
                  <a16:creationId xmlns:a16="http://schemas.microsoft.com/office/drawing/2014/main" id="{48C9677F-61AD-94CA-FDE7-0BAAFDBB8A4D}"/>
                </a:ext>
              </a:extLst>
            </p:cNvPr>
            <p:cNvGrpSpPr/>
            <p:nvPr/>
          </p:nvGrpSpPr>
          <p:grpSpPr>
            <a:xfrm>
              <a:off x="2910668" y="2325890"/>
              <a:ext cx="435346" cy="344635"/>
              <a:chOff x="2664257" y="2302649"/>
              <a:chExt cx="435346" cy="344635"/>
            </a:xfrm>
            <a:noFill/>
          </p:grpSpPr>
          <p:sp>
            <p:nvSpPr>
              <p:cNvPr id="126" name="Freeform: Shape 125">
                <a:extLst>
                  <a:ext uri="{FF2B5EF4-FFF2-40B4-BE49-F238E27FC236}">
                    <a16:creationId xmlns:a16="http://schemas.microsoft.com/office/drawing/2014/main" id="{6AE3D697-5B85-F9F7-A99F-EA7D799D4D8A}"/>
                  </a:ext>
                </a:extLst>
              </p:cNvPr>
              <p:cNvSpPr/>
              <p:nvPr/>
            </p:nvSpPr>
            <p:spPr>
              <a:xfrm>
                <a:off x="2968062"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B27F336E-DF23-D434-8D76-19D7D08BC668}"/>
                  </a:ext>
                </a:extLst>
              </p:cNvPr>
              <p:cNvSpPr/>
              <p:nvPr/>
            </p:nvSpPr>
            <p:spPr>
              <a:xfrm>
                <a:off x="2816160"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13C14C1B-255E-DFB8-97AD-7887317DE395}"/>
                  </a:ext>
                </a:extLst>
              </p:cNvPr>
              <p:cNvSpPr/>
              <p:nvPr/>
            </p:nvSpPr>
            <p:spPr>
              <a:xfrm>
                <a:off x="2664257"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grpSp>
        <p:grpSp>
          <p:nvGrpSpPr>
            <p:cNvPr id="89" name="Graphic 3">
              <a:extLst>
                <a:ext uri="{FF2B5EF4-FFF2-40B4-BE49-F238E27FC236}">
                  <a16:creationId xmlns:a16="http://schemas.microsoft.com/office/drawing/2014/main" id="{E1C086A8-21E9-2F25-1056-378EB8CE29D1}"/>
                </a:ext>
              </a:extLst>
            </p:cNvPr>
            <p:cNvGrpSpPr/>
            <p:nvPr/>
          </p:nvGrpSpPr>
          <p:grpSpPr>
            <a:xfrm>
              <a:off x="4513969" y="3589230"/>
              <a:ext cx="334874" cy="261610"/>
              <a:chOff x="8870854" y="2174210"/>
              <a:chExt cx="1054006" cy="823411"/>
            </a:xfrm>
            <a:solidFill>
              <a:schemeClr val="bg1"/>
            </a:solidFill>
          </p:grpSpPr>
          <p:sp>
            <p:nvSpPr>
              <p:cNvPr id="122" name="Freeform: Shape 121">
                <a:extLst>
                  <a:ext uri="{FF2B5EF4-FFF2-40B4-BE49-F238E27FC236}">
                    <a16:creationId xmlns:a16="http://schemas.microsoft.com/office/drawing/2014/main" id="{FAD2CC57-E63A-7B4C-DC2A-1F1443679F87}"/>
                  </a:ext>
                </a:extLst>
              </p:cNvPr>
              <p:cNvSpPr/>
              <p:nvPr/>
            </p:nvSpPr>
            <p:spPr>
              <a:xfrm>
                <a:off x="8976154" y="2621108"/>
                <a:ext cx="245918" cy="373236"/>
              </a:xfrm>
              <a:custGeom>
                <a:avLst/>
                <a:gdLst>
                  <a:gd name="connsiteX0" fmla="*/ 224822 w 245918"/>
                  <a:gd name="connsiteY0" fmla="*/ 201931 h 373236"/>
                  <a:gd name="connsiteX1" fmla="*/ 172662 w 245918"/>
                  <a:gd name="connsiteY1" fmla="*/ 201931 h 373236"/>
                  <a:gd name="connsiteX2" fmla="*/ 172662 w 245918"/>
                  <a:gd name="connsiteY2" fmla="*/ 21940 h 373236"/>
                  <a:gd name="connsiteX3" fmla="*/ 150722 w 245918"/>
                  <a:gd name="connsiteY3" fmla="*/ 0 h 373236"/>
                  <a:gd name="connsiteX4" fmla="*/ 95196 w 245918"/>
                  <a:gd name="connsiteY4" fmla="*/ 0 h 373236"/>
                  <a:gd name="connsiteX5" fmla="*/ 73256 w 245918"/>
                  <a:gd name="connsiteY5" fmla="*/ 21940 h 373236"/>
                  <a:gd name="connsiteX6" fmla="*/ 73256 w 245918"/>
                  <a:gd name="connsiteY6" fmla="*/ 201931 h 373236"/>
                  <a:gd name="connsiteX7" fmla="*/ 21097 w 245918"/>
                  <a:gd name="connsiteY7" fmla="*/ 201931 h 373236"/>
                  <a:gd name="connsiteX8" fmla="*/ 4566 w 245918"/>
                  <a:gd name="connsiteY8" fmla="*/ 236042 h 373236"/>
                  <a:gd name="connsiteX9" fmla="*/ 106428 w 245918"/>
                  <a:gd name="connsiteY9" fmla="*/ 365226 h 373236"/>
                  <a:gd name="connsiteX10" fmla="*/ 139490 w 245918"/>
                  <a:gd name="connsiteY10" fmla="*/ 365226 h 373236"/>
                  <a:gd name="connsiteX11" fmla="*/ 241353 w 245918"/>
                  <a:gd name="connsiteY11" fmla="*/ 236042 h 373236"/>
                  <a:gd name="connsiteX12" fmla="*/ 224822 w 245918"/>
                  <a:gd name="connsiteY12" fmla="*/ 201931 h 37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8" h="373236">
                    <a:moveTo>
                      <a:pt x="224822" y="201931"/>
                    </a:moveTo>
                    <a:lnTo>
                      <a:pt x="172662" y="201931"/>
                    </a:lnTo>
                    <a:lnTo>
                      <a:pt x="172662" y="21940"/>
                    </a:lnTo>
                    <a:cubicBezTo>
                      <a:pt x="172662" y="9825"/>
                      <a:pt x="162837" y="0"/>
                      <a:pt x="150722" y="0"/>
                    </a:cubicBezTo>
                    <a:lnTo>
                      <a:pt x="95196" y="0"/>
                    </a:lnTo>
                    <a:cubicBezTo>
                      <a:pt x="83081" y="0"/>
                      <a:pt x="73256" y="9825"/>
                      <a:pt x="73256" y="21940"/>
                    </a:cubicBezTo>
                    <a:lnTo>
                      <a:pt x="73256" y="201931"/>
                    </a:lnTo>
                    <a:lnTo>
                      <a:pt x="21097" y="201931"/>
                    </a:lnTo>
                    <a:cubicBezTo>
                      <a:pt x="3517" y="201931"/>
                      <a:pt x="-6335" y="222216"/>
                      <a:pt x="4566" y="236042"/>
                    </a:cubicBezTo>
                    <a:lnTo>
                      <a:pt x="106428" y="365226"/>
                    </a:lnTo>
                    <a:cubicBezTo>
                      <a:pt x="114845" y="375907"/>
                      <a:pt x="131073" y="375907"/>
                      <a:pt x="139490" y="365226"/>
                    </a:cubicBezTo>
                    <a:lnTo>
                      <a:pt x="241353" y="236042"/>
                    </a:lnTo>
                    <a:cubicBezTo>
                      <a:pt x="252254" y="222243"/>
                      <a:pt x="242401" y="201931"/>
                      <a:pt x="224822" y="201931"/>
                    </a:cubicBezTo>
                    <a:close/>
                  </a:path>
                </a:pathLst>
              </a:custGeom>
              <a:grpFill/>
              <a:ln w="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802CA24D-1A4E-5E5C-1772-AC0FD4967516}"/>
                  </a:ext>
                </a:extLst>
              </p:cNvPr>
              <p:cNvSpPr/>
              <p:nvPr/>
            </p:nvSpPr>
            <p:spPr>
              <a:xfrm>
                <a:off x="9090255" y="2174210"/>
                <a:ext cx="756913" cy="389276"/>
              </a:xfrm>
              <a:custGeom>
                <a:avLst/>
                <a:gdLst>
                  <a:gd name="connsiteX0" fmla="*/ 250227 w 756913"/>
                  <a:gd name="connsiteY0" fmla="*/ 373930 h 389276"/>
                  <a:gd name="connsiteX1" fmla="*/ 420090 w 756913"/>
                  <a:gd name="connsiteY1" fmla="*/ 286445 h 389276"/>
                  <a:gd name="connsiteX2" fmla="*/ 436566 w 756913"/>
                  <a:gd name="connsiteY2" fmla="*/ 246291 h 389276"/>
                  <a:gd name="connsiteX3" fmla="*/ 398206 w 756913"/>
                  <a:gd name="connsiteY3" fmla="*/ 224130 h 389276"/>
                  <a:gd name="connsiteX4" fmla="*/ 230137 w 756913"/>
                  <a:gd name="connsiteY4" fmla="*/ 258572 h 389276"/>
                  <a:gd name="connsiteX5" fmla="*/ 200165 w 756913"/>
                  <a:gd name="connsiteY5" fmla="*/ 238784 h 389276"/>
                  <a:gd name="connsiteX6" fmla="*/ 219925 w 756913"/>
                  <a:gd name="connsiteY6" fmla="*/ 208538 h 389276"/>
                  <a:gd name="connsiteX7" fmla="*/ 387691 w 756913"/>
                  <a:gd name="connsiteY7" fmla="*/ 174068 h 389276"/>
                  <a:gd name="connsiteX8" fmla="*/ 484752 w 756913"/>
                  <a:gd name="connsiteY8" fmla="*/ 230395 h 389276"/>
                  <a:gd name="connsiteX9" fmla="*/ 488643 w 756913"/>
                  <a:gd name="connsiteY9" fmla="*/ 263650 h 389276"/>
                  <a:gd name="connsiteX10" fmla="*/ 688781 w 756913"/>
                  <a:gd name="connsiteY10" fmla="*/ 344842 h 389276"/>
                  <a:gd name="connsiteX11" fmla="*/ 730729 w 756913"/>
                  <a:gd name="connsiteY11" fmla="*/ 342745 h 389276"/>
                  <a:gd name="connsiteX12" fmla="*/ 755898 w 756913"/>
                  <a:gd name="connsiteY12" fmla="*/ 309186 h 389276"/>
                  <a:gd name="connsiteX13" fmla="*/ 736717 w 756913"/>
                  <a:gd name="connsiteY13" fmla="*/ 259455 h 389276"/>
                  <a:gd name="connsiteX14" fmla="*/ 435931 w 756913"/>
                  <a:gd name="connsiteY14" fmla="*/ 37764 h 389276"/>
                  <a:gd name="connsiteX15" fmla="*/ 277135 w 756913"/>
                  <a:gd name="connsiteY15" fmla="*/ 5116 h 389276"/>
                  <a:gd name="connsiteX16" fmla="*/ 0 w 756913"/>
                  <a:gd name="connsiteY16" fmla="*/ 70412 h 389276"/>
                  <a:gd name="connsiteX17" fmla="*/ 0 w 756913"/>
                  <a:gd name="connsiteY17" fmla="*/ 334079 h 389276"/>
                  <a:gd name="connsiteX18" fmla="*/ 142597 w 756913"/>
                  <a:gd name="connsiteY18" fmla="*/ 382016 h 389276"/>
                  <a:gd name="connsiteX19" fmla="*/ 250145 w 756913"/>
                  <a:gd name="connsiteY19" fmla="*/ 373930 h 38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6913" h="389276">
                    <a:moveTo>
                      <a:pt x="250227" y="373930"/>
                    </a:moveTo>
                    <a:lnTo>
                      <a:pt x="420090" y="286445"/>
                    </a:lnTo>
                    <a:cubicBezTo>
                      <a:pt x="434772" y="278663"/>
                      <a:pt x="441672" y="261884"/>
                      <a:pt x="436566" y="246291"/>
                    </a:cubicBezTo>
                    <a:cubicBezTo>
                      <a:pt x="431185" y="230119"/>
                      <a:pt x="414681" y="220542"/>
                      <a:pt x="398206" y="224130"/>
                    </a:cubicBezTo>
                    <a:lnTo>
                      <a:pt x="230137" y="258572"/>
                    </a:lnTo>
                    <a:cubicBezTo>
                      <a:pt x="216641" y="261580"/>
                      <a:pt x="203174" y="252583"/>
                      <a:pt x="200165" y="238784"/>
                    </a:cubicBezTo>
                    <a:cubicBezTo>
                      <a:pt x="197461" y="225013"/>
                      <a:pt x="206154" y="211518"/>
                      <a:pt x="219925" y="208538"/>
                    </a:cubicBezTo>
                    <a:lnTo>
                      <a:pt x="387691" y="174068"/>
                    </a:lnTo>
                    <a:cubicBezTo>
                      <a:pt x="429639" y="165678"/>
                      <a:pt x="471588" y="189661"/>
                      <a:pt x="484752" y="230395"/>
                    </a:cubicBezTo>
                    <a:cubicBezTo>
                      <a:pt x="488339" y="241461"/>
                      <a:pt x="489554" y="252556"/>
                      <a:pt x="488643" y="263650"/>
                    </a:cubicBezTo>
                    <a:lnTo>
                      <a:pt x="688781" y="344842"/>
                    </a:lnTo>
                    <a:cubicBezTo>
                      <a:pt x="702276" y="350527"/>
                      <a:pt x="717537" y="349644"/>
                      <a:pt x="730729" y="342745"/>
                    </a:cubicBezTo>
                    <a:cubicBezTo>
                      <a:pt x="743617" y="335845"/>
                      <a:pt x="752890" y="323564"/>
                      <a:pt x="755898" y="309186"/>
                    </a:cubicBezTo>
                    <a:cubicBezTo>
                      <a:pt x="759789" y="290309"/>
                      <a:pt x="752311" y="270825"/>
                      <a:pt x="736717" y="259455"/>
                    </a:cubicBezTo>
                    <a:lnTo>
                      <a:pt x="435931" y="37764"/>
                    </a:lnTo>
                    <a:cubicBezTo>
                      <a:pt x="390395" y="3901"/>
                      <a:pt x="332275" y="-7772"/>
                      <a:pt x="277135" y="5116"/>
                    </a:cubicBezTo>
                    <a:lnTo>
                      <a:pt x="0" y="70412"/>
                    </a:lnTo>
                    <a:lnTo>
                      <a:pt x="0" y="334079"/>
                    </a:lnTo>
                    <a:lnTo>
                      <a:pt x="142597" y="382016"/>
                    </a:lnTo>
                    <a:cubicBezTo>
                      <a:pt x="177949" y="394021"/>
                      <a:pt x="216890" y="391013"/>
                      <a:pt x="250145" y="373930"/>
                    </a:cubicBezTo>
                    <a:close/>
                  </a:path>
                </a:pathLst>
              </a:custGeom>
              <a:grpFill/>
              <a:ln w="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2CAFF1BD-000D-1776-DAFA-956266A8EB61}"/>
                  </a:ext>
                </a:extLst>
              </p:cNvPr>
              <p:cNvSpPr/>
              <p:nvPr/>
            </p:nvSpPr>
            <p:spPr>
              <a:xfrm>
                <a:off x="8870854" y="2193456"/>
                <a:ext cx="168483" cy="364426"/>
              </a:xfrm>
              <a:custGeom>
                <a:avLst/>
                <a:gdLst>
                  <a:gd name="connsiteX0" fmla="*/ 168483 w 168483"/>
                  <a:gd name="connsiteY0" fmla="*/ 335062 h 364426"/>
                  <a:gd name="connsiteX1" fmla="*/ 168483 w 168483"/>
                  <a:gd name="connsiteY1" fmla="*/ 29364 h 364426"/>
                  <a:gd name="connsiteX2" fmla="*/ 139119 w 168483"/>
                  <a:gd name="connsiteY2" fmla="*/ 0 h 364426"/>
                  <a:gd name="connsiteX3" fmla="*/ 29364 w 168483"/>
                  <a:gd name="connsiteY3" fmla="*/ 0 h 364426"/>
                  <a:gd name="connsiteX4" fmla="*/ 0 w 168483"/>
                  <a:gd name="connsiteY4" fmla="*/ 29364 h 364426"/>
                  <a:gd name="connsiteX5" fmla="*/ 0 w 168483"/>
                  <a:gd name="connsiteY5" fmla="*/ 335062 h 364426"/>
                  <a:gd name="connsiteX6" fmla="*/ 29364 w 168483"/>
                  <a:gd name="connsiteY6" fmla="*/ 364426 h 364426"/>
                  <a:gd name="connsiteX7" fmla="*/ 139119 w 168483"/>
                  <a:gd name="connsiteY7" fmla="*/ 364426 h 364426"/>
                  <a:gd name="connsiteX8" fmla="*/ 168483 w 168483"/>
                  <a:gd name="connsiteY8" fmla="*/ 335062 h 36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83" h="364426">
                    <a:moveTo>
                      <a:pt x="168483" y="335062"/>
                    </a:moveTo>
                    <a:lnTo>
                      <a:pt x="168483" y="29364"/>
                    </a:lnTo>
                    <a:cubicBezTo>
                      <a:pt x="168483" y="13164"/>
                      <a:pt x="155347" y="0"/>
                      <a:pt x="139119" y="0"/>
                    </a:cubicBezTo>
                    <a:lnTo>
                      <a:pt x="29364" y="0"/>
                    </a:lnTo>
                    <a:cubicBezTo>
                      <a:pt x="13136" y="0"/>
                      <a:pt x="0" y="13164"/>
                      <a:pt x="0" y="29364"/>
                    </a:cubicBezTo>
                    <a:lnTo>
                      <a:pt x="0" y="335062"/>
                    </a:lnTo>
                    <a:cubicBezTo>
                      <a:pt x="0" y="351290"/>
                      <a:pt x="13136" y="364426"/>
                      <a:pt x="29364" y="364426"/>
                    </a:cubicBezTo>
                    <a:lnTo>
                      <a:pt x="139119" y="364426"/>
                    </a:lnTo>
                    <a:cubicBezTo>
                      <a:pt x="155347" y="364426"/>
                      <a:pt x="168483" y="351262"/>
                      <a:pt x="168483" y="335062"/>
                    </a:cubicBezTo>
                    <a:close/>
                  </a:path>
                </a:pathLst>
              </a:custGeom>
              <a:grpFill/>
              <a:ln w="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7EA0AE27-D328-35FD-BAA6-7BBBC452459A}"/>
                  </a:ext>
                </a:extLst>
              </p:cNvPr>
              <p:cNvSpPr/>
              <p:nvPr/>
            </p:nvSpPr>
            <p:spPr>
              <a:xfrm>
                <a:off x="9249300" y="2539502"/>
                <a:ext cx="675560" cy="458119"/>
              </a:xfrm>
              <a:custGeom>
                <a:avLst/>
                <a:gdLst>
                  <a:gd name="connsiteX0" fmla="*/ 645618 w 675560"/>
                  <a:gd name="connsiteY0" fmla="*/ 398178 h 458119"/>
                  <a:gd name="connsiteX1" fmla="*/ 562659 w 675560"/>
                  <a:gd name="connsiteY1" fmla="*/ 398178 h 458119"/>
                  <a:gd name="connsiteX2" fmla="*/ 600716 w 675560"/>
                  <a:gd name="connsiteY2" fmla="*/ 262757 h 458119"/>
                  <a:gd name="connsiteX3" fmla="*/ 337601 w 675560"/>
                  <a:gd name="connsiteY3" fmla="*/ 0 h 458119"/>
                  <a:gd name="connsiteX4" fmla="*/ 74844 w 675560"/>
                  <a:gd name="connsiteY4" fmla="*/ 262757 h 458119"/>
                  <a:gd name="connsiteX5" fmla="*/ 112708 w 675560"/>
                  <a:gd name="connsiteY5" fmla="*/ 398178 h 458119"/>
                  <a:gd name="connsiteX6" fmla="*/ 29971 w 675560"/>
                  <a:gd name="connsiteY6" fmla="*/ 398178 h 458119"/>
                  <a:gd name="connsiteX7" fmla="*/ 0 w 675560"/>
                  <a:gd name="connsiteY7" fmla="*/ 428149 h 458119"/>
                  <a:gd name="connsiteX8" fmla="*/ 29971 w 675560"/>
                  <a:gd name="connsiteY8" fmla="*/ 458120 h 458119"/>
                  <a:gd name="connsiteX9" fmla="*/ 645590 w 675560"/>
                  <a:gd name="connsiteY9" fmla="*/ 458120 h 458119"/>
                  <a:gd name="connsiteX10" fmla="*/ 675561 w 675560"/>
                  <a:gd name="connsiteY10" fmla="*/ 428149 h 458119"/>
                  <a:gd name="connsiteX11" fmla="*/ 645590 w 675560"/>
                  <a:gd name="connsiteY11" fmla="*/ 398178 h 4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5560" h="458119">
                    <a:moveTo>
                      <a:pt x="645618" y="398178"/>
                    </a:moveTo>
                    <a:lnTo>
                      <a:pt x="562659" y="398178"/>
                    </a:lnTo>
                    <a:cubicBezTo>
                      <a:pt x="586807" y="358603"/>
                      <a:pt x="600716" y="312294"/>
                      <a:pt x="600716" y="262757"/>
                    </a:cubicBezTo>
                    <a:cubicBezTo>
                      <a:pt x="600716" y="117483"/>
                      <a:pt x="482875" y="0"/>
                      <a:pt x="337601" y="0"/>
                    </a:cubicBezTo>
                    <a:cubicBezTo>
                      <a:pt x="192327" y="0"/>
                      <a:pt x="74844" y="117483"/>
                      <a:pt x="74844" y="262757"/>
                    </a:cubicBezTo>
                    <a:cubicBezTo>
                      <a:pt x="74844" y="312294"/>
                      <a:pt x="88781" y="358631"/>
                      <a:pt x="112708" y="398178"/>
                    </a:cubicBezTo>
                    <a:lnTo>
                      <a:pt x="29971" y="398178"/>
                    </a:lnTo>
                    <a:cubicBezTo>
                      <a:pt x="13412" y="398178"/>
                      <a:pt x="0" y="411590"/>
                      <a:pt x="0" y="428149"/>
                    </a:cubicBezTo>
                    <a:cubicBezTo>
                      <a:pt x="0" y="444707"/>
                      <a:pt x="13412" y="458120"/>
                      <a:pt x="29971" y="458120"/>
                    </a:cubicBezTo>
                    <a:lnTo>
                      <a:pt x="645590" y="458120"/>
                    </a:lnTo>
                    <a:cubicBezTo>
                      <a:pt x="662149" y="458120"/>
                      <a:pt x="675561" y="444707"/>
                      <a:pt x="675561" y="428149"/>
                    </a:cubicBezTo>
                    <a:cubicBezTo>
                      <a:pt x="675561" y="411590"/>
                      <a:pt x="662149" y="398178"/>
                      <a:pt x="645590" y="398178"/>
                    </a:cubicBezTo>
                    <a:close/>
                  </a:path>
                </a:pathLst>
              </a:custGeom>
              <a:grpFill/>
              <a:ln w="0" cap="flat">
                <a:noFill/>
                <a:prstDash val="solid"/>
                <a:miter/>
              </a:ln>
            </p:spPr>
            <p:txBody>
              <a:bodyPr rtlCol="0" anchor="ctr"/>
              <a:lstStyle/>
              <a:p>
                <a:endParaRPr lang="en-US"/>
              </a:p>
            </p:txBody>
          </p:sp>
        </p:grpSp>
        <p:grpSp>
          <p:nvGrpSpPr>
            <p:cNvPr id="90" name="Group 89">
              <a:extLst>
                <a:ext uri="{FF2B5EF4-FFF2-40B4-BE49-F238E27FC236}">
                  <a16:creationId xmlns:a16="http://schemas.microsoft.com/office/drawing/2014/main" id="{4A3DC65D-89D2-3FD0-CA72-7DDA841FAF9B}"/>
                </a:ext>
              </a:extLst>
            </p:cNvPr>
            <p:cNvGrpSpPr/>
            <p:nvPr/>
          </p:nvGrpSpPr>
          <p:grpSpPr>
            <a:xfrm>
              <a:off x="4662221" y="4605426"/>
              <a:ext cx="324194" cy="188251"/>
              <a:chOff x="5489144" y="4082842"/>
              <a:chExt cx="1127632" cy="654787"/>
            </a:xfrm>
            <a:solidFill>
              <a:schemeClr val="bg1"/>
            </a:solidFill>
          </p:grpSpPr>
          <p:sp>
            <p:nvSpPr>
              <p:cNvPr id="114" name="Freeform: Shape 113">
                <a:extLst>
                  <a:ext uri="{FF2B5EF4-FFF2-40B4-BE49-F238E27FC236}">
                    <a16:creationId xmlns:a16="http://schemas.microsoft.com/office/drawing/2014/main" id="{F7C74F61-07D7-2526-72A4-D7B6EE5D57A7}"/>
                  </a:ext>
                </a:extLst>
              </p:cNvPr>
              <p:cNvSpPr/>
              <p:nvPr/>
            </p:nvSpPr>
            <p:spPr>
              <a:xfrm>
                <a:off x="5649967" y="4184794"/>
                <a:ext cx="699847" cy="552835"/>
              </a:xfrm>
              <a:custGeom>
                <a:avLst/>
                <a:gdLst>
                  <a:gd name="connsiteX0" fmla="*/ 684365 w 699847"/>
                  <a:gd name="connsiteY0" fmla="*/ 282206 h 552835"/>
                  <a:gd name="connsiteX1" fmla="*/ 662977 w 699847"/>
                  <a:gd name="connsiteY1" fmla="*/ 255877 h 552835"/>
                  <a:gd name="connsiteX2" fmla="*/ 457982 w 699847"/>
                  <a:gd name="connsiteY2" fmla="*/ 100448 h 552835"/>
                  <a:gd name="connsiteX3" fmla="*/ 441506 w 699847"/>
                  <a:gd name="connsiteY3" fmla="*/ 126583 h 552835"/>
                  <a:gd name="connsiteX4" fmla="*/ 371077 w 699847"/>
                  <a:gd name="connsiteY4" fmla="*/ 154015 h 552835"/>
                  <a:gd name="connsiteX5" fmla="*/ 370001 w 699847"/>
                  <a:gd name="connsiteY5" fmla="*/ 153629 h 552835"/>
                  <a:gd name="connsiteX6" fmla="*/ 326341 w 699847"/>
                  <a:gd name="connsiteY6" fmla="*/ 77763 h 552835"/>
                  <a:gd name="connsiteX7" fmla="*/ 354712 w 699847"/>
                  <a:gd name="connsiteY7" fmla="*/ 4546 h 552835"/>
                  <a:gd name="connsiteX8" fmla="*/ 329267 w 699847"/>
                  <a:gd name="connsiteY8" fmla="*/ 959 h 552835"/>
                  <a:gd name="connsiteX9" fmla="*/ 268690 w 699847"/>
                  <a:gd name="connsiteY9" fmla="*/ 12025 h 552835"/>
                  <a:gd name="connsiteX10" fmla="*/ 251138 w 699847"/>
                  <a:gd name="connsiteY10" fmla="*/ 21547 h 552835"/>
                  <a:gd name="connsiteX11" fmla="*/ 175438 w 699847"/>
                  <a:gd name="connsiteY11" fmla="*/ 25741 h 552835"/>
                  <a:gd name="connsiteX12" fmla="*/ 140775 w 699847"/>
                  <a:gd name="connsiteY12" fmla="*/ 11335 h 552835"/>
                  <a:gd name="connsiteX13" fmla="*/ 0 w 699847"/>
                  <a:gd name="connsiteY13" fmla="*/ 231426 h 552835"/>
                  <a:gd name="connsiteX14" fmla="*/ 47413 w 699847"/>
                  <a:gd name="connsiteY14" fmla="*/ 263301 h 552835"/>
                  <a:gd name="connsiteX15" fmla="*/ 73465 w 699847"/>
                  <a:gd name="connsiteY15" fmla="*/ 237249 h 552835"/>
                  <a:gd name="connsiteX16" fmla="*/ 116986 w 699847"/>
                  <a:gd name="connsiteY16" fmla="*/ 219228 h 552835"/>
                  <a:gd name="connsiteX17" fmla="*/ 160508 w 699847"/>
                  <a:gd name="connsiteY17" fmla="*/ 237249 h 552835"/>
                  <a:gd name="connsiteX18" fmla="*/ 177452 w 699847"/>
                  <a:gd name="connsiteY18" fmla="*/ 270587 h 552835"/>
                  <a:gd name="connsiteX19" fmla="*/ 231737 w 699847"/>
                  <a:gd name="connsiteY19" fmla="*/ 287449 h 552835"/>
                  <a:gd name="connsiteX20" fmla="*/ 249648 w 699847"/>
                  <a:gd name="connsiteY20" fmla="*/ 330971 h 552835"/>
                  <a:gd name="connsiteX21" fmla="*/ 248627 w 699847"/>
                  <a:gd name="connsiteY21" fmla="*/ 341623 h 552835"/>
                  <a:gd name="connsiteX22" fmla="*/ 280585 w 699847"/>
                  <a:gd name="connsiteY22" fmla="*/ 357326 h 552835"/>
                  <a:gd name="connsiteX23" fmla="*/ 280612 w 699847"/>
                  <a:gd name="connsiteY23" fmla="*/ 357326 h 552835"/>
                  <a:gd name="connsiteX24" fmla="*/ 281937 w 699847"/>
                  <a:gd name="connsiteY24" fmla="*/ 358513 h 552835"/>
                  <a:gd name="connsiteX25" fmla="*/ 298771 w 699847"/>
                  <a:gd name="connsiteY25" fmla="*/ 412770 h 552835"/>
                  <a:gd name="connsiteX26" fmla="*/ 331999 w 699847"/>
                  <a:gd name="connsiteY26" fmla="*/ 429577 h 552835"/>
                  <a:gd name="connsiteX27" fmla="*/ 333158 w 699847"/>
                  <a:gd name="connsiteY27" fmla="*/ 430901 h 552835"/>
                  <a:gd name="connsiteX28" fmla="*/ 350020 w 699847"/>
                  <a:gd name="connsiteY28" fmla="*/ 473236 h 552835"/>
                  <a:gd name="connsiteX29" fmla="*/ 338402 w 699847"/>
                  <a:gd name="connsiteY29" fmla="*/ 509279 h 552835"/>
                  <a:gd name="connsiteX30" fmla="*/ 365999 w 699847"/>
                  <a:gd name="connsiteY30" fmla="*/ 543113 h 552835"/>
                  <a:gd name="connsiteX31" fmla="*/ 417745 w 699847"/>
                  <a:gd name="connsiteY31" fmla="*/ 542285 h 552835"/>
                  <a:gd name="connsiteX32" fmla="*/ 428618 w 699847"/>
                  <a:gd name="connsiteY32" fmla="*/ 516040 h 552835"/>
                  <a:gd name="connsiteX33" fmla="*/ 418848 w 699847"/>
                  <a:gd name="connsiteY33" fmla="*/ 491064 h 552835"/>
                  <a:gd name="connsiteX34" fmla="*/ 406761 w 699847"/>
                  <a:gd name="connsiteY34" fmla="*/ 479004 h 552835"/>
                  <a:gd name="connsiteX35" fmla="*/ 406761 w 699847"/>
                  <a:gd name="connsiteY35" fmla="*/ 452455 h 552835"/>
                  <a:gd name="connsiteX36" fmla="*/ 433172 w 699847"/>
                  <a:gd name="connsiteY36" fmla="*/ 452455 h 552835"/>
                  <a:gd name="connsiteX37" fmla="*/ 455553 w 699847"/>
                  <a:gd name="connsiteY37" fmla="*/ 474975 h 552835"/>
                  <a:gd name="connsiteX38" fmla="*/ 508127 w 699847"/>
                  <a:gd name="connsiteY38" fmla="*/ 474975 h 552835"/>
                  <a:gd name="connsiteX39" fmla="*/ 508982 w 699847"/>
                  <a:gd name="connsiteY39" fmla="*/ 474092 h 552835"/>
                  <a:gd name="connsiteX40" fmla="*/ 508375 w 699847"/>
                  <a:gd name="connsiteY40" fmla="*/ 422815 h 552835"/>
                  <a:gd name="connsiteX41" fmla="*/ 483344 w 699847"/>
                  <a:gd name="connsiteY41" fmla="*/ 397812 h 552835"/>
                  <a:gd name="connsiteX42" fmla="*/ 477852 w 699847"/>
                  <a:gd name="connsiteY42" fmla="*/ 384593 h 552835"/>
                  <a:gd name="connsiteX43" fmla="*/ 483344 w 699847"/>
                  <a:gd name="connsiteY43" fmla="*/ 371401 h 552835"/>
                  <a:gd name="connsiteX44" fmla="*/ 509865 w 699847"/>
                  <a:gd name="connsiteY44" fmla="*/ 371236 h 552835"/>
                  <a:gd name="connsiteX45" fmla="*/ 546046 w 699847"/>
                  <a:gd name="connsiteY45" fmla="*/ 407416 h 552835"/>
                  <a:gd name="connsiteX46" fmla="*/ 572319 w 699847"/>
                  <a:gd name="connsiteY46" fmla="*/ 417986 h 552835"/>
                  <a:gd name="connsiteX47" fmla="*/ 572402 w 699847"/>
                  <a:gd name="connsiteY47" fmla="*/ 417986 h 552835"/>
                  <a:gd name="connsiteX48" fmla="*/ 598454 w 699847"/>
                  <a:gd name="connsiteY48" fmla="*/ 407416 h 552835"/>
                  <a:gd name="connsiteX49" fmla="*/ 609355 w 699847"/>
                  <a:gd name="connsiteY49" fmla="*/ 381198 h 552835"/>
                  <a:gd name="connsiteX50" fmla="*/ 599337 w 699847"/>
                  <a:gd name="connsiteY50" fmla="*/ 355836 h 552835"/>
                  <a:gd name="connsiteX51" fmla="*/ 561666 w 699847"/>
                  <a:gd name="connsiteY51" fmla="*/ 318303 h 552835"/>
                  <a:gd name="connsiteX52" fmla="*/ 556202 w 699847"/>
                  <a:gd name="connsiteY52" fmla="*/ 305029 h 552835"/>
                  <a:gd name="connsiteX53" fmla="*/ 561638 w 699847"/>
                  <a:gd name="connsiteY53" fmla="*/ 291754 h 552835"/>
                  <a:gd name="connsiteX54" fmla="*/ 588187 w 699847"/>
                  <a:gd name="connsiteY54" fmla="*/ 291754 h 552835"/>
                  <a:gd name="connsiteX55" fmla="*/ 634386 w 699847"/>
                  <a:gd name="connsiteY55" fmla="*/ 337925 h 552835"/>
                  <a:gd name="connsiteX56" fmla="*/ 664550 w 699847"/>
                  <a:gd name="connsiteY56" fmla="*/ 349875 h 552835"/>
                  <a:gd name="connsiteX57" fmla="*/ 690216 w 699847"/>
                  <a:gd name="connsiteY57" fmla="*/ 338698 h 552835"/>
                  <a:gd name="connsiteX58" fmla="*/ 699847 w 699847"/>
                  <a:gd name="connsiteY58" fmla="*/ 313722 h 552835"/>
                  <a:gd name="connsiteX59" fmla="*/ 697170 w 699847"/>
                  <a:gd name="connsiteY59" fmla="*/ 300061 h 552835"/>
                  <a:gd name="connsiteX60" fmla="*/ 684365 w 699847"/>
                  <a:gd name="connsiteY60" fmla="*/ 282206 h 5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99847" h="552835">
                    <a:moveTo>
                      <a:pt x="684365" y="282206"/>
                    </a:moveTo>
                    <a:lnTo>
                      <a:pt x="662977" y="255877"/>
                    </a:lnTo>
                    <a:cubicBezTo>
                      <a:pt x="594921" y="179488"/>
                      <a:pt x="499296" y="122885"/>
                      <a:pt x="457982" y="100448"/>
                    </a:cubicBezTo>
                    <a:lnTo>
                      <a:pt x="441506" y="126583"/>
                    </a:lnTo>
                    <a:cubicBezTo>
                      <a:pt x="426907" y="150041"/>
                      <a:pt x="397985" y="161328"/>
                      <a:pt x="371077" y="154015"/>
                    </a:cubicBezTo>
                    <a:lnTo>
                      <a:pt x="370001" y="153629"/>
                    </a:lnTo>
                    <a:cubicBezTo>
                      <a:pt x="337408" y="142783"/>
                      <a:pt x="318890" y="110273"/>
                      <a:pt x="326341" y="77763"/>
                    </a:cubicBezTo>
                    <a:cubicBezTo>
                      <a:pt x="332192" y="52069"/>
                      <a:pt x="341713" y="27480"/>
                      <a:pt x="354712" y="4546"/>
                    </a:cubicBezTo>
                    <a:lnTo>
                      <a:pt x="329267" y="959"/>
                    </a:lnTo>
                    <a:cubicBezTo>
                      <a:pt x="308596" y="-1994"/>
                      <a:pt x="287070" y="1925"/>
                      <a:pt x="268690" y="12025"/>
                    </a:cubicBezTo>
                    <a:lnTo>
                      <a:pt x="251138" y="21547"/>
                    </a:lnTo>
                    <a:cubicBezTo>
                      <a:pt x="227873" y="34352"/>
                      <a:pt x="200303" y="35897"/>
                      <a:pt x="175438" y="25741"/>
                    </a:cubicBezTo>
                    <a:lnTo>
                      <a:pt x="140775" y="11335"/>
                    </a:lnTo>
                    <a:lnTo>
                      <a:pt x="0" y="231426"/>
                    </a:lnTo>
                    <a:lnTo>
                      <a:pt x="47413" y="263301"/>
                    </a:lnTo>
                    <a:lnTo>
                      <a:pt x="73465" y="237249"/>
                    </a:lnTo>
                    <a:cubicBezTo>
                      <a:pt x="85111" y="225603"/>
                      <a:pt x="100538" y="219228"/>
                      <a:pt x="116986" y="219228"/>
                    </a:cubicBezTo>
                    <a:cubicBezTo>
                      <a:pt x="133434" y="219228"/>
                      <a:pt x="148862" y="225631"/>
                      <a:pt x="160508" y="237249"/>
                    </a:cubicBezTo>
                    <a:cubicBezTo>
                      <a:pt x="169587" y="246191"/>
                      <a:pt x="175382" y="257671"/>
                      <a:pt x="177452" y="270587"/>
                    </a:cubicBezTo>
                    <a:cubicBezTo>
                      <a:pt x="197378" y="266972"/>
                      <a:pt x="217414" y="273126"/>
                      <a:pt x="231737" y="287449"/>
                    </a:cubicBezTo>
                    <a:cubicBezTo>
                      <a:pt x="243273" y="298985"/>
                      <a:pt x="249648" y="314467"/>
                      <a:pt x="249648" y="330971"/>
                    </a:cubicBezTo>
                    <a:cubicBezTo>
                      <a:pt x="249648" y="334503"/>
                      <a:pt x="249317" y="338063"/>
                      <a:pt x="248627" y="341623"/>
                    </a:cubicBezTo>
                    <a:cubicBezTo>
                      <a:pt x="260880" y="343666"/>
                      <a:pt x="271836" y="349047"/>
                      <a:pt x="280585" y="357326"/>
                    </a:cubicBezTo>
                    <a:lnTo>
                      <a:pt x="280612" y="357326"/>
                    </a:lnTo>
                    <a:lnTo>
                      <a:pt x="281937" y="358513"/>
                    </a:lnTo>
                    <a:cubicBezTo>
                      <a:pt x="296122" y="372808"/>
                      <a:pt x="302221" y="392817"/>
                      <a:pt x="298771" y="412770"/>
                    </a:cubicBezTo>
                    <a:cubicBezTo>
                      <a:pt x="311466" y="414840"/>
                      <a:pt x="323140" y="420718"/>
                      <a:pt x="331999" y="429577"/>
                    </a:cubicBezTo>
                    <a:lnTo>
                      <a:pt x="333158" y="430901"/>
                    </a:lnTo>
                    <a:cubicBezTo>
                      <a:pt x="344059" y="442382"/>
                      <a:pt x="350020" y="457340"/>
                      <a:pt x="350020" y="473236"/>
                    </a:cubicBezTo>
                    <a:cubicBezTo>
                      <a:pt x="350020" y="486345"/>
                      <a:pt x="346019" y="498736"/>
                      <a:pt x="338402" y="509279"/>
                    </a:cubicBezTo>
                    <a:lnTo>
                      <a:pt x="365999" y="543113"/>
                    </a:lnTo>
                    <a:cubicBezTo>
                      <a:pt x="379715" y="556332"/>
                      <a:pt x="404029" y="556084"/>
                      <a:pt x="417745" y="542285"/>
                    </a:cubicBezTo>
                    <a:cubicBezTo>
                      <a:pt x="424782" y="535248"/>
                      <a:pt x="428618" y="525947"/>
                      <a:pt x="428618" y="516040"/>
                    </a:cubicBezTo>
                    <a:cubicBezTo>
                      <a:pt x="428618" y="506712"/>
                      <a:pt x="425141" y="497826"/>
                      <a:pt x="418848" y="491064"/>
                    </a:cubicBezTo>
                    <a:lnTo>
                      <a:pt x="406761" y="479004"/>
                    </a:lnTo>
                    <a:cubicBezTo>
                      <a:pt x="399448" y="471691"/>
                      <a:pt x="399448" y="459768"/>
                      <a:pt x="406761" y="452455"/>
                    </a:cubicBezTo>
                    <a:cubicBezTo>
                      <a:pt x="414046" y="445197"/>
                      <a:pt x="425886" y="445197"/>
                      <a:pt x="433172" y="452455"/>
                    </a:cubicBezTo>
                    <a:lnTo>
                      <a:pt x="455553" y="474975"/>
                    </a:lnTo>
                    <a:cubicBezTo>
                      <a:pt x="470014" y="489326"/>
                      <a:pt x="493638" y="489298"/>
                      <a:pt x="508127" y="474975"/>
                    </a:cubicBezTo>
                    <a:cubicBezTo>
                      <a:pt x="508127" y="474865"/>
                      <a:pt x="508623" y="474423"/>
                      <a:pt x="508982" y="474092"/>
                    </a:cubicBezTo>
                    <a:cubicBezTo>
                      <a:pt x="522698" y="459437"/>
                      <a:pt x="522367" y="436945"/>
                      <a:pt x="508375" y="422815"/>
                    </a:cubicBezTo>
                    <a:lnTo>
                      <a:pt x="483344" y="397812"/>
                    </a:lnTo>
                    <a:cubicBezTo>
                      <a:pt x="479812" y="394252"/>
                      <a:pt x="477852" y="389588"/>
                      <a:pt x="477852" y="384593"/>
                    </a:cubicBezTo>
                    <a:cubicBezTo>
                      <a:pt x="477852" y="379598"/>
                      <a:pt x="479812" y="374933"/>
                      <a:pt x="483344" y="371401"/>
                    </a:cubicBezTo>
                    <a:cubicBezTo>
                      <a:pt x="490630" y="364143"/>
                      <a:pt x="502524" y="364060"/>
                      <a:pt x="509865" y="371236"/>
                    </a:cubicBezTo>
                    <a:lnTo>
                      <a:pt x="546046" y="407416"/>
                    </a:lnTo>
                    <a:cubicBezTo>
                      <a:pt x="552779" y="414150"/>
                      <a:pt x="562356" y="417986"/>
                      <a:pt x="572319" y="417986"/>
                    </a:cubicBezTo>
                    <a:lnTo>
                      <a:pt x="572402" y="417986"/>
                    </a:lnTo>
                    <a:cubicBezTo>
                      <a:pt x="582336" y="417986"/>
                      <a:pt x="591830" y="414122"/>
                      <a:pt x="598454" y="407416"/>
                    </a:cubicBezTo>
                    <a:cubicBezTo>
                      <a:pt x="605491" y="400406"/>
                      <a:pt x="609355" y="391106"/>
                      <a:pt x="609355" y="381198"/>
                    </a:cubicBezTo>
                    <a:cubicBezTo>
                      <a:pt x="609355" y="371291"/>
                      <a:pt x="605794" y="362653"/>
                      <a:pt x="599337" y="355836"/>
                    </a:cubicBezTo>
                    <a:lnTo>
                      <a:pt x="561666" y="318303"/>
                    </a:lnTo>
                    <a:cubicBezTo>
                      <a:pt x="558106" y="314578"/>
                      <a:pt x="556202" y="309886"/>
                      <a:pt x="556202" y="305029"/>
                    </a:cubicBezTo>
                    <a:cubicBezTo>
                      <a:pt x="556202" y="300172"/>
                      <a:pt x="558189" y="295232"/>
                      <a:pt x="561638" y="291754"/>
                    </a:cubicBezTo>
                    <a:cubicBezTo>
                      <a:pt x="568980" y="284441"/>
                      <a:pt x="580874" y="284414"/>
                      <a:pt x="588187" y="291754"/>
                    </a:cubicBezTo>
                    <a:lnTo>
                      <a:pt x="634386" y="337925"/>
                    </a:lnTo>
                    <a:cubicBezTo>
                      <a:pt x="642224" y="345763"/>
                      <a:pt x="653207" y="350261"/>
                      <a:pt x="664550" y="349875"/>
                    </a:cubicBezTo>
                    <a:cubicBezTo>
                      <a:pt x="674513" y="349765"/>
                      <a:pt x="683620" y="345791"/>
                      <a:pt x="690216" y="338698"/>
                    </a:cubicBezTo>
                    <a:cubicBezTo>
                      <a:pt x="696425" y="331771"/>
                      <a:pt x="699847" y="322884"/>
                      <a:pt x="699847" y="313722"/>
                    </a:cubicBezTo>
                    <a:cubicBezTo>
                      <a:pt x="699847" y="309196"/>
                      <a:pt x="698964" y="304587"/>
                      <a:pt x="697170" y="300061"/>
                    </a:cubicBezTo>
                    <a:cubicBezTo>
                      <a:pt x="693086" y="294073"/>
                      <a:pt x="688780" y="288001"/>
                      <a:pt x="684365" y="282206"/>
                    </a:cubicBezTo>
                    <a:close/>
                  </a:path>
                </a:pathLst>
              </a:custGeom>
              <a:grpFill/>
              <a:ln w="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92E88480-07E0-077D-1786-3185188945F3}"/>
                  </a:ext>
                </a:extLst>
              </p:cNvPr>
              <p:cNvSpPr/>
              <p:nvPr/>
            </p:nvSpPr>
            <p:spPr>
              <a:xfrm>
                <a:off x="6012128" y="4166583"/>
                <a:ext cx="446504" cy="299285"/>
              </a:xfrm>
              <a:custGeom>
                <a:avLst/>
                <a:gdLst>
                  <a:gd name="connsiteX0" fmla="*/ 153197 w 446504"/>
                  <a:gd name="connsiteY0" fmla="*/ 20826 h 299285"/>
                  <a:gd name="connsiteX1" fmla="*/ 100210 w 446504"/>
                  <a:gd name="connsiteY1" fmla="*/ 2942 h 299285"/>
                  <a:gd name="connsiteX2" fmla="*/ 34748 w 446504"/>
                  <a:gd name="connsiteY2" fmla="*/ 25076 h 299285"/>
                  <a:gd name="connsiteX3" fmla="*/ 32458 w 446504"/>
                  <a:gd name="connsiteY3" fmla="*/ 28691 h 299285"/>
                  <a:gd name="connsiteX4" fmla="*/ 638 w 446504"/>
                  <a:gd name="connsiteY4" fmla="*/ 104309 h 299285"/>
                  <a:gd name="connsiteX5" fmla="*/ 19376 w 446504"/>
                  <a:gd name="connsiteY5" fmla="*/ 136239 h 299285"/>
                  <a:gd name="connsiteX6" fmla="*/ 47609 w 446504"/>
                  <a:gd name="connsiteY6" fmla="*/ 124952 h 299285"/>
                  <a:gd name="connsiteX7" fmla="*/ 73357 w 446504"/>
                  <a:gd name="connsiteY7" fmla="*/ 84052 h 299285"/>
                  <a:gd name="connsiteX8" fmla="*/ 89226 w 446504"/>
                  <a:gd name="connsiteY8" fmla="*/ 75304 h 299285"/>
                  <a:gd name="connsiteX9" fmla="*/ 97477 w 446504"/>
                  <a:gd name="connsiteY9" fmla="*/ 77235 h 299285"/>
                  <a:gd name="connsiteX10" fmla="*/ 367382 w 446504"/>
                  <a:gd name="connsiteY10" fmla="*/ 299285 h 299285"/>
                  <a:gd name="connsiteX11" fmla="*/ 446504 w 446504"/>
                  <a:gd name="connsiteY11" fmla="*/ 254191 h 299285"/>
                  <a:gd name="connsiteX12" fmla="*/ 302776 w 446504"/>
                  <a:gd name="connsiteY12" fmla="*/ 29078 h 299285"/>
                  <a:gd name="connsiteX13" fmla="*/ 153224 w 446504"/>
                  <a:gd name="connsiteY13" fmla="*/ 20826 h 299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504" h="299285">
                    <a:moveTo>
                      <a:pt x="153197" y="20826"/>
                    </a:moveTo>
                    <a:lnTo>
                      <a:pt x="100210" y="2942"/>
                    </a:lnTo>
                    <a:cubicBezTo>
                      <a:pt x="75814" y="-5171"/>
                      <a:pt x="48906" y="3909"/>
                      <a:pt x="34748" y="25076"/>
                    </a:cubicBezTo>
                    <a:lnTo>
                      <a:pt x="32458" y="28691"/>
                    </a:lnTo>
                    <a:cubicBezTo>
                      <a:pt x="17583" y="51569"/>
                      <a:pt x="6875" y="77015"/>
                      <a:pt x="638" y="104309"/>
                    </a:cubicBezTo>
                    <a:cubicBezTo>
                      <a:pt x="-2426" y="117693"/>
                      <a:pt x="5826" y="131713"/>
                      <a:pt x="19376" y="136239"/>
                    </a:cubicBezTo>
                    <a:cubicBezTo>
                      <a:pt x="30084" y="139192"/>
                      <a:pt x="41565" y="134666"/>
                      <a:pt x="47609" y="124952"/>
                    </a:cubicBezTo>
                    <a:lnTo>
                      <a:pt x="73357" y="84052"/>
                    </a:lnTo>
                    <a:cubicBezTo>
                      <a:pt x="76834" y="78588"/>
                      <a:pt x="82741" y="75304"/>
                      <a:pt x="89226" y="75304"/>
                    </a:cubicBezTo>
                    <a:cubicBezTo>
                      <a:pt x="92096" y="75304"/>
                      <a:pt x="94883" y="75938"/>
                      <a:pt x="97477" y="77235"/>
                    </a:cubicBezTo>
                    <a:cubicBezTo>
                      <a:pt x="105067" y="80933"/>
                      <a:pt x="282906" y="169135"/>
                      <a:pt x="367382" y="299285"/>
                    </a:cubicBezTo>
                    <a:lnTo>
                      <a:pt x="446504" y="254191"/>
                    </a:lnTo>
                    <a:lnTo>
                      <a:pt x="302776" y="29078"/>
                    </a:lnTo>
                    <a:cubicBezTo>
                      <a:pt x="253018" y="39951"/>
                      <a:pt x="201383" y="37081"/>
                      <a:pt x="153224" y="20826"/>
                    </a:cubicBezTo>
                    <a:close/>
                  </a:path>
                </a:pathLst>
              </a:custGeom>
              <a:grpFill/>
              <a:ln w="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EEC95172-9A15-9D1D-FBF8-8FBDD4940238}"/>
                  </a:ext>
                </a:extLst>
              </p:cNvPr>
              <p:cNvSpPr/>
              <p:nvPr/>
            </p:nvSpPr>
            <p:spPr>
              <a:xfrm>
                <a:off x="5875291" y="4633938"/>
                <a:ext cx="87218" cy="86873"/>
              </a:xfrm>
              <a:custGeom>
                <a:avLst/>
                <a:gdLst>
                  <a:gd name="connsiteX0" fmla="*/ 63153 w 87218"/>
                  <a:gd name="connsiteY0" fmla="*/ 0 h 86873"/>
                  <a:gd name="connsiteX1" fmla="*/ 46071 w 87218"/>
                  <a:gd name="connsiteY1" fmla="*/ 7038 h 86873"/>
                  <a:gd name="connsiteX2" fmla="*/ 7048 w 87218"/>
                  <a:gd name="connsiteY2" fmla="*/ 46033 h 86873"/>
                  <a:gd name="connsiteX3" fmla="*/ 7048 w 87218"/>
                  <a:gd name="connsiteY3" fmla="*/ 80199 h 86873"/>
                  <a:gd name="connsiteX4" fmla="*/ 41186 w 87218"/>
                  <a:gd name="connsiteY4" fmla="*/ 80199 h 86873"/>
                  <a:gd name="connsiteX5" fmla="*/ 80209 w 87218"/>
                  <a:gd name="connsiteY5" fmla="*/ 41203 h 86873"/>
                  <a:gd name="connsiteX6" fmla="*/ 87219 w 87218"/>
                  <a:gd name="connsiteY6" fmla="*/ 24120 h 86873"/>
                  <a:gd name="connsiteX7" fmla="*/ 80209 w 87218"/>
                  <a:gd name="connsiteY7" fmla="*/ 7038 h 86873"/>
                  <a:gd name="connsiteX8" fmla="*/ 63126 w 87218"/>
                  <a:gd name="connsiteY8" fmla="*/ 0 h 8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18" h="86873">
                    <a:moveTo>
                      <a:pt x="63153" y="0"/>
                    </a:moveTo>
                    <a:cubicBezTo>
                      <a:pt x="56668" y="0"/>
                      <a:pt x="50597" y="2511"/>
                      <a:pt x="46071" y="7038"/>
                    </a:cubicBezTo>
                    <a:lnTo>
                      <a:pt x="7048" y="46033"/>
                    </a:lnTo>
                    <a:cubicBezTo>
                      <a:pt x="-2363" y="55443"/>
                      <a:pt x="-2336" y="70788"/>
                      <a:pt x="7048" y="80199"/>
                    </a:cubicBezTo>
                    <a:cubicBezTo>
                      <a:pt x="15990" y="89113"/>
                      <a:pt x="32272" y="89085"/>
                      <a:pt x="41186" y="80199"/>
                    </a:cubicBezTo>
                    <a:lnTo>
                      <a:pt x="80209" y="41203"/>
                    </a:lnTo>
                    <a:cubicBezTo>
                      <a:pt x="84735" y="36677"/>
                      <a:pt x="87219" y="30606"/>
                      <a:pt x="87219" y="24120"/>
                    </a:cubicBezTo>
                    <a:cubicBezTo>
                      <a:pt x="87219" y="17635"/>
                      <a:pt x="84735" y="11564"/>
                      <a:pt x="80209" y="7038"/>
                    </a:cubicBezTo>
                    <a:cubicBezTo>
                      <a:pt x="75683" y="2511"/>
                      <a:pt x="69612" y="0"/>
                      <a:pt x="63126" y="0"/>
                    </a:cubicBezTo>
                    <a:close/>
                  </a:path>
                </a:pathLst>
              </a:custGeom>
              <a:grpFill/>
              <a:ln w="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FEFBB415-5905-2FA4-8544-5000BE22585A}"/>
                  </a:ext>
                </a:extLst>
              </p:cNvPr>
              <p:cNvSpPr/>
              <p:nvPr/>
            </p:nvSpPr>
            <p:spPr>
              <a:xfrm>
                <a:off x="5814642" y="4562791"/>
                <a:ext cx="97771" cy="97371"/>
              </a:xfrm>
              <a:custGeom>
                <a:avLst/>
                <a:gdLst>
                  <a:gd name="connsiteX0" fmla="*/ 90713 w 97771"/>
                  <a:gd name="connsiteY0" fmla="*/ 7038 h 97371"/>
                  <a:gd name="connsiteX1" fmla="*/ 73630 w 97771"/>
                  <a:gd name="connsiteY1" fmla="*/ 0 h 97371"/>
                  <a:gd name="connsiteX2" fmla="*/ 56547 w 97771"/>
                  <a:gd name="connsiteY2" fmla="*/ 7010 h 97371"/>
                  <a:gd name="connsiteX3" fmla="*/ 7038 w 97771"/>
                  <a:gd name="connsiteY3" fmla="*/ 56520 h 97371"/>
                  <a:gd name="connsiteX4" fmla="*/ 0 w 97771"/>
                  <a:gd name="connsiteY4" fmla="*/ 73603 h 97371"/>
                  <a:gd name="connsiteX5" fmla="*/ 7038 w 97771"/>
                  <a:gd name="connsiteY5" fmla="*/ 90686 h 97371"/>
                  <a:gd name="connsiteX6" fmla="*/ 41203 w 97771"/>
                  <a:gd name="connsiteY6" fmla="*/ 90686 h 97371"/>
                  <a:gd name="connsiteX7" fmla="*/ 90713 w 97771"/>
                  <a:gd name="connsiteY7" fmla="*/ 41176 h 97371"/>
                  <a:gd name="connsiteX8" fmla="*/ 90713 w 97771"/>
                  <a:gd name="connsiteY8" fmla="*/ 7010 h 9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71" h="97371">
                    <a:moveTo>
                      <a:pt x="90713" y="7038"/>
                    </a:moveTo>
                    <a:cubicBezTo>
                      <a:pt x="86187" y="2511"/>
                      <a:pt x="80116" y="0"/>
                      <a:pt x="73630" y="0"/>
                    </a:cubicBezTo>
                    <a:cubicBezTo>
                      <a:pt x="67144" y="0"/>
                      <a:pt x="61073" y="2484"/>
                      <a:pt x="56547" y="7010"/>
                    </a:cubicBezTo>
                    <a:lnTo>
                      <a:pt x="7038" y="56520"/>
                    </a:lnTo>
                    <a:cubicBezTo>
                      <a:pt x="2511" y="61046"/>
                      <a:pt x="0" y="67118"/>
                      <a:pt x="0" y="73603"/>
                    </a:cubicBezTo>
                    <a:cubicBezTo>
                      <a:pt x="0" y="80088"/>
                      <a:pt x="2511" y="86132"/>
                      <a:pt x="7038" y="90686"/>
                    </a:cubicBezTo>
                    <a:cubicBezTo>
                      <a:pt x="15979" y="99600"/>
                      <a:pt x="32261" y="99600"/>
                      <a:pt x="41203" y="90686"/>
                    </a:cubicBezTo>
                    <a:lnTo>
                      <a:pt x="90713" y="41176"/>
                    </a:lnTo>
                    <a:cubicBezTo>
                      <a:pt x="100124" y="31765"/>
                      <a:pt x="100124" y="16421"/>
                      <a:pt x="90713" y="7010"/>
                    </a:cubicBezTo>
                    <a:close/>
                  </a:path>
                </a:pathLst>
              </a:custGeom>
              <a:grpFill/>
              <a:ln w="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43D023B0-C199-AC08-CE8B-E1E8A8AB12AD}"/>
                  </a:ext>
                </a:extLst>
              </p:cNvPr>
              <p:cNvSpPr/>
              <p:nvPr/>
            </p:nvSpPr>
            <p:spPr>
              <a:xfrm>
                <a:off x="5754010" y="4491645"/>
                <a:ext cx="108237" cy="108037"/>
              </a:xfrm>
              <a:custGeom>
                <a:avLst/>
                <a:gdLst>
                  <a:gd name="connsiteX0" fmla="*/ 108238 w 108237"/>
                  <a:gd name="connsiteY0" fmla="*/ 24148 h 108037"/>
                  <a:gd name="connsiteX1" fmla="*/ 101200 w 108237"/>
                  <a:gd name="connsiteY1" fmla="*/ 7065 h 108037"/>
                  <a:gd name="connsiteX2" fmla="*/ 84117 w 108237"/>
                  <a:gd name="connsiteY2" fmla="*/ 0 h 108037"/>
                  <a:gd name="connsiteX3" fmla="*/ 67035 w 108237"/>
                  <a:gd name="connsiteY3" fmla="*/ 7065 h 108037"/>
                  <a:gd name="connsiteX4" fmla="*/ 7037 w 108237"/>
                  <a:gd name="connsiteY4" fmla="*/ 67062 h 108037"/>
                  <a:gd name="connsiteX5" fmla="*/ 0 w 108237"/>
                  <a:gd name="connsiteY5" fmla="*/ 84145 h 108037"/>
                  <a:gd name="connsiteX6" fmla="*/ 7037 w 108237"/>
                  <a:gd name="connsiteY6" fmla="*/ 101228 h 108037"/>
                  <a:gd name="connsiteX7" fmla="*/ 41203 w 108237"/>
                  <a:gd name="connsiteY7" fmla="*/ 101228 h 108037"/>
                  <a:gd name="connsiteX8" fmla="*/ 101200 w 108237"/>
                  <a:gd name="connsiteY8" fmla="*/ 41258 h 108037"/>
                  <a:gd name="connsiteX9" fmla="*/ 108238 w 108237"/>
                  <a:gd name="connsiteY9" fmla="*/ 24176 h 10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237" h="108037">
                    <a:moveTo>
                      <a:pt x="108238" y="24148"/>
                    </a:moveTo>
                    <a:cubicBezTo>
                      <a:pt x="108238" y="17662"/>
                      <a:pt x="105726" y="11591"/>
                      <a:pt x="101200" y="7065"/>
                    </a:cubicBezTo>
                    <a:cubicBezTo>
                      <a:pt x="96647" y="2511"/>
                      <a:pt x="90575" y="0"/>
                      <a:pt x="84117" y="0"/>
                    </a:cubicBezTo>
                    <a:cubicBezTo>
                      <a:pt x="77659" y="0"/>
                      <a:pt x="71588" y="2511"/>
                      <a:pt x="67035" y="7065"/>
                    </a:cubicBezTo>
                    <a:lnTo>
                      <a:pt x="7037" y="67062"/>
                    </a:lnTo>
                    <a:cubicBezTo>
                      <a:pt x="2511" y="71588"/>
                      <a:pt x="0" y="77659"/>
                      <a:pt x="0" y="84145"/>
                    </a:cubicBezTo>
                    <a:cubicBezTo>
                      <a:pt x="0" y="90630"/>
                      <a:pt x="2484" y="96674"/>
                      <a:pt x="7037" y="101228"/>
                    </a:cubicBezTo>
                    <a:cubicBezTo>
                      <a:pt x="16117" y="110307"/>
                      <a:pt x="32096" y="110307"/>
                      <a:pt x="41203" y="101228"/>
                    </a:cubicBezTo>
                    <a:lnTo>
                      <a:pt x="101200" y="41258"/>
                    </a:lnTo>
                    <a:cubicBezTo>
                      <a:pt x="105726" y="36705"/>
                      <a:pt x="108238" y="30633"/>
                      <a:pt x="108238" y="24176"/>
                    </a:cubicBezTo>
                    <a:close/>
                  </a:path>
                </a:pathLst>
              </a:custGeom>
              <a:grpFill/>
              <a:ln w="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00D38FB3-F515-E552-53A2-DCF08934F317}"/>
                  </a:ext>
                </a:extLst>
              </p:cNvPr>
              <p:cNvSpPr/>
              <p:nvPr/>
            </p:nvSpPr>
            <p:spPr>
              <a:xfrm>
                <a:off x="5693379" y="4441555"/>
                <a:ext cx="97743" cy="97750"/>
              </a:xfrm>
              <a:custGeom>
                <a:avLst/>
                <a:gdLst>
                  <a:gd name="connsiteX0" fmla="*/ 90713 w 97743"/>
                  <a:gd name="connsiteY0" fmla="*/ 7010 h 97750"/>
                  <a:gd name="connsiteX1" fmla="*/ 73630 w 97743"/>
                  <a:gd name="connsiteY1" fmla="*/ 0 h 97750"/>
                  <a:gd name="connsiteX2" fmla="*/ 56520 w 97743"/>
                  <a:gd name="connsiteY2" fmla="*/ 7037 h 97750"/>
                  <a:gd name="connsiteX3" fmla="*/ 7037 w 97743"/>
                  <a:gd name="connsiteY3" fmla="*/ 56520 h 97750"/>
                  <a:gd name="connsiteX4" fmla="*/ 0 w 97743"/>
                  <a:gd name="connsiteY4" fmla="*/ 73603 h 97750"/>
                  <a:gd name="connsiteX5" fmla="*/ 7037 w 97743"/>
                  <a:gd name="connsiteY5" fmla="*/ 90686 h 97750"/>
                  <a:gd name="connsiteX6" fmla="*/ 24120 w 97743"/>
                  <a:gd name="connsiteY6" fmla="*/ 97750 h 97750"/>
                  <a:gd name="connsiteX7" fmla="*/ 24120 w 97743"/>
                  <a:gd name="connsiteY7" fmla="*/ 97750 h 97750"/>
                  <a:gd name="connsiteX8" fmla="*/ 41203 w 97743"/>
                  <a:gd name="connsiteY8" fmla="*/ 90686 h 97750"/>
                  <a:gd name="connsiteX9" fmla="*/ 90685 w 97743"/>
                  <a:gd name="connsiteY9" fmla="*/ 41203 h 97750"/>
                  <a:gd name="connsiteX10" fmla="*/ 90685 w 97743"/>
                  <a:gd name="connsiteY10" fmla="*/ 7037 h 9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743" h="97750">
                    <a:moveTo>
                      <a:pt x="90713" y="7010"/>
                    </a:moveTo>
                    <a:cubicBezTo>
                      <a:pt x="86187" y="2484"/>
                      <a:pt x="80115" y="0"/>
                      <a:pt x="73630" y="0"/>
                    </a:cubicBezTo>
                    <a:cubicBezTo>
                      <a:pt x="67144" y="0"/>
                      <a:pt x="61073" y="2484"/>
                      <a:pt x="56520" y="7037"/>
                    </a:cubicBezTo>
                    <a:lnTo>
                      <a:pt x="7037" y="56520"/>
                    </a:lnTo>
                    <a:cubicBezTo>
                      <a:pt x="2484" y="61046"/>
                      <a:pt x="0" y="67117"/>
                      <a:pt x="0" y="73603"/>
                    </a:cubicBezTo>
                    <a:cubicBezTo>
                      <a:pt x="0" y="80088"/>
                      <a:pt x="2484" y="86132"/>
                      <a:pt x="7037" y="90686"/>
                    </a:cubicBezTo>
                    <a:cubicBezTo>
                      <a:pt x="11591" y="95239"/>
                      <a:pt x="17662" y="97750"/>
                      <a:pt x="24120" y="97750"/>
                    </a:cubicBezTo>
                    <a:lnTo>
                      <a:pt x="24120" y="97750"/>
                    </a:lnTo>
                    <a:cubicBezTo>
                      <a:pt x="30578" y="97750"/>
                      <a:pt x="36649" y="95239"/>
                      <a:pt x="41203" y="90686"/>
                    </a:cubicBezTo>
                    <a:lnTo>
                      <a:pt x="90685" y="41203"/>
                    </a:lnTo>
                    <a:cubicBezTo>
                      <a:pt x="100096" y="31792"/>
                      <a:pt x="100096" y="16448"/>
                      <a:pt x="90685" y="7037"/>
                    </a:cubicBezTo>
                    <a:close/>
                  </a:path>
                </a:pathLst>
              </a:custGeom>
              <a:grpFill/>
              <a:ln w="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05BE74B9-FDA3-011E-766C-267AB576AC53}"/>
                  </a:ext>
                </a:extLst>
              </p:cNvPr>
              <p:cNvSpPr/>
              <p:nvPr/>
            </p:nvSpPr>
            <p:spPr>
              <a:xfrm>
                <a:off x="5489144" y="4082869"/>
                <a:ext cx="284368" cy="357881"/>
              </a:xfrm>
              <a:custGeom>
                <a:avLst/>
                <a:gdLst>
                  <a:gd name="connsiteX0" fmla="*/ 274443 w 284368"/>
                  <a:gd name="connsiteY0" fmla="*/ 46805 h 357881"/>
                  <a:gd name="connsiteX1" fmla="*/ 206332 w 284368"/>
                  <a:gd name="connsiteY1" fmla="*/ 3312 h 357881"/>
                  <a:gd name="connsiteX2" fmla="*/ 194962 w 284368"/>
                  <a:gd name="connsiteY2" fmla="*/ 0 h 357881"/>
                  <a:gd name="connsiteX3" fmla="*/ 190381 w 284368"/>
                  <a:gd name="connsiteY3" fmla="*/ 359 h 357881"/>
                  <a:gd name="connsiteX4" fmla="*/ 177162 w 284368"/>
                  <a:gd name="connsiteY4" fmla="*/ 9714 h 357881"/>
                  <a:gd name="connsiteX5" fmla="*/ 3324 w 284368"/>
                  <a:gd name="connsiteY5" fmla="*/ 281744 h 357881"/>
                  <a:gd name="connsiteX6" fmla="*/ 9754 w 284368"/>
                  <a:gd name="connsiteY6" fmla="*/ 311108 h 357881"/>
                  <a:gd name="connsiteX7" fmla="*/ 77865 w 284368"/>
                  <a:gd name="connsiteY7" fmla="*/ 354601 h 357881"/>
                  <a:gd name="connsiteX8" fmla="*/ 93844 w 284368"/>
                  <a:gd name="connsiteY8" fmla="*/ 357361 h 357881"/>
                  <a:gd name="connsiteX9" fmla="*/ 107257 w 284368"/>
                  <a:gd name="connsiteY9" fmla="*/ 348171 h 357881"/>
                  <a:gd name="connsiteX10" fmla="*/ 281094 w 284368"/>
                  <a:gd name="connsiteY10" fmla="*/ 75948 h 357881"/>
                  <a:gd name="connsiteX11" fmla="*/ 274471 w 284368"/>
                  <a:gd name="connsiteY11" fmla="*/ 46778 h 357881"/>
                  <a:gd name="connsiteX12" fmla="*/ 78776 w 284368"/>
                  <a:gd name="connsiteY12" fmla="*/ 307823 h 357881"/>
                  <a:gd name="connsiteX13" fmla="*/ 49026 w 284368"/>
                  <a:gd name="connsiteY13" fmla="*/ 278101 h 357881"/>
                  <a:gd name="connsiteX14" fmla="*/ 78776 w 284368"/>
                  <a:gd name="connsiteY14" fmla="*/ 248351 h 357881"/>
                  <a:gd name="connsiteX15" fmla="*/ 108499 w 284368"/>
                  <a:gd name="connsiteY15" fmla="*/ 278101 h 357881"/>
                  <a:gd name="connsiteX16" fmla="*/ 78776 w 284368"/>
                  <a:gd name="connsiteY16" fmla="*/ 307823 h 35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4368" h="357881">
                    <a:moveTo>
                      <a:pt x="274443" y="46805"/>
                    </a:moveTo>
                    <a:lnTo>
                      <a:pt x="206332" y="3312"/>
                    </a:lnTo>
                    <a:cubicBezTo>
                      <a:pt x="202855" y="1104"/>
                      <a:pt x="198991" y="0"/>
                      <a:pt x="194962" y="0"/>
                    </a:cubicBezTo>
                    <a:cubicBezTo>
                      <a:pt x="193499" y="0"/>
                      <a:pt x="192036" y="193"/>
                      <a:pt x="190381" y="359"/>
                    </a:cubicBezTo>
                    <a:cubicBezTo>
                      <a:pt x="184889" y="1656"/>
                      <a:pt x="180280" y="4940"/>
                      <a:pt x="177162" y="9714"/>
                    </a:cubicBezTo>
                    <a:lnTo>
                      <a:pt x="3324" y="281744"/>
                    </a:lnTo>
                    <a:cubicBezTo>
                      <a:pt x="-2913" y="291651"/>
                      <a:pt x="-153" y="304677"/>
                      <a:pt x="9754" y="311108"/>
                    </a:cubicBezTo>
                    <a:lnTo>
                      <a:pt x="77865" y="354601"/>
                    </a:lnTo>
                    <a:cubicBezTo>
                      <a:pt x="82640" y="357527"/>
                      <a:pt x="88518" y="358631"/>
                      <a:pt x="93844" y="357361"/>
                    </a:cubicBezTo>
                    <a:cubicBezTo>
                      <a:pt x="99364" y="356091"/>
                      <a:pt x="104138" y="352780"/>
                      <a:pt x="107257" y="348171"/>
                    </a:cubicBezTo>
                    <a:lnTo>
                      <a:pt x="281094" y="75948"/>
                    </a:lnTo>
                    <a:cubicBezTo>
                      <a:pt x="287331" y="66234"/>
                      <a:pt x="284405" y="53015"/>
                      <a:pt x="274471" y="46778"/>
                    </a:cubicBezTo>
                    <a:close/>
                    <a:moveTo>
                      <a:pt x="78776" y="307823"/>
                    </a:moveTo>
                    <a:cubicBezTo>
                      <a:pt x="62438" y="307823"/>
                      <a:pt x="49026" y="294411"/>
                      <a:pt x="49026" y="278101"/>
                    </a:cubicBezTo>
                    <a:cubicBezTo>
                      <a:pt x="49026" y="261791"/>
                      <a:pt x="62438" y="248351"/>
                      <a:pt x="78776" y="248351"/>
                    </a:cubicBezTo>
                    <a:cubicBezTo>
                      <a:pt x="95114" y="248351"/>
                      <a:pt x="108499" y="261763"/>
                      <a:pt x="108499" y="278101"/>
                    </a:cubicBezTo>
                    <a:cubicBezTo>
                      <a:pt x="108499" y="294438"/>
                      <a:pt x="95086" y="307823"/>
                      <a:pt x="78776" y="307823"/>
                    </a:cubicBezTo>
                    <a:close/>
                  </a:path>
                </a:pathLst>
              </a:custGeom>
              <a:grpFill/>
              <a:ln w="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C7C5FD49-6E86-E5CA-FF75-8B113479D2B3}"/>
                  </a:ext>
                </a:extLst>
              </p:cNvPr>
              <p:cNvSpPr/>
              <p:nvPr/>
            </p:nvSpPr>
            <p:spPr>
              <a:xfrm>
                <a:off x="6332456" y="4082842"/>
                <a:ext cx="284320" cy="357913"/>
              </a:xfrm>
              <a:custGeom>
                <a:avLst/>
                <a:gdLst>
                  <a:gd name="connsiteX0" fmla="*/ 281025 w 284320"/>
                  <a:gd name="connsiteY0" fmla="*/ 281771 h 357913"/>
                  <a:gd name="connsiteX1" fmla="*/ 107188 w 284320"/>
                  <a:gd name="connsiteY1" fmla="*/ 9742 h 357913"/>
                  <a:gd name="connsiteX2" fmla="*/ 93969 w 284320"/>
                  <a:gd name="connsiteY2" fmla="*/ 552 h 357913"/>
                  <a:gd name="connsiteX3" fmla="*/ 89195 w 284320"/>
                  <a:gd name="connsiteY3" fmla="*/ 0 h 357913"/>
                  <a:gd name="connsiteX4" fmla="*/ 77824 w 284320"/>
                  <a:gd name="connsiteY4" fmla="*/ 3312 h 357913"/>
                  <a:gd name="connsiteX5" fmla="*/ 9713 w 284320"/>
                  <a:gd name="connsiteY5" fmla="*/ 46805 h 357913"/>
                  <a:gd name="connsiteX6" fmla="*/ 3284 w 284320"/>
                  <a:gd name="connsiteY6" fmla="*/ 75976 h 357913"/>
                  <a:gd name="connsiteX7" fmla="*/ 177121 w 284320"/>
                  <a:gd name="connsiteY7" fmla="*/ 348199 h 357913"/>
                  <a:gd name="connsiteX8" fmla="*/ 190533 w 284320"/>
                  <a:gd name="connsiteY8" fmla="*/ 357389 h 357913"/>
                  <a:gd name="connsiteX9" fmla="*/ 206319 w 284320"/>
                  <a:gd name="connsiteY9" fmla="*/ 354629 h 357913"/>
                  <a:gd name="connsiteX10" fmla="*/ 274430 w 284320"/>
                  <a:gd name="connsiteY10" fmla="*/ 311135 h 357913"/>
                  <a:gd name="connsiteX11" fmla="*/ 281053 w 284320"/>
                  <a:gd name="connsiteY11" fmla="*/ 281771 h 357913"/>
                  <a:gd name="connsiteX12" fmla="*/ 205408 w 284320"/>
                  <a:gd name="connsiteY12" fmla="*/ 307823 h 357913"/>
                  <a:gd name="connsiteX13" fmla="*/ 175686 w 284320"/>
                  <a:gd name="connsiteY13" fmla="*/ 278101 h 357913"/>
                  <a:gd name="connsiteX14" fmla="*/ 205408 w 284320"/>
                  <a:gd name="connsiteY14" fmla="*/ 248351 h 357913"/>
                  <a:gd name="connsiteX15" fmla="*/ 235158 w 284320"/>
                  <a:gd name="connsiteY15" fmla="*/ 278101 h 357913"/>
                  <a:gd name="connsiteX16" fmla="*/ 205408 w 284320"/>
                  <a:gd name="connsiteY16" fmla="*/ 307823 h 35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4320" h="357913">
                    <a:moveTo>
                      <a:pt x="281025" y="281771"/>
                    </a:moveTo>
                    <a:lnTo>
                      <a:pt x="107188" y="9742"/>
                    </a:lnTo>
                    <a:cubicBezTo>
                      <a:pt x="104069" y="4774"/>
                      <a:pt x="99295" y="1656"/>
                      <a:pt x="93969" y="552"/>
                    </a:cubicBezTo>
                    <a:cubicBezTo>
                      <a:pt x="92313" y="193"/>
                      <a:pt x="90851" y="0"/>
                      <a:pt x="89195" y="0"/>
                    </a:cubicBezTo>
                    <a:cubicBezTo>
                      <a:pt x="85165" y="0"/>
                      <a:pt x="81301" y="1104"/>
                      <a:pt x="77824" y="3312"/>
                    </a:cubicBezTo>
                    <a:lnTo>
                      <a:pt x="9713" y="46805"/>
                    </a:lnTo>
                    <a:cubicBezTo>
                      <a:pt x="-29" y="53042"/>
                      <a:pt x="-2954" y="66262"/>
                      <a:pt x="3284" y="75976"/>
                    </a:cubicBezTo>
                    <a:lnTo>
                      <a:pt x="177121" y="348199"/>
                    </a:lnTo>
                    <a:cubicBezTo>
                      <a:pt x="180239" y="352973"/>
                      <a:pt x="185013" y="356285"/>
                      <a:pt x="190533" y="357389"/>
                    </a:cubicBezTo>
                    <a:cubicBezTo>
                      <a:pt x="196025" y="358658"/>
                      <a:pt x="201544" y="357582"/>
                      <a:pt x="206319" y="354629"/>
                    </a:cubicBezTo>
                    <a:lnTo>
                      <a:pt x="274430" y="311135"/>
                    </a:lnTo>
                    <a:cubicBezTo>
                      <a:pt x="284337" y="304898"/>
                      <a:pt x="287290" y="291679"/>
                      <a:pt x="281053" y="281771"/>
                    </a:cubicBezTo>
                    <a:close/>
                    <a:moveTo>
                      <a:pt x="205408" y="307823"/>
                    </a:moveTo>
                    <a:cubicBezTo>
                      <a:pt x="189070" y="307823"/>
                      <a:pt x="175686" y="294604"/>
                      <a:pt x="175686" y="278101"/>
                    </a:cubicBezTo>
                    <a:cubicBezTo>
                      <a:pt x="175686" y="261597"/>
                      <a:pt x="189098" y="248351"/>
                      <a:pt x="205408" y="248351"/>
                    </a:cubicBezTo>
                    <a:cubicBezTo>
                      <a:pt x="221718" y="248351"/>
                      <a:pt x="235158" y="261763"/>
                      <a:pt x="235158" y="278101"/>
                    </a:cubicBezTo>
                    <a:cubicBezTo>
                      <a:pt x="235158" y="294438"/>
                      <a:pt x="221939" y="307823"/>
                      <a:pt x="205408" y="307823"/>
                    </a:cubicBezTo>
                    <a:close/>
                  </a:path>
                </a:pathLst>
              </a:custGeom>
              <a:grpFill/>
              <a:ln w="0" cap="flat">
                <a:noFill/>
                <a:prstDash val="solid"/>
                <a:miter/>
              </a:ln>
            </p:spPr>
            <p:txBody>
              <a:bodyPr rtlCol="0" anchor="ctr"/>
              <a:lstStyle/>
              <a:p>
                <a:endParaRPr lang="en-US"/>
              </a:p>
            </p:txBody>
          </p:sp>
        </p:grpSp>
        <p:sp>
          <p:nvSpPr>
            <p:cNvPr id="91" name="Freeform: Shape 90">
              <a:extLst>
                <a:ext uri="{FF2B5EF4-FFF2-40B4-BE49-F238E27FC236}">
                  <a16:creationId xmlns:a16="http://schemas.microsoft.com/office/drawing/2014/main" id="{6CB4A995-AB54-704C-F68A-D375A2586665}"/>
                </a:ext>
              </a:extLst>
            </p:cNvPr>
            <p:cNvSpPr/>
            <p:nvPr/>
          </p:nvSpPr>
          <p:spPr>
            <a:xfrm>
              <a:off x="3851125" y="2962066"/>
              <a:ext cx="428543" cy="474824"/>
            </a:xfrm>
            <a:custGeom>
              <a:avLst/>
              <a:gdLst>
                <a:gd name="connsiteX0" fmla="*/ 249692 w 972536"/>
                <a:gd name="connsiteY0" fmla="*/ 328517 h 1077567"/>
                <a:gd name="connsiteX1" fmla="*/ 236550 w 972536"/>
                <a:gd name="connsiteY1" fmla="*/ 328517 h 1077567"/>
                <a:gd name="connsiteX2" fmla="*/ 236550 w 972536"/>
                <a:gd name="connsiteY2" fmla="*/ 289092 h 1077567"/>
                <a:gd name="connsiteX3" fmla="*/ 315401 w 972536"/>
                <a:gd name="connsiteY3" fmla="*/ 289092 h 1077567"/>
                <a:gd name="connsiteX4" fmla="*/ 315401 w 972536"/>
                <a:gd name="connsiteY4" fmla="*/ 328517 h 1077567"/>
                <a:gd name="connsiteX5" fmla="*/ 249692 w 972536"/>
                <a:gd name="connsiteY5" fmla="*/ 328517 h 1077567"/>
                <a:gd name="connsiteX6" fmla="*/ 262834 w 972536"/>
                <a:gd name="connsiteY6" fmla="*/ 394225 h 1077567"/>
                <a:gd name="connsiteX7" fmla="*/ 315401 w 972536"/>
                <a:gd name="connsiteY7" fmla="*/ 394225 h 1077567"/>
                <a:gd name="connsiteX8" fmla="*/ 315401 w 972536"/>
                <a:gd name="connsiteY8" fmla="*/ 354800 h 1077567"/>
                <a:gd name="connsiteX9" fmla="*/ 236550 w 972536"/>
                <a:gd name="connsiteY9" fmla="*/ 354800 h 1077567"/>
                <a:gd name="connsiteX10" fmla="*/ 236550 w 972536"/>
                <a:gd name="connsiteY10" fmla="*/ 394225 h 1077567"/>
                <a:gd name="connsiteX11" fmla="*/ 262834 w 972536"/>
                <a:gd name="connsiteY11" fmla="*/ 394225 h 1077567"/>
                <a:gd name="connsiteX12" fmla="*/ 676541 w 972536"/>
                <a:gd name="connsiteY12" fmla="*/ 933060 h 1077567"/>
                <a:gd name="connsiteX13" fmla="*/ 687578 w 972536"/>
                <a:gd name="connsiteY13" fmla="*/ 946202 h 1077567"/>
                <a:gd name="connsiteX14" fmla="*/ 293044 w 972536"/>
                <a:gd name="connsiteY14" fmla="*/ 946202 h 1077567"/>
                <a:gd name="connsiteX15" fmla="*/ 236525 w 972536"/>
                <a:gd name="connsiteY15" fmla="*/ 884703 h 1077567"/>
                <a:gd name="connsiteX16" fmla="*/ 236525 w 972536"/>
                <a:gd name="connsiteY16" fmla="*/ 420534 h 1077567"/>
                <a:gd name="connsiteX17" fmla="*/ 315375 w 972536"/>
                <a:gd name="connsiteY17" fmla="*/ 420534 h 1077567"/>
                <a:gd name="connsiteX18" fmla="*/ 315375 w 972536"/>
                <a:gd name="connsiteY18" fmla="*/ 433676 h 1077567"/>
                <a:gd name="connsiteX19" fmla="*/ 381083 w 972536"/>
                <a:gd name="connsiteY19" fmla="*/ 499385 h 1077567"/>
                <a:gd name="connsiteX20" fmla="*/ 394225 w 972536"/>
                <a:gd name="connsiteY20" fmla="*/ 499385 h 1077567"/>
                <a:gd name="connsiteX21" fmla="*/ 394225 w 972536"/>
                <a:gd name="connsiteY21" fmla="*/ 551951 h 1077567"/>
                <a:gd name="connsiteX22" fmla="*/ 407367 w 972536"/>
                <a:gd name="connsiteY22" fmla="*/ 565093 h 1077567"/>
                <a:gd name="connsiteX23" fmla="*/ 420508 w 972536"/>
                <a:gd name="connsiteY23" fmla="*/ 551951 h 1077567"/>
                <a:gd name="connsiteX24" fmla="*/ 420508 w 972536"/>
                <a:gd name="connsiteY24" fmla="*/ 499385 h 1077567"/>
                <a:gd name="connsiteX25" fmla="*/ 459934 w 972536"/>
                <a:gd name="connsiteY25" fmla="*/ 499385 h 1077567"/>
                <a:gd name="connsiteX26" fmla="*/ 459934 w 972536"/>
                <a:gd name="connsiteY26" fmla="*/ 551951 h 1077567"/>
                <a:gd name="connsiteX27" fmla="*/ 473075 w 972536"/>
                <a:gd name="connsiteY27" fmla="*/ 565093 h 1077567"/>
                <a:gd name="connsiteX28" fmla="*/ 486217 w 972536"/>
                <a:gd name="connsiteY28" fmla="*/ 551951 h 1077567"/>
                <a:gd name="connsiteX29" fmla="*/ 486217 w 972536"/>
                <a:gd name="connsiteY29" fmla="*/ 499385 h 1077567"/>
                <a:gd name="connsiteX30" fmla="*/ 525642 w 972536"/>
                <a:gd name="connsiteY30" fmla="*/ 499385 h 1077567"/>
                <a:gd name="connsiteX31" fmla="*/ 525642 w 972536"/>
                <a:gd name="connsiteY31" fmla="*/ 551951 h 1077567"/>
                <a:gd name="connsiteX32" fmla="*/ 538784 w 972536"/>
                <a:gd name="connsiteY32" fmla="*/ 565093 h 1077567"/>
                <a:gd name="connsiteX33" fmla="*/ 551925 w 972536"/>
                <a:gd name="connsiteY33" fmla="*/ 551951 h 1077567"/>
                <a:gd name="connsiteX34" fmla="*/ 551925 w 972536"/>
                <a:gd name="connsiteY34" fmla="*/ 499385 h 1077567"/>
                <a:gd name="connsiteX35" fmla="*/ 565067 w 972536"/>
                <a:gd name="connsiteY35" fmla="*/ 499385 h 1077567"/>
                <a:gd name="connsiteX36" fmla="*/ 630776 w 972536"/>
                <a:gd name="connsiteY36" fmla="*/ 433676 h 1077567"/>
                <a:gd name="connsiteX37" fmla="*/ 630776 w 972536"/>
                <a:gd name="connsiteY37" fmla="*/ 420534 h 1077567"/>
                <a:gd name="connsiteX38" fmla="*/ 683342 w 972536"/>
                <a:gd name="connsiteY38" fmla="*/ 420534 h 1077567"/>
                <a:gd name="connsiteX39" fmla="*/ 696484 w 972536"/>
                <a:gd name="connsiteY39" fmla="*/ 407392 h 1077567"/>
                <a:gd name="connsiteX40" fmla="*/ 683342 w 972536"/>
                <a:gd name="connsiteY40" fmla="*/ 394251 h 1077567"/>
                <a:gd name="connsiteX41" fmla="*/ 630776 w 972536"/>
                <a:gd name="connsiteY41" fmla="*/ 394251 h 1077567"/>
                <a:gd name="connsiteX42" fmla="*/ 630776 w 972536"/>
                <a:gd name="connsiteY42" fmla="*/ 354826 h 1077567"/>
                <a:gd name="connsiteX43" fmla="*/ 683342 w 972536"/>
                <a:gd name="connsiteY43" fmla="*/ 354826 h 1077567"/>
                <a:gd name="connsiteX44" fmla="*/ 696484 w 972536"/>
                <a:gd name="connsiteY44" fmla="*/ 341684 h 1077567"/>
                <a:gd name="connsiteX45" fmla="*/ 683342 w 972536"/>
                <a:gd name="connsiteY45" fmla="*/ 328542 h 1077567"/>
                <a:gd name="connsiteX46" fmla="*/ 630776 w 972536"/>
                <a:gd name="connsiteY46" fmla="*/ 328542 h 1077567"/>
                <a:gd name="connsiteX47" fmla="*/ 630776 w 972536"/>
                <a:gd name="connsiteY47" fmla="*/ 289117 h 1077567"/>
                <a:gd name="connsiteX48" fmla="*/ 683342 w 972536"/>
                <a:gd name="connsiteY48" fmla="*/ 289117 h 1077567"/>
                <a:gd name="connsiteX49" fmla="*/ 696484 w 972536"/>
                <a:gd name="connsiteY49" fmla="*/ 275976 h 1077567"/>
                <a:gd name="connsiteX50" fmla="*/ 683342 w 972536"/>
                <a:gd name="connsiteY50" fmla="*/ 262834 h 1077567"/>
                <a:gd name="connsiteX51" fmla="*/ 630776 w 972536"/>
                <a:gd name="connsiteY51" fmla="*/ 262834 h 1077567"/>
                <a:gd name="connsiteX52" fmla="*/ 630776 w 972536"/>
                <a:gd name="connsiteY52" fmla="*/ 249692 h 1077567"/>
                <a:gd name="connsiteX53" fmla="*/ 565067 w 972536"/>
                <a:gd name="connsiteY53" fmla="*/ 183984 h 1077567"/>
                <a:gd name="connsiteX54" fmla="*/ 551925 w 972536"/>
                <a:gd name="connsiteY54" fmla="*/ 183984 h 1077567"/>
                <a:gd name="connsiteX55" fmla="*/ 551925 w 972536"/>
                <a:gd name="connsiteY55" fmla="*/ 131417 h 1077567"/>
                <a:gd name="connsiteX56" fmla="*/ 538784 w 972536"/>
                <a:gd name="connsiteY56" fmla="*/ 118275 h 1077567"/>
                <a:gd name="connsiteX57" fmla="*/ 525642 w 972536"/>
                <a:gd name="connsiteY57" fmla="*/ 131417 h 1077567"/>
                <a:gd name="connsiteX58" fmla="*/ 525642 w 972536"/>
                <a:gd name="connsiteY58" fmla="*/ 183984 h 1077567"/>
                <a:gd name="connsiteX59" fmla="*/ 486217 w 972536"/>
                <a:gd name="connsiteY59" fmla="*/ 183984 h 1077567"/>
                <a:gd name="connsiteX60" fmla="*/ 486217 w 972536"/>
                <a:gd name="connsiteY60" fmla="*/ 131417 h 1077567"/>
                <a:gd name="connsiteX61" fmla="*/ 473075 w 972536"/>
                <a:gd name="connsiteY61" fmla="*/ 118275 h 1077567"/>
                <a:gd name="connsiteX62" fmla="*/ 459934 w 972536"/>
                <a:gd name="connsiteY62" fmla="*/ 131417 h 1077567"/>
                <a:gd name="connsiteX63" fmla="*/ 459934 w 972536"/>
                <a:gd name="connsiteY63" fmla="*/ 183984 h 1077567"/>
                <a:gd name="connsiteX64" fmla="*/ 420508 w 972536"/>
                <a:gd name="connsiteY64" fmla="*/ 183984 h 1077567"/>
                <a:gd name="connsiteX65" fmla="*/ 420508 w 972536"/>
                <a:gd name="connsiteY65" fmla="*/ 131417 h 1077567"/>
                <a:gd name="connsiteX66" fmla="*/ 407367 w 972536"/>
                <a:gd name="connsiteY66" fmla="*/ 118275 h 1077567"/>
                <a:gd name="connsiteX67" fmla="*/ 394225 w 972536"/>
                <a:gd name="connsiteY67" fmla="*/ 131417 h 1077567"/>
                <a:gd name="connsiteX68" fmla="*/ 394225 w 972536"/>
                <a:gd name="connsiteY68" fmla="*/ 183984 h 1077567"/>
                <a:gd name="connsiteX69" fmla="*/ 381083 w 972536"/>
                <a:gd name="connsiteY69" fmla="*/ 183984 h 1077567"/>
                <a:gd name="connsiteX70" fmla="*/ 315375 w 972536"/>
                <a:gd name="connsiteY70" fmla="*/ 249692 h 1077567"/>
                <a:gd name="connsiteX71" fmla="*/ 315375 w 972536"/>
                <a:gd name="connsiteY71" fmla="*/ 262834 h 1077567"/>
                <a:gd name="connsiteX72" fmla="*/ 236525 w 972536"/>
                <a:gd name="connsiteY72" fmla="*/ 262834 h 1077567"/>
                <a:gd name="connsiteX73" fmla="*/ 236525 w 972536"/>
                <a:gd name="connsiteY73" fmla="*/ 61499 h 1077567"/>
                <a:gd name="connsiteX74" fmla="*/ 293044 w 972536"/>
                <a:gd name="connsiteY74" fmla="*/ 0 h 1077567"/>
                <a:gd name="connsiteX75" fmla="*/ 705699 w 972536"/>
                <a:gd name="connsiteY75" fmla="*/ 0 h 1077567"/>
                <a:gd name="connsiteX76" fmla="*/ 762218 w 972536"/>
                <a:gd name="connsiteY76" fmla="*/ 61499 h 1077567"/>
                <a:gd name="connsiteX77" fmla="*/ 762218 w 972536"/>
                <a:gd name="connsiteY77" fmla="*/ 486243 h 1077567"/>
                <a:gd name="connsiteX78" fmla="*/ 749077 w 972536"/>
                <a:gd name="connsiteY78" fmla="*/ 486243 h 1077567"/>
                <a:gd name="connsiteX79" fmla="*/ 749077 w 972536"/>
                <a:gd name="connsiteY79" fmla="*/ 473101 h 1077567"/>
                <a:gd name="connsiteX80" fmla="*/ 735935 w 972536"/>
                <a:gd name="connsiteY80" fmla="*/ 486243 h 1077567"/>
                <a:gd name="connsiteX81" fmla="*/ 735935 w 972536"/>
                <a:gd name="connsiteY81" fmla="*/ 688887 h 1077567"/>
                <a:gd name="connsiteX82" fmla="*/ 647613 w 972536"/>
                <a:gd name="connsiteY82" fmla="*/ 593737 h 1077567"/>
                <a:gd name="connsiteX83" fmla="*/ 585062 w 972536"/>
                <a:gd name="connsiteY83" fmla="*/ 583753 h 1077567"/>
                <a:gd name="connsiteX84" fmla="*/ 580339 w 972536"/>
                <a:gd name="connsiteY84" fmla="*/ 729903 h 1077567"/>
                <a:gd name="connsiteX85" fmla="*/ 609241 w 972536"/>
                <a:gd name="connsiteY85" fmla="*/ 765914 h 1077567"/>
                <a:gd name="connsiteX86" fmla="*/ 630801 w 972536"/>
                <a:gd name="connsiteY86" fmla="*/ 801669 h 1077567"/>
                <a:gd name="connsiteX87" fmla="*/ 666813 w 972536"/>
                <a:gd name="connsiteY87" fmla="*/ 919944 h 1077567"/>
                <a:gd name="connsiteX88" fmla="*/ 676541 w 972536"/>
                <a:gd name="connsiteY88" fmla="*/ 933086 h 1077567"/>
                <a:gd name="connsiteX89" fmla="*/ 446818 w 972536"/>
                <a:gd name="connsiteY89" fmla="*/ 854210 h 1077567"/>
                <a:gd name="connsiteX90" fmla="*/ 459959 w 972536"/>
                <a:gd name="connsiteY90" fmla="*/ 867352 h 1077567"/>
                <a:gd name="connsiteX91" fmla="*/ 538809 w 972536"/>
                <a:gd name="connsiteY91" fmla="*/ 867352 h 1077567"/>
                <a:gd name="connsiteX92" fmla="*/ 551951 w 972536"/>
                <a:gd name="connsiteY92" fmla="*/ 854210 h 1077567"/>
                <a:gd name="connsiteX93" fmla="*/ 538809 w 972536"/>
                <a:gd name="connsiteY93" fmla="*/ 841069 h 1077567"/>
                <a:gd name="connsiteX94" fmla="*/ 459959 w 972536"/>
                <a:gd name="connsiteY94" fmla="*/ 841069 h 1077567"/>
                <a:gd name="connsiteX95" fmla="*/ 446818 w 972536"/>
                <a:gd name="connsiteY95" fmla="*/ 854210 h 1077567"/>
                <a:gd name="connsiteX96" fmla="*/ 941761 w 972536"/>
                <a:gd name="connsiteY96" fmla="*/ 680468 h 1077567"/>
                <a:gd name="connsiteX97" fmla="*/ 842403 w 972536"/>
                <a:gd name="connsiteY97" fmla="*/ 531700 h 1077567"/>
                <a:gd name="connsiteX98" fmla="*/ 781956 w 972536"/>
                <a:gd name="connsiteY98" fmla="*/ 499359 h 1077567"/>
                <a:gd name="connsiteX99" fmla="*/ 762244 w 972536"/>
                <a:gd name="connsiteY99" fmla="*/ 499359 h 1077567"/>
                <a:gd name="connsiteX100" fmla="*/ 762244 w 972536"/>
                <a:gd name="connsiteY100" fmla="*/ 722767 h 1077567"/>
                <a:gd name="connsiteX101" fmla="*/ 753825 w 972536"/>
                <a:gd name="connsiteY101" fmla="*/ 735114 h 1077567"/>
                <a:gd name="connsiteX102" fmla="*/ 749102 w 972536"/>
                <a:gd name="connsiteY102" fmla="*/ 735909 h 1077567"/>
                <a:gd name="connsiteX103" fmla="*/ 739374 w 972536"/>
                <a:gd name="connsiteY103" fmla="*/ 731700 h 1077567"/>
                <a:gd name="connsiteX104" fmla="*/ 735960 w 972536"/>
                <a:gd name="connsiteY104" fmla="*/ 727747 h 1077567"/>
                <a:gd name="connsiteX105" fmla="*/ 628979 w 972536"/>
                <a:gd name="connsiteY105" fmla="*/ 612090 h 1077567"/>
                <a:gd name="connsiteX106" fmla="*/ 601386 w 972536"/>
                <a:gd name="connsiteY106" fmla="*/ 604210 h 1077567"/>
                <a:gd name="connsiteX107" fmla="*/ 602439 w 972536"/>
                <a:gd name="connsiteY107" fmla="*/ 715657 h 1077567"/>
                <a:gd name="connsiteX108" fmla="*/ 628466 w 972536"/>
                <a:gd name="connsiteY108" fmla="*/ 747716 h 1077567"/>
                <a:gd name="connsiteX109" fmla="*/ 657110 w 972536"/>
                <a:gd name="connsiteY109" fmla="*/ 801592 h 1077567"/>
                <a:gd name="connsiteX110" fmla="*/ 699693 w 972536"/>
                <a:gd name="connsiteY110" fmla="*/ 919867 h 1077567"/>
                <a:gd name="connsiteX111" fmla="*/ 710729 w 972536"/>
                <a:gd name="connsiteY111" fmla="*/ 932496 h 1077567"/>
                <a:gd name="connsiteX112" fmla="*/ 721253 w 972536"/>
                <a:gd name="connsiteY112" fmla="*/ 943789 h 1077567"/>
                <a:gd name="connsiteX113" fmla="*/ 723358 w 972536"/>
                <a:gd name="connsiteY113" fmla="*/ 945894 h 1077567"/>
                <a:gd name="connsiteX114" fmla="*/ 762270 w 972536"/>
                <a:gd name="connsiteY114" fmla="*/ 1011859 h 1077567"/>
                <a:gd name="connsiteX115" fmla="*/ 762270 w 972536"/>
                <a:gd name="connsiteY115" fmla="*/ 1077567 h 1077567"/>
                <a:gd name="connsiteX116" fmla="*/ 972537 w 972536"/>
                <a:gd name="connsiteY116" fmla="*/ 1077567 h 1077567"/>
                <a:gd name="connsiteX117" fmla="*/ 972537 w 972536"/>
                <a:gd name="connsiteY117" fmla="*/ 782136 h 1077567"/>
                <a:gd name="connsiteX118" fmla="*/ 941787 w 972536"/>
                <a:gd name="connsiteY118" fmla="*/ 680416 h 1077567"/>
                <a:gd name="connsiteX119" fmla="*/ 381109 w 972536"/>
                <a:gd name="connsiteY119" fmla="*/ 473075 h 1077567"/>
                <a:gd name="connsiteX120" fmla="*/ 565093 w 972536"/>
                <a:gd name="connsiteY120" fmla="*/ 473075 h 1077567"/>
                <a:gd name="connsiteX121" fmla="*/ 604518 w 972536"/>
                <a:gd name="connsiteY121" fmla="*/ 433650 h 1077567"/>
                <a:gd name="connsiteX122" fmla="*/ 604518 w 972536"/>
                <a:gd name="connsiteY122" fmla="*/ 249667 h 1077567"/>
                <a:gd name="connsiteX123" fmla="*/ 565093 w 972536"/>
                <a:gd name="connsiteY123" fmla="*/ 210242 h 1077567"/>
                <a:gd name="connsiteX124" fmla="*/ 381109 w 972536"/>
                <a:gd name="connsiteY124" fmla="*/ 210242 h 1077567"/>
                <a:gd name="connsiteX125" fmla="*/ 341684 w 972536"/>
                <a:gd name="connsiteY125" fmla="*/ 249667 h 1077567"/>
                <a:gd name="connsiteX126" fmla="*/ 341684 w 972536"/>
                <a:gd name="connsiteY126" fmla="*/ 433650 h 1077567"/>
                <a:gd name="connsiteX127" fmla="*/ 381109 w 972536"/>
                <a:gd name="connsiteY127" fmla="*/ 473075 h 1077567"/>
                <a:gd name="connsiteX128" fmla="*/ 236550 w 972536"/>
                <a:gd name="connsiteY128" fmla="*/ 328517 h 1077567"/>
                <a:gd name="connsiteX129" fmla="*/ 236550 w 972536"/>
                <a:gd name="connsiteY129" fmla="*/ 354800 h 1077567"/>
                <a:gd name="connsiteX130" fmla="*/ 105134 w 972536"/>
                <a:gd name="connsiteY130" fmla="*/ 354800 h 1077567"/>
                <a:gd name="connsiteX131" fmla="*/ 103568 w 972536"/>
                <a:gd name="connsiteY131" fmla="*/ 354543 h 1077567"/>
                <a:gd name="connsiteX132" fmla="*/ 52567 w 972536"/>
                <a:gd name="connsiteY132" fmla="*/ 394225 h 1077567"/>
                <a:gd name="connsiteX133" fmla="*/ 0 w 972536"/>
                <a:gd name="connsiteY133" fmla="*/ 341658 h 1077567"/>
                <a:gd name="connsiteX134" fmla="*/ 52567 w 972536"/>
                <a:gd name="connsiteY134" fmla="*/ 289092 h 1077567"/>
                <a:gd name="connsiteX135" fmla="*/ 103568 w 972536"/>
                <a:gd name="connsiteY135" fmla="*/ 328773 h 1077567"/>
                <a:gd name="connsiteX136" fmla="*/ 105134 w 972536"/>
                <a:gd name="connsiteY136" fmla="*/ 328517 h 1077567"/>
                <a:gd name="connsiteX137" fmla="*/ 236550 w 972536"/>
                <a:gd name="connsiteY137" fmla="*/ 328517 h 1077567"/>
                <a:gd name="connsiteX138" fmla="*/ 78850 w 972536"/>
                <a:gd name="connsiteY138" fmla="*/ 341658 h 1077567"/>
                <a:gd name="connsiteX139" fmla="*/ 52567 w 972536"/>
                <a:gd name="connsiteY139" fmla="*/ 315375 h 1077567"/>
                <a:gd name="connsiteX140" fmla="*/ 26283 w 972536"/>
                <a:gd name="connsiteY140" fmla="*/ 341658 h 1077567"/>
                <a:gd name="connsiteX141" fmla="*/ 52567 w 972536"/>
                <a:gd name="connsiteY141" fmla="*/ 367942 h 1077567"/>
                <a:gd name="connsiteX142" fmla="*/ 78850 w 972536"/>
                <a:gd name="connsiteY142" fmla="*/ 341658 h 1077567"/>
                <a:gd name="connsiteX143" fmla="*/ 236550 w 972536"/>
                <a:gd name="connsiteY143" fmla="*/ 262808 h 1077567"/>
                <a:gd name="connsiteX144" fmla="*/ 236550 w 972536"/>
                <a:gd name="connsiteY144" fmla="*/ 289092 h 1077567"/>
                <a:gd name="connsiteX145" fmla="*/ 183984 w 972536"/>
                <a:gd name="connsiteY145" fmla="*/ 289092 h 1077567"/>
                <a:gd name="connsiteX146" fmla="*/ 172690 w 972536"/>
                <a:gd name="connsiteY146" fmla="*/ 282521 h 1077567"/>
                <a:gd name="connsiteX147" fmla="*/ 123794 w 972536"/>
                <a:gd name="connsiteY147" fmla="*/ 197100 h 1077567"/>
                <a:gd name="connsiteX148" fmla="*/ 103285 w 972536"/>
                <a:gd name="connsiteY148" fmla="*/ 197100 h 1077567"/>
                <a:gd name="connsiteX149" fmla="*/ 52567 w 972536"/>
                <a:gd name="connsiteY149" fmla="*/ 236525 h 1077567"/>
                <a:gd name="connsiteX150" fmla="*/ 0 w 972536"/>
                <a:gd name="connsiteY150" fmla="*/ 183958 h 1077567"/>
                <a:gd name="connsiteX151" fmla="*/ 52567 w 972536"/>
                <a:gd name="connsiteY151" fmla="*/ 131391 h 1077567"/>
                <a:gd name="connsiteX152" fmla="*/ 103285 w 972536"/>
                <a:gd name="connsiteY152" fmla="*/ 170816 h 1077567"/>
                <a:gd name="connsiteX153" fmla="*/ 131417 w 972536"/>
                <a:gd name="connsiteY153" fmla="*/ 170816 h 1077567"/>
                <a:gd name="connsiteX154" fmla="*/ 142711 w 972536"/>
                <a:gd name="connsiteY154" fmla="*/ 177387 h 1077567"/>
                <a:gd name="connsiteX155" fmla="*/ 191607 w 972536"/>
                <a:gd name="connsiteY155" fmla="*/ 262808 h 1077567"/>
                <a:gd name="connsiteX156" fmla="*/ 236550 w 972536"/>
                <a:gd name="connsiteY156" fmla="*/ 262808 h 1077567"/>
                <a:gd name="connsiteX157" fmla="*/ 52567 w 972536"/>
                <a:gd name="connsiteY157" fmla="*/ 210242 h 1077567"/>
                <a:gd name="connsiteX158" fmla="*/ 75436 w 972536"/>
                <a:gd name="connsiteY158" fmla="*/ 196561 h 1077567"/>
                <a:gd name="connsiteX159" fmla="*/ 78850 w 972536"/>
                <a:gd name="connsiteY159" fmla="*/ 183932 h 1077567"/>
                <a:gd name="connsiteX160" fmla="*/ 75436 w 972536"/>
                <a:gd name="connsiteY160" fmla="*/ 171304 h 1077567"/>
                <a:gd name="connsiteX161" fmla="*/ 52567 w 972536"/>
                <a:gd name="connsiteY161" fmla="*/ 157649 h 1077567"/>
                <a:gd name="connsiteX162" fmla="*/ 26283 w 972536"/>
                <a:gd name="connsiteY162" fmla="*/ 183932 h 1077567"/>
                <a:gd name="connsiteX163" fmla="*/ 52567 w 972536"/>
                <a:gd name="connsiteY163" fmla="*/ 210216 h 1077567"/>
                <a:gd name="connsiteX164" fmla="*/ 236550 w 972536"/>
                <a:gd name="connsiteY164" fmla="*/ 394225 h 1077567"/>
                <a:gd name="connsiteX165" fmla="*/ 236550 w 972536"/>
                <a:gd name="connsiteY165" fmla="*/ 420508 h 1077567"/>
                <a:gd name="connsiteX166" fmla="*/ 191607 w 972536"/>
                <a:gd name="connsiteY166" fmla="*/ 420508 h 1077567"/>
                <a:gd name="connsiteX167" fmla="*/ 142711 w 972536"/>
                <a:gd name="connsiteY167" fmla="*/ 505930 h 1077567"/>
                <a:gd name="connsiteX168" fmla="*/ 131417 w 972536"/>
                <a:gd name="connsiteY168" fmla="*/ 512500 h 1077567"/>
                <a:gd name="connsiteX169" fmla="*/ 103285 w 972536"/>
                <a:gd name="connsiteY169" fmla="*/ 512500 h 1077567"/>
                <a:gd name="connsiteX170" fmla="*/ 52567 w 972536"/>
                <a:gd name="connsiteY170" fmla="*/ 551926 h 1077567"/>
                <a:gd name="connsiteX171" fmla="*/ 0 w 972536"/>
                <a:gd name="connsiteY171" fmla="*/ 499359 h 1077567"/>
                <a:gd name="connsiteX172" fmla="*/ 52567 w 972536"/>
                <a:gd name="connsiteY172" fmla="*/ 446792 h 1077567"/>
                <a:gd name="connsiteX173" fmla="*/ 103285 w 972536"/>
                <a:gd name="connsiteY173" fmla="*/ 486217 h 1077567"/>
                <a:gd name="connsiteX174" fmla="*/ 123794 w 972536"/>
                <a:gd name="connsiteY174" fmla="*/ 486217 h 1077567"/>
                <a:gd name="connsiteX175" fmla="*/ 172690 w 972536"/>
                <a:gd name="connsiteY175" fmla="*/ 400796 h 1077567"/>
                <a:gd name="connsiteX176" fmla="*/ 183984 w 972536"/>
                <a:gd name="connsiteY176" fmla="*/ 394225 h 1077567"/>
                <a:gd name="connsiteX177" fmla="*/ 236550 w 972536"/>
                <a:gd name="connsiteY177" fmla="*/ 394225 h 1077567"/>
                <a:gd name="connsiteX178" fmla="*/ 52567 w 972536"/>
                <a:gd name="connsiteY178" fmla="*/ 525642 h 1077567"/>
                <a:gd name="connsiteX179" fmla="*/ 75436 w 972536"/>
                <a:gd name="connsiteY179" fmla="*/ 511961 h 1077567"/>
                <a:gd name="connsiteX180" fmla="*/ 78850 w 972536"/>
                <a:gd name="connsiteY180" fmla="*/ 499333 h 1077567"/>
                <a:gd name="connsiteX181" fmla="*/ 75436 w 972536"/>
                <a:gd name="connsiteY181" fmla="*/ 486705 h 1077567"/>
                <a:gd name="connsiteX182" fmla="*/ 52567 w 972536"/>
                <a:gd name="connsiteY182" fmla="*/ 473050 h 1077567"/>
                <a:gd name="connsiteX183" fmla="*/ 26283 w 972536"/>
                <a:gd name="connsiteY183" fmla="*/ 499333 h 1077567"/>
                <a:gd name="connsiteX184" fmla="*/ 52567 w 972536"/>
                <a:gd name="connsiteY184" fmla="*/ 525617 h 1077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972536" h="1077567">
                  <a:moveTo>
                    <a:pt x="249692" y="328517"/>
                  </a:moveTo>
                  <a:lnTo>
                    <a:pt x="236550" y="328517"/>
                  </a:lnTo>
                  <a:lnTo>
                    <a:pt x="236550" y="289092"/>
                  </a:lnTo>
                  <a:lnTo>
                    <a:pt x="315401" y="289092"/>
                  </a:lnTo>
                  <a:lnTo>
                    <a:pt x="315401" y="328517"/>
                  </a:lnTo>
                  <a:lnTo>
                    <a:pt x="249692" y="328517"/>
                  </a:lnTo>
                  <a:close/>
                  <a:moveTo>
                    <a:pt x="262834" y="394225"/>
                  </a:moveTo>
                  <a:lnTo>
                    <a:pt x="315401" y="394225"/>
                  </a:lnTo>
                  <a:lnTo>
                    <a:pt x="315401" y="354800"/>
                  </a:lnTo>
                  <a:lnTo>
                    <a:pt x="236550" y="354800"/>
                  </a:lnTo>
                  <a:lnTo>
                    <a:pt x="236550" y="394225"/>
                  </a:lnTo>
                  <a:lnTo>
                    <a:pt x="262834" y="394225"/>
                  </a:lnTo>
                  <a:close/>
                  <a:moveTo>
                    <a:pt x="676541" y="933060"/>
                  </a:moveTo>
                  <a:cubicBezTo>
                    <a:pt x="680211" y="937783"/>
                    <a:pt x="684164" y="942249"/>
                    <a:pt x="687578" y="946202"/>
                  </a:cubicBezTo>
                  <a:lnTo>
                    <a:pt x="293044" y="946202"/>
                  </a:lnTo>
                  <a:cubicBezTo>
                    <a:pt x="262038" y="946202"/>
                    <a:pt x="236525" y="918610"/>
                    <a:pt x="236525" y="884703"/>
                  </a:cubicBezTo>
                  <a:lnTo>
                    <a:pt x="236525" y="420534"/>
                  </a:lnTo>
                  <a:lnTo>
                    <a:pt x="315375" y="420534"/>
                  </a:lnTo>
                  <a:lnTo>
                    <a:pt x="315375" y="433676"/>
                  </a:lnTo>
                  <a:cubicBezTo>
                    <a:pt x="315375" y="469944"/>
                    <a:pt x="344815" y="499385"/>
                    <a:pt x="381083" y="499385"/>
                  </a:cubicBezTo>
                  <a:lnTo>
                    <a:pt x="394225" y="499385"/>
                  </a:lnTo>
                  <a:lnTo>
                    <a:pt x="394225" y="551951"/>
                  </a:lnTo>
                  <a:cubicBezTo>
                    <a:pt x="394225" y="559318"/>
                    <a:pt x="400000" y="565093"/>
                    <a:pt x="407367" y="565093"/>
                  </a:cubicBezTo>
                  <a:cubicBezTo>
                    <a:pt x="414733" y="565093"/>
                    <a:pt x="420508" y="559318"/>
                    <a:pt x="420508" y="551951"/>
                  </a:cubicBezTo>
                  <a:lnTo>
                    <a:pt x="420508" y="499385"/>
                  </a:lnTo>
                  <a:lnTo>
                    <a:pt x="459934" y="499385"/>
                  </a:lnTo>
                  <a:lnTo>
                    <a:pt x="459934" y="551951"/>
                  </a:lnTo>
                  <a:cubicBezTo>
                    <a:pt x="459934" y="559318"/>
                    <a:pt x="465709" y="565093"/>
                    <a:pt x="473075" y="565093"/>
                  </a:cubicBezTo>
                  <a:cubicBezTo>
                    <a:pt x="480442" y="565093"/>
                    <a:pt x="486217" y="559318"/>
                    <a:pt x="486217" y="551951"/>
                  </a:cubicBezTo>
                  <a:lnTo>
                    <a:pt x="486217" y="499385"/>
                  </a:lnTo>
                  <a:lnTo>
                    <a:pt x="525642" y="499385"/>
                  </a:lnTo>
                  <a:lnTo>
                    <a:pt x="525642" y="551951"/>
                  </a:lnTo>
                  <a:cubicBezTo>
                    <a:pt x="525642" y="559318"/>
                    <a:pt x="531417" y="565093"/>
                    <a:pt x="538784" y="565093"/>
                  </a:cubicBezTo>
                  <a:cubicBezTo>
                    <a:pt x="546150" y="565093"/>
                    <a:pt x="551925" y="559318"/>
                    <a:pt x="551925" y="551951"/>
                  </a:cubicBezTo>
                  <a:lnTo>
                    <a:pt x="551925" y="499385"/>
                  </a:lnTo>
                  <a:lnTo>
                    <a:pt x="565067" y="499385"/>
                  </a:lnTo>
                  <a:cubicBezTo>
                    <a:pt x="601335" y="499385"/>
                    <a:pt x="630776" y="469944"/>
                    <a:pt x="630776" y="433676"/>
                  </a:cubicBezTo>
                  <a:lnTo>
                    <a:pt x="630776" y="420534"/>
                  </a:lnTo>
                  <a:lnTo>
                    <a:pt x="683342" y="420534"/>
                  </a:lnTo>
                  <a:cubicBezTo>
                    <a:pt x="690709" y="420534"/>
                    <a:pt x="696484" y="414759"/>
                    <a:pt x="696484" y="407392"/>
                  </a:cubicBezTo>
                  <a:cubicBezTo>
                    <a:pt x="696484" y="400026"/>
                    <a:pt x="690709" y="394251"/>
                    <a:pt x="683342" y="394251"/>
                  </a:cubicBezTo>
                  <a:lnTo>
                    <a:pt x="630776" y="394251"/>
                  </a:lnTo>
                  <a:lnTo>
                    <a:pt x="630776" y="354826"/>
                  </a:lnTo>
                  <a:lnTo>
                    <a:pt x="683342" y="354826"/>
                  </a:lnTo>
                  <a:cubicBezTo>
                    <a:pt x="690709" y="354826"/>
                    <a:pt x="696484" y="349051"/>
                    <a:pt x="696484" y="341684"/>
                  </a:cubicBezTo>
                  <a:cubicBezTo>
                    <a:pt x="696484" y="334318"/>
                    <a:pt x="690709" y="328542"/>
                    <a:pt x="683342" y="328542"/>
                  </a:cubicBezTo>
                  <a:lnTo>
                    <a:pt x="630776" y="328542"/>
                  </a:lnTo>
                  <a:lnTo>
                    <a:pt x="630776" y="289117"/>
                  </a:lnTo>
                  <a:lnTo>
                    <a:pt x="683342" y="289117"/>
                  </a:lnTo>
                  <a:cubicBezTo>
                    <a:pt x="690709" y="289117"/>
                    <a:pt x="696484" y="283342"/>
                    <a:pt x="696484" y="275976"/>
                  </a:cubicBezTo>
                  <a:cubicBezTo>
                    <a:pt x="696484" y="268609"/>
                    <a:pt x="690709" y="262834"/>
                    <a:pt x="683342" y="262834"/>
                  </a:cubicBezTo>
                  <a:lnTo>
                    <a:pt x="630776" y="262834"/>
                  </a:lnTo>
                  <a:lnTo>
                    <a:pt x="630776" y="249692"/>
                  </a:lnTo>
                  <a:cubicBezTo>
                    <a:pt x="630776" y="213424"/>
                    <a:pt x="601335" y="183984"/>
                    <a:pt x="565067" y="183984"/>
                  </a:cubicBezTo>
                  <a:lnTo>
                    <a:pt x="551925" y="183984"/>
                  </a:lnTo>
                  <a:lnTo>
                    <a:pt x="551925" y="131417"/>
                  </a:lnTo>
                  <a:cubicBezTo>
                    <a:pt x="551925" y="124050"/>
                    <a:pt x="546150" y="118275"/>
                    <a:pt x="538784" y="118275"/>
                  </a:cubicBezTo>
                  <a:cubicBezTo>
                    <a:pt x="531417" y="118275"/>
                    <a:pt x="525642" y="124050"/>
                    <a:pt x="525642" y="131417"/>
                  </a:cubicBezTo>
                  <a:lnTo>
                    <a:pt x="525642" y="183984"/>
                  </a:lnTo>
                  <a:lnTo>
                    <a:pt x="486217" y="183984"/>
                  </a:lnTo>
                  <a:lnTo>
                    <a:pt x="486217" y="131417"/>
                  </a:lnTo>
                  <a:cubicBezTo>
                    <a:pt x="486217" y="124050"/>
                    <a:pt x="480442" y="118275"/>
                    <a:pt x="473075" y="118275"/>
                  </a:cubicBezTo>
                  <a:cubicBezTo>
                    <a:pt x="465709" y="118275"/>
                    <a:pt x="459934" y="124050"/>
                    <a:pt x="459934" y="131417"/>
                  </a:cubicBezTo>
                  <a:lnTo>
                    <a:pt x="459934" y="183984"/>
                  </a:lnTo>
                  <a:lnTo>
                    <a:pt x="420508" y="183984"/>
                  </a:lnTo>
                  <a:lnTo>
                    <a:pt x="420508" y="131417"/>
                  </a:lnTo>
                  <a:cubicBezTo>
                    <a:pt x="420508" y="124050"/>
                    <a:pt x="414733" y="118275"/>
                    <a:pt x="407367" y="118275"/>
                  </a:cubicBezTo>
                  <a:cubicBezTo>
                    <a:pt x="400000" y="118275"/>
                    <a:pt x="394225" y="124050"/>
                    <a:pt x="394225" y="131417"/>
                  </a:cubicBezTo>
                  <a:lnTo>
                    <a:pt x="394225" y="183984"/>
                  </a:lnTo>
                  <a:lnTo>
                    <a:pt x="381083" y="183984"/>
                  </a:lnTo>
                  <a:cubicBezTo>
                    <a:pt x="344815" y="183984"/>
                    <a:pt x="315375" y="213424"/>
                    <a:pt x="315375" y="249692"/>
                  </a:cubicBezTo>
                  <a:lnTo>
                    <a:pt x="315375" y="262834"/>
                  </a:lnTo>
                  <a:lnTo>
                    <a:pt x="236525" y="262834"/>
                  </a:lnTo>
                  <a:lnTo>
                    <a:pt x="236525" y="61499"/>
                  </a:lnTo>
                  <a:cubicBezTo>
                    <a:pt x="236525" y="27592"/>
                    <a:pt x="262012" y="0"/>
                    <a:pt x="293044" y="0"/>
                  </a:cubicBezTo>
                  <a:lnTo>
                    <a:pt x="705699" y="0"/>
                  </a:lnTo>
                  <a:cubicBezTo>
                    <a:pt x="736705" y="0"/>
                    <a:pt x="762218" y="27592"/>
                    <a:pt x="762218" y="61499"/>
                  </a:cubicBezTo>
                  <a:lnTo>
                    <a:pt x="762218" y="486243"/>
                  </a:lnTo>
                  <a:lnTo>
                    <a:pt x="749077" y="486243"/>
                  </a:lnTo>
                  <a:lnTo>
                    <a:pt x="749077" y="473101"/>
                  </a:lnTo>
                  <a:cubicBezTo>
                    <a:pt x="741710" y="473101"/>
                    <a:pt x="735935" y="478876"/>
                    <a:pt x="735935" y="486243"/>
                  </a:cubicBezTo>
                  <a:lnTo>
                    <a:pt x="735935" y="688887"/>
                  </a:lnTo>
                  <a:cubicBezTo>
                    <a:pt x="709651" y="659985"/>
                    <a:pt x="667865" y="614246"/>
                    <a:pt x="647613" y="593737"/>
                  </a:cubicBezTo>
                  <a:cubicBezTo>
                    <a:pt x="627105" y="572716"/>
                    <a:pt x="603722" y="569020"/>
                    <a:pt x="585062" y="583753"/>
                  </a:cubicBezTo>
                  <a:cubicBezTo>
                    <a:pt x="555108" y="607136"/>
                    <a:pt x="546689" y="676284"/>
                    <a:pt x="580339" y="729903"/>
                  </a:cubicBezTo>
                  <a:cubicBezTo>
                    <a:pt x="589810" y="744893"/>
                    <a:pt x="600052" y="755930"/>
                    <a:pt x="609241" y="765914"/>
                  </a:cubicBezTo>
                  <a:cubicBezTo>
                    <a:pt x="623435" y="781161"/>
                    <a:pt x="630801" y="789580"/>
                    <a:pt x="630801" y="801669"/>
                  </a:cubicBezTo>
                  <a:cubicBezTo>
                    <a:pt x="630801" y="854493"/>
                    <a:pt x="647100" y="891556"/>
                    <a:pt x="666813" y="919944"/>
                  </a:cubicBezTo>
                  <a:cubicBezTo>
                    <a:pt x="669970" y="924667"/>
                    <a:pt x="673127" y="928877"/>
                    <a:pt x="676541" y="933086"/>
                  </a:cubicBezTo>
                  <a:close/>
                  <a:moveTo>
                    <a:pt x="446818" y="854210"/>
                  </a:moveTo>
                  <a:cubicBezTo>
                    <a:pt x="446818" y="861577"/>
                    <a:pt x="452593" y="867352"/>
                    <a:pt x="459959" y="867352"/>
                  </a:cubicBezTo>
                  <a:lnTo>
                    <a:pt x="538809" y="867352"/>
                  </a:lnTo>
                  <a:cubicBezTo>
                    <a:pt x="546176" y="867352"/>
                    <a:pt x="551951" y="861577"/>
                    <a:pt x="551951" y="854210"/>
                  </a:cubicBezTo>
                  <a:cubicBezTo>
                    <a:pt x="551951" y="846844"/>
                    <a:pt x="546176" y="841069"/>
                    <a:pt x="538809" y="841069"/>
                  </a:cubicBezTo>
                  <a:lnTo>
                    <a:pt x="459959" y="841069"/>
                  </a:lnTo>
                  <a:cubicBezTo>
                    <a:pt x="452593" y="841069"/>
                    <a:pt x="446818" y="846844"/>
                    <a:pt x="446818" y="854210"/>
                  </a:cubicBezTo>
                  <a:close/>
                  <a:moveTo>
                    <a:pt x="941761" y="680468"/>
                  </a:moveTo>
                  <a:lnTo>
                    <a:pt x="842403" y="531700"/>
                  </a:lnTo>
                  <a:cubicBezTo>
                    <a:pt x="829005" y="511448"/>
                    <a:pt x="806392" y="499359"/>
                    <a:pt x="781956" y="499359"/>
                  </a:cubicBezTo>
                  <a:lnTo>
                    <a:pt x="762244" y="499359"/>
                  </a:lnTo>
                  <a:lnTo>
                    <a:pt x="762244" y="722767"/>
                  </a:lnTo>
                  <a:cubicBezTo>
                    <a:pt x="762244" y="728286"/>
                    <a:pt x="758830" y="733009"/>
                    <a:pt x="753825" y="735114"/>
                  </a:cubicBezTo>
                  <a:cubicBezTo>
                    <a:pt x="752259" y="735627"/>
                    <a:pt x="750668" y="735909"/>
                    <a:pt x="749102" y="735909"/>
                  </a:cubicBezTo>
                  <a:cubicBezTo>
                    <a:pt x="745688" y="735909"/>
                    <a:pt x="741992" y="734600"/>
                    <a:pt x="739374" y="731700"/>
                  </a:cubicBezTo>
                  <a:cubicBezTo>
                    <a:pt x="739374" y="731700"/>
                    <a:pt x="738065" y="730134"/>
                    <a:pt x="735960" y="727747"/>
                  </a:cubicBezTo>
                  <a:cubicBezTo>
                    <a:pt x="720201" y="710396"/>
                    <a:pt x="655262" y="638655"/>
                    <a:pt x="628979" y="612090"/>
                  </a:cubicBezTo>
                  <a:cubicBezTo>
                    <a:pt x="612423" y="595278"/>
                    <a:pt x="604005" y="602105"/>
                    <a:pt x="601386" y="604210"/>
                  </a:cubicBezTo>
                  <a:cubicBezTo>
                    <a:pt x="583240" y="618661"/>
                    <a:pt x="575616" y="672819"/>
                    <a:pt x="602439" y="715657"/>
                  </a:cubicBezTo>
                  <a:cubicBezTo>
                    <a:pt x="610575" y="728799"/>
                    <a:pt x="619790" y="738527"/>
                    <a:pt x="628466" y="747716"/>
                  </a:cubicBezTo>
                  <a:cubicBezTo>
                    <a:pt x="643173" y="763758"/>
                    <a:pt x="657110" y="778466"/>
                    <a:pt x="657110" y="801592"/>
                  </a:cubicBezTo>
                  <a:cubicBezTo>
                    <a:pt x="657110" y="857316"/>
                    <a:pt x="677362" y="892788"/>
                    <a:pt x="699693" y="919867"/>
                  </a:cubicBezTo>
                  <a:cubicBezTo>
                    <a:pt x="703363" y="924333"/>
                    <a:pt x="707059" y="928543"/>
                    <a:pt x="710729" y="932496"/>
                  </a:cubicBezTo>
                  <a:cubicBezTo>
                    <a:pt x="714400" y="936448"/>
                    <a:pt x="717839" y="940119"/>
                    <a:pt x="721253" y="943789"/>
                  </a:cubicBezTo>
                  <a:cubicBezTo>
                    <a:pt x="722049" y="944585"/>
                    <a:pt x="722562" y="945098"/>
                    <a:pt x="723358" y="945894"/>
                  </a:cubicBezTo>
                  <a:cubicBezTo>
                    <a:pt x="744379" y="967455"/>
                    <a:pt x="762270" y="986115"/>
                    <a:pt x="762270" y="1011859"/>
                  </a:cubicBezTo>
                  <a:lnTo>
                    <a:pt x="762270" y="1077567"/>
                  </a:lnTo>
                  <a:lnTo>
                    <a:pt x="972537" y="1077567"/>
                  </a:lnTo>
                  <a:lnTo>
                    <a:pt x="972537" y="782136"/>
                  </a:lnTo>
                  <a:cubicBezTo>
                    <a:pt x="972537" y="745868"/>
                    <a:pt x="961756" y="710652"/>
                    <a:pt x="941787" y="680416"/>
                  </a:cubicBezTo>
                  <a:close/>
                  <a:moveTo>
                    <a:pt x="381109" y="473075"/>
                  </a:moveTo>
                  <a:lnTo>
                    <a:pt x="565093" y="473075"/>
                  </a:lnTo>
                  <a:cubicBezTo>
                    <a:pt x="586910" y="473075"/>
                    <a:pt x="604518" y="455467"/>
                    <a:pt x="604518" y="433650"/>
                  </a:cubicBezTo>
                  <a:lnTo>
                    <a:pt x="604518" y="249667"/>
                  </a:lnTo>
                  <a:cubicBezTo>
                    <a:pt x="604518" y="227849"/>
                    <a:pt x="586910" y="210242"/>
                    <a:pt x="565093" y="210242"/>
                  </a:cubicBezTo>
                  <a:lnTo>
                    <a:pt x="381109" y="210242"/>
                  </a:lnTo>
                  <a:cubicBezTo>
                    <a:pt x="359292" y="210242"/>
                    <a:pt x="341684" y="227849"/>
                    <a:pt x="341684" y="249667"/>
                  </a:cubicBezTo>
                  <a:lnTo>
                    <a:pt x="341684" y="433650"/>
                  </a:lnTo>
                  <a:cubicBezTo>
                    <a:pt x="341684" y="455467"/>
                    <a:pt x="359292" y="473075"/>
                    <a:pt x="381109" y="473075"/>
                  </a:cubicBezTo>
                  <a:close/>
                  <a:moveTo>
                    <a:pt x="236550" y="328517"/>
                  </a:moveTo>
                  <a:lnTo>
                    <a:pt x="236550" y="354800"/>
                  </a:lnTo>
                  <a:lnTo>
                    <a:pt x="105134" y="354800"/>
                  </a:lnTo>
                  <a:cubicBezTo>
                    <a:pt x="104620" y="354800"/>
                    <a:pt x="104081" y="354800"/>
                    <a:pt x="103568" y="354543"/>
                  </a:cubicBezTo>
                  <a:cubicBezTo>
                    <a:pt x="97793" y="377413"/>
                    <a:pt x="77028" y="394225"/>
                    <a:pt x="52567" y="394225"/>
                  </a:cubicBezTo>
                  <a:cubicBezTo>
                    <a:pt x="23665" y="394225"/>
                    <a:pt x="0" y="370560"/>
                    <a:pt x="0" y="341658"/>
                  </a:cubicBezTo>
                  <a:cubicBezTo>
                    <a:pt x="0" y="312757"/>
                    <a:pt x="23665" y="289092"/>
                    <a:pt x="52567" y="289092"/>
                  </a:cubicBezTo>
                  <a:cubicBezTo>
                    <a:pt x="77002" y="289092"/>
                    <a:pt x="97767" y="305904"/>
                    <a:pt x="103568" y="328773"/>
                  </a:cubicBezTo>
                  <a:cubicBezTo>
                    <a:pt x="104081" y="328517"/>
                    <a:pt x="104620" y="328517"/>
                    <a:pt x="105134" y="328517"/>
                  </a:cubicBezTo>
                  <a:lnTo>
                    <a:pt x="236550" y="328517"/>
                  </a:lnTo>
                  <a:close/>
                  <a:moveTo>
                    <a:pt x="78850" y="341658"/>
                  </a:moveTo>
                  <a:cubicBezTo>
                    <a:pt x="78850" y="327208"/>
                    <a:pt x="67018" y="315375"/>
                    <a:pt x="52567" y="315375"/>
                  </a:cubicBezTo>
                  <a:cubicBezTo>
                    <a:pt x="38116" y="315375"/>
                    <a:pt x="26283" y="327208"/>
                    <a:pt x="26283" y="341658"/>
                  </a:cubicBezTo>
                  <a:cubicBezTo>
                    <a:pt x="26283" y="356109"/>
                    <a:pt x="38116" y="367942"/>
                    <a:pt x="52567" y="367942"/>
                  </a:cubicBezTo>
                  <a:cubicBezTo>
                    <a:pt x="67018" y="367942"/>
                    <a:pt x="78850" y="356109"/>
                    <a:pt x="78850" y="341658"/>
                  </a:cubicBezTo>
                  <a:close/>
                  <a:moveTo>
                    <a:pt x="236550" y="262808"/>
                  </a:moveTo>
                  <a:lnTo>
                    <a:pt x="236550" y="289092"/>
                  </a:lnTo>
                  <a:lnTo>
                    <a:pt x="183984" y="289092"/>
                  </a:lnTo>
                  <a:cubicBezTo>
                    <a:pt x="179261" y="289092"/>
                    <a:pt x="174795" y="286473"/>
                    <a:pt x="172690" y="282521"/>
                  </a:cubicBezTo>
                  <a:lnTo>
                    <a:pt x="123794" y="197100"/>
                  </a:lnTo>
                  <a:lnTo>
                    <a:pt x="103285" y="197100"/>
                  </a:lnTo>
                  <a:cubicBezTo>
                    <a:pt x="97510" y="219713"/>
                    <a:pt x="77002" y="236525"/>
                    <a:pt x="52567" y="236525"/>
                  </a:cubicBezTo>
                  <a:cubicBezTo>
                    <a:pt x="23665" y="236525"/>
                    <a:pt x="0" y="212860"/>
                    <a:pt x="0" y="183958"/>
                  </a:cubicBezTo>
                  <a:cubicBezTo>
                    <a:pt x="0" y="155057"/>
                    <a:pt x="23665" y="131391"/>
                    <a:pt x="52567" y="131391"/>
                  </a:cubicBezTo>
                  <a:cubicBezTo>
                    <a:pt x="77002" y="131391"/>
                    <a:pt x="97510" y="148203"/>
                    <a:pt x="103285" y="170816"/>
                  </a:cubicBezTo>
                  <a:lnTo>
                    <a:pt x="131417" y="170816"/>
                  </a:lnTo>
                  <a:cubicBezTo>
                    <a:pt x="136140" y="170816"/>
                    <a:pt x="140606" y="173434"/>
                    <a:pt x="142711" y="177387"/>
                  </a:cubicBezTo>
                  <a:lnTo>
                    <a:pt x="191607" y="262808"/>
                  </a:lnTo>
                  <a:lnTo>
                    <a:pt x="236550" y="262808"/>
                  </a:lnTo>
                  <a:close/>
                  <a:moveTo>
                    <a:pt x="52567" y="210242"/>
                  </a:moveTo>
                  <a:cubicBezTo>
                    <a:pt x="62551" y="210242"/>
                    <a:pt x="71227" y="204723"/>
                    <a:pt x="75436" y="196561"/>
                  </a:cubicBezTo>
                  <a:cubicBezTo>
                    <a:pt x="77798" y="192890"/>
                    <a:pt x="78850" y="188424"/>
                    <a:pt x="78850" y="183932"/>
                  </a:cubicBezTo>
                  <a:cubicBezTo>
                    <a:pt x="78850" y="179441"/>
                    <a:pt x="77798" y="175000"/>
                    <a:pt x="75436" y="171304"/>
                  </a:cubicBezTo>
                  <a:cubicBezTo>
                    <a:pt x="71227" y="163167"/>
                    <a:pt x="62551" y="157649"/>
                    <a:pt x="52567" y="157649"/>
                  </a:cubicBezTo>
                  <a:cubicBezTo>
                    <a:pt x="38116" y="157649"/>
                    <a:pt x="26283" y="169482"/>
                    <a:pt x="26283" y="183932"/>
                  </a:cubicBezTo>
                  <a:cubicBezTo>
                    <a:pt x="26283" y="198383"/>
                    <a:pt x="38116" y="210216"/>
                    <a:pt x="52567" y="210216"/>
                  </a:cubicBezTo>
                  <a:close/>
                  <a:moveTo>
                    <a:pt x="236550" y="394225"/>
                  </a:moveTo>
                  <a:lnTo>
                    <a:pt x="236550" y="420508"/>
                  </a:lnTo>
                  <a:lnTo>
                    <a:pt x="191607" y="420508"/>
                  </a:lnTo>
                  <a:lnTo>
                    <a:pt x="142711" y="505930"/>
                  </a:lnTo>
                  <a:cubicBezTo>
                    <a:pt x="140606" y="509882"/>
                    <a:pt x="136140" y="512500"/>
                    <a:pt x="131417" y="512500"/>
                  </a:cubicBezTo>
                  <a:lnTo>
                    <a:pt x="103285" y="512500"/>
                  </a:lnTo>
                  <a:cubicBezTo>
                    <a:pt x="97510" y="535113"/>
                    <a:pt x="77002" y="551926"/>
                    <a:pt x="52567" y="551926"/>
                  </a:cubicBezTo>
                  <a:cubicBezTo>
                    <a:pt x="23665" y="551926"/>
                    <a:pt x="0" y="528260"/>
                    <a:pt x="0" y="499359"/>
                  </a:cubicBezTo>
                  <a:cubicBezTo>
                    <a:pt x="0" y="470457"/>
                    <a:pt x="23665" y="446792"/>
                    <a:pt x="52567" y="446792"/>
                  </a:cubicBezTo>
                  <a:cubicBezTo>
                    <a:pt x="77002" y="446792"/>
                    <a:pt x="97510" y="463604"/>
                    <a:pt x="103285" y="486217"/>
                  </a:cubicBezTo>
                  <a:lnTo>
                    <a:pt x="123794" y="486217"/>
                  </a:lnTo>
                  <a:lnTo>
                    <a:pt x="172690" y="400796"/>
                  </a:lnTo>
                  <a:cubicBezTo>
                    <a:pt x="174795" y="396843"/>
                    <a:pt x="179261" y="394225"/>
                    <a:pt x="183984" y="394225"/>
                  </a:cubicBezTo>
                  <a:lnTo>
                    <a:pt x="236550" y="394225"/>
                  </a:lnTo>
                  <a:close/>
                  <a:moveTo>
                    <a:pt x="52567" y="525642"/>
                  </a:moveTo>
                  <a:cubicBezTo>
                    <a:pt x="62551" y="525642"/>
                    <a:pt x="71227" y="520124"/>
                    <a:pt x="75436" y="511961"/>
                  </a:cubicBezTo>
                  <a:cubicBezTo>
                    <a:pt x="77798" y="508291"/>
                    <a:pt x="78850" y="503825"/>
                    <a:pt x="78850" y="499333"/>
                  </a:cubicBezTo>
                  <a:cubicBezTo>
                    <a:pt x="78850" y="494841"/>
                    <a:pt x="77798" y="490401"/>
                    <a:pt x="75436" y="486705"/>
                  </a:cubicBezTo>
                  <a:cubicBezTo>
                    <a:pt x="71227" y="478568"/>
                    <a:pt x="62551" y="473050"/>
                    <a:pt x="52567" y="473050"/>
                  </a:cubicBezTo>
                  <a:cubicBezTo>
                    <a:pt x="38116" y="473050"/>
                    <a:pt x="26283" y="484882"/>
                    <a:pt x="26283" y="499333"/>
                  </a:cubicBezTo>
                  <a:cubicBezTo>
                    <a:pt x="26283" y="513784"/>
                    <a:pt x="38116" y="525617"/>
                    <a:pt x="52567" y="525617"/>
                  </a:cubicBezTo>
                  <a:close/>
                </a:path>
              </a:pathLst>
            </a:custGeom>
            <a:solidFill>
              <a:schemeClr val="bg1"/>
            </a:solidFill>
            <a:ln w="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F8349A31-BC63-AFB3-4E50-B052A56CD213}"/>
                </a:ext>
              </a:extLst>
            </p:cNvPr>
            <p:cNvSpPr/>
            <p:nvPr/>
          </p:nvSpPr>
          <p:spPr>
            <a:xfrm>
              <a:off x="3913897" y="4056144"/>
              <a:ext cx="250084" cy="358241"/>
            </a:xfrm>
            <a:custGeom>
              <a:avLst/>
              <a:gdLst>
                <a:gd name="connsiteX0" fmla="*/ 394277 w 688091"/>
                <a:gd name="connsiteY0" fmla="*/ 446843 h 985678"/>
                <a:gd name="connsiteX1" fmla="*/ 394277 w 688091"/>
                <a:gd name="connsiteY1" fmla="*/ 315426 h 985678"/>
                <a:gd name="connsiteX2" fmla="*/ 328568 w 688091"/>
                <a:gd name="connsiteY2" fmla="*/ 249718 h 985678"/>
                <a:gd name="connsiteX3" fmla="*/ 262859 w 688091"/>
                <a:gd name="connsiteY3" fmla="*/ 315426 h 985678"/>
                <a:gd name="connsiteX4" fmla="*/ 262859 w 688091"/>
                <a:gd name="connsiteY4" fmla="*/ 473127 h 985678"/>
                <a:gd name="connsiteX5" fmla="*/ 157726 w 688091"/>
                <a:gd name="connsiteY5" fmla="*/ 315426 h 985678"/>
                <a:gd name="connsiteX6" fmla="*/ 328568 w 688091"/>
                <a:gd name="connsiteY6" fmla="*/ 144584 h 985678"/>
                <a:gd name="connsiteX7" fmla="*/ 499410 w 688091"/>
                <a:gd name="connsiteY7" fmla="*/ 315426 h 985678"/>
                <a:gd name="connsiteX8" fmla="*/ 450000 w 688091"/>
                <a:gd name="connsiteY8" fmla="*/ 435806 h 985678"/>
                <a:gd name="connsiteX9" fmla="*/ 433701 w 688091"/>
                <a:gd name="connsiteY9" fmla="*/ 433702 h 985678"/>
                <a:gd name="connsiteX10" fmla="*/ 394277 w 688091"/>
                <a:gd name="connsiteY10" fmla="*/ 446843 h 985678"/>
                <a:gd name="connsiteX11" fmla="*/ 174795 w 688091"/>
                <a:gd name="connsiteY11" fmla="*/ 560396 h 985678"/>
                <a:gd name="connsiteX12" fmla="*/ 161396 w 688091"/>
                <a:gd name="connsiteY12" fmla="*/ 582726 h 985678"/>
                <a:gd name="connsiteX13" fmla="*/ 13142 w 688091"/>
                <a:gd name="connsiteY13" fmla="*/ 315426 h 985678"/>
                <a:gd name="connsiteX14" fmla="*/ 23665 w 688091"/>
                <a:gd name="connsiteY14" fmla="*/ 234471 h 985678"/>
                <a:gd name="connsiteX15" fmla="*/ 0 w 688091"/>
                <a:gd name="connsiteY15" fmla="*/ 184009 h 985678"/>
                <a:gd name="connsiteX16" fmla="*/ 65709 w 688091"/>
                <a:gd name="connsiteY16" fmla="*/ 118301 h 985678"/>
                <a:gd name="connsiteX17" fmla="*/ 131417 w 688091"/>
                <a:gd name="connsiteY17" fmla="*/ 184009 h 985678"/>
                <a:gd name="connsiteX18" fmla="*/ 65709 w 688091"/>
                <a:gd name="connsiteY18" fmla="*/ 249718 h 985678"/>
                <a:gd name="connsiteX19" fmla="*/ 47562 w 688091"/>
                <a:gd name="connsiteY19" fmla="*/ 247100 h 985678"/>
                <a:gd name="connsiteX20" fmla="*/ 39425 w 688091"/>
                <a:gd name="connsiteY20" fmla="*/ 315452 h 985678"/>
                <a:gd name="connsiteX21" fmla="*/ 174795 w 688091"/>
                <a:gd name="connsiteY21" fmla="*/ 560421 h 985678"/>
                <a:gd name="connsiteX22" fmla="*/ 26283 w 688091"/>
                <a:gd name="connsiteY22" fmla="*/ 184009 h 985678"/>
                <a:gd name="connsiteX23" fmla="*/ 32854 w 688091"/>
                <a:gd name="connsiteY23" fmla="*/ 205570 h 985678"/>
                <a:gd name="connsiteX24" fmla="*/ 55185 w 688091"/>
                <a:gd name="connsiteY24" fmla="*/ 221869 h 985678"/>
                <a:gd name="connsiteX25" fmla="*/ 65709 w 688091"/>
                <a:gd name="connsiteY25" fmla="*/ 223434 h 985678"/>
                <a:gd name="connsiteX26" fmla="*/ 105133 w 688091"/>
                <a:gd name="connsiteY26" fmla="*/ 184009 h 985678"/>
                <a:gd name="connsiteX27" fmla="*/ 65709 w 688091"/>
                <a:gd name="connsiteY27" fmla="*/ 144584 h 985678"/>
                <a:gd name="connsiteX28" fmla="*/ 26283 w 688091"/>
                <a:gd name="connsiteY28" fmla="*/ 184009 h 985678"/>
                <a:gd name="connsiteX29" fmla="*/ 134035 w 688091"/>
                <a:gd name="connsiteY29" fmla="*/ 83599 h 985678"/>
                <a:gd name="connsiteX30" fmla="*/ 136653 w 688091"/>
                <a:gd name="connsiteY30" fmla="*/ 65195 h 985678"/>
                <a:gd name="connsiteX31" fmla="*/ 328517 w 688091"/>
                <a:gd name="connsiteY31" fmla="*/ 0 h 985678"/>
                <a:gd name="connsiteX32" fmla="*/ 643661 w 688091"/>
                <a:gd name="connsiteY32" fmla="*/ 305955 h 985678"/>
                <a:gd name="connsiteX33" fmla="*/ 688091 w 688091"/>
                <a:gd name="connsiteY33" fmla="*/ 367993 h 985678"/>
                <a:gd name="connsiteX34" fmla="*/ 622382 w 688091"/>
                <a:gd name="connsiteY34" fmla="*/ 433702 h 985678"/>
                <a:gd name="connsiteX35" fmla="*/ 556674 w 688091"/>
                <a:gd name="connsiteY35" fmla="*/ 367993 h 985678"/>
                <a:gd name="connsiteX36" fmla="*/ 617403 w 688091"/>
                <a:gd name="connsiteY36" fmla="*/ 302541 h 985678"/>
                <a:gd name="connsiteX37" fmla="*/ 328542 w 688091"/>
                <a:gd name="connsiteY37" fmla="*/ 26283 h 985678"/>
                <a:gd name="connsiteX38" fmla="*/ 152438 w 688091"/>
                <a:gd name="connsiteY38" fmla="*/ 85960 h 985678"/>
                <a:gd name="connsiteX39" fmla="*/ 134035 w 688091"/>
                <a:gd name="connsiteY39" fmla="*/ 83599 h 985678"/>
                <a:gd name="connsiteX40" fmla="*/ 661833 w 688091"/>
                <a:gd name="connsiteY40" fmla="*/ 367993 h 985678"/>
                <a:gd name="connsiteX41" fmla="*/ 643429 w 688091"/>
                <a:gd name="connsiteY41" fmla="*/ 334882 h 985678"/>
                <a:gd name="connsiteX42" fmla="*/ 622408 w 688091"/>
                <a:gd name="connsiteY42" fmla="*/ 328568 h 985678"/>
                <a:gd name="connsiteX43" fmla="*/ 617403 w 688091"/>
                <a:gd name="connsiteY43" fmla="*/ 329081 h 985678"/>
                <a:gd name="connsiteX44" fmla="*/ 582983 w 688091"/>
                <a:gd name="connsiteY44" fmla="*/ 367993 h 985678"/>
                <a:gd name="connsiteX45" fmla="*/ 622408 w 688091"/>
                <a:gd name="connsiteY45" fmla="*/ 407418 h 985678"/>
                <a:gd name="connsiteX46" fmla="*/ 661833 w 688091"/>
                <a:gd name="connsiteY46" fmla="*/ 367993 h 985678"/>
                <a:gd name="connsiteX47" fmla="*/ 643968 w 688091"/>
                <a:gd name="connsiteY47" fmla="*/ 538835 h 985678"/>
                <a:gd name="connsiteX48" fmla="*/ 604544 w 688091"/>
                <a:gd name="connsiteY48" fmla="*/ 578260 h 985678"/>
                <a:gd name="connsiteX49" fmla="*/ 604544 w 688091"/>
                <a:gd name="connsiteY49" fmla="*/ 657110 h 985678"/>
                <a:gd name="connsiteX50" fmla="*/ 591402 w 688091"/>
                <a:gd name="connsiteY50" fmla="*/ 670252 h 985678"/>
                <a:gd name="connsiteX51" fmla="*/ 578260 w 688091"/>
                <a:gd name="connsiteY51" fmla="*/ 657110 h 985678"/>
                <a:gd name="connsiteX52" fmla="*/ 578260 w 688091"/>
                <a:gd name="connsiteY52" fmla="*/ 525693 h 985678"/>
                <a:gd name="connsiteX53" fmla="*/ 575360 w 688091"/>
                <a:gd name="connsiteY53" fmla="*/ 511499 h 985678"/>
                <a:gd name="connsiteX54" fmla="*/ 557752 w 688091"/>
                <a:gd name="connsiteY54" fmla="*/ 491530 h 985678"/>
                <a:gd name="connsiteX55" fmla="*/ 538835 w 688091"/>
                <a:gd name="connsiteY55" fmla="*/ 486268 h 985678"/>
                <a:gd name="connsiteX56" fmla="*/ 499410 w 688091"/>
                <a:gd name="connsiteY56" fmla="*/ 525693 h 985678"/>
                <a:gd name="connsiteX57" fmla="*/ 499410 w 688091"/>
                <a:gd name="connsiteY57" fmla="*/ 657110 h 985678"/>
                <a:gd name="connsiteX58" fmla="*/ 486268 w 688091"/>
                <a:gd name="connsiteY58" fmla="*/ 670252 h 985678"/>
                <a:gd name="connsiteX59" fmla="*/ 473127 w 688091"/>
                <a:gd name="connsiteY59" fmla="*/ 657110 h 985678"/>
                <a:gd name="connsiteX60" fmla="*/ 473127 w 688091"/>
                <a:gd name="connsiteY60" fmla="*/ 499410 h 985678"/>
                <a:gd name="connsiteX61" fmla="*/ 433701 w 688091"/>
                <a:gd name="connsiteY61" fmla="*/ 459985 h 985678"/>
                <a:gd name="connsiteX62" fmla="*/ 394277 w 688091"/>
                <a:gd name="connsiteY62" fmla="*/ 499410 h 985678"/>
                <a:gd name="connsiteX63" fmla="*/ 394277 w 688091"/>
                <a:gd name="connsiteY63" fmla="*/ 657110 h 985678"/>
                <a:gd name="connsiteX64" fmla="*/ 381135 w 688091"/>
                <a:gd name="connsiteY64" fmla="*/ 670252 h 985678"/>
                <a:gd name="connsiteX65" fmla="*/ 367993 w 688091"/>
                <a:gd name="connsiteY65" fmla="*/ 657110 h 985678"/>
                <a:gd name="connsiteX66" fmla="*/ 367993 w 688091"/>
                <a:gd name="connsiteY66" fmla="*/ 315426 h 985678"/>
                <a:gd name="connsiteX67" fmla="*/ 328568 w 688091"/>
                <a:gd name="connsiteY67" fmla="*/ 276001 h 985678"/>
                <a:gd name="connsiteX68" fmla="*/ 289143 w 688091"/>
                <a:gd name="connsiteY68" fmla="*/ 315426 h 985678"/>
                <a:gd name="connsiteX69" fmla="*/ 289143 w 688091"/>
                <a:gd name="connsiteY69" fmla="*/ 735961 h 985678"/>
                <a:gd name="connsiteX70" fmla="*/ 276001 w 688091"/>
                <a:gd name="connsiteY70" fmla="*/ 749102 h 985678"/>
                <a:gd name="connsiteX71" fmla="*/ 262859 w 688091"/>
                <a:gd name="connsiteY71" fmla="*/ 735961 h 985678"/>
                <a:gd name="connsiteX72" fmla="*/ 262859 w 688091"/>
                <a:gd name="connsiteY72" fmla="*/ 604544 h 985678"/>
                <a:gd name="connsiteX73" fmla="*/ 262064 w 688091"/>
                <a:gd name="connsiteY73" fmla="*/ 596664 h 985678"/>
                <a:gd name="connsiteX74" fmla="*/ 223435 w 688091"/>
                <a:gd name="connsiteY74" fmla="*/ 565119 h 985678"/>
                <a:gd name="connsiteX75" fmla="*/ 198999 w 688091"/>
                <a:gd name="connsiteY75" fmla="*/ 573794 h 985678"/>
                <a:gd name="connsiteX76" fmla="*/ 185062 w 688091"/>
                <a:gd name="connsiteY76" fmla="*/ 596125 h 985678"/>
                <a:gd name="connsiteX77" fmla="*/ 184009 w 688091"/>
                <a:gd name="connsiteY77" fmla="*/ 604544 h 985678"/>
                <a:gd name="connsiteX78" fmla="*/ 184009 w 688091"/>
                <a:gd name="connsiteY78" fmla="*/ 799847 h 985678"/>
                <a:gd name="connsiteX79" fmla="*/ 196098 w 688091"/>
                <a:gd name="connsiteY79" fmla="*/ 838219 h 985678"/>
                <a:gd name="connsiteX80" fmla="*/ 283624 w 688091"/>
                <a:gd name="connsiteY80" fmla="*/ 985678 h 985678"/>
                <a:gd name="connsiteX81" fmla="*/ 583779 w 688091"/>
                <a:gd name="connsiteY81" fmla="*/ 985678 h 985678"/>
                <a:gd name="connsiteX82" fmla="*/ 670509 w 688091"/>
                <a:gd name="connsiteY82" fmla="*/ 839015 h 985678"/>
                <a:gd name="connsiteX83" fmla="*/ 683394 w 688091"/>
                <a:gd name="connsiteY83" fmla="*/ 799847 h 985678"/>
                <a:gd name="connsiteX84" fmla="*/ 683394 w 688091"/>
                <a:gd name="connsiteY84" fmla="*/ 578260 h 985678"/>
                <a:gd name="connsiteX85" fmla="*/ 643968 w 688091"/>
                <a:gd name="connsiteY85" fmla="*/ 538835 h 985678"/>
                <a:gd name="connsiteX86" fmla="*/ 276001 w 688091"/>
                <a:gd name="connsiteY86" fmla="*/ 599821 h 985678"/>
                <a:gd name="connsiteX87" fmla="*/ 275744 w 688091"/>
                <a:gd name="connsiteY87" fmla="*/ 599821 h 985678"/>
                <a:gd name="connsiteX88" fmla="*/ 276001 w 688091"/>
                <a:gd name="connsiteY88" fmla="*/ 604544 h 985678"/>
                <a:gd name="connsiteX89" fmla="*/ 276001 w 688091"/>
                <a:gd name="connsiteY89" fmla="*/ 599821 h 98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091" h="985678">
                  <a:moveTo>
                    <a:pt x="394277" y="446843"/>
                  </a:moveTo>
                  <a:lnTo>
                    <a:pt x="394277" y="315426"/>
                  </a:lnTo>
                  <a:cubicBezTo>
                    <a:pt x="394277" y="279158"/>
                    <a:pt x="364836" y="249718"/>
                    <a:pt x="328568" y="249718"/>
                  </a:cubicBezTo>
                  <a:cubicBezTo>
                    <a:pt x="292300" y="249718"/>
                    <a:pt x="262859" y="279158"/>
                    <a:pt x="262859" y="315426"/>
                  </a:cubicBezTo>
                  <a:lnTo>
                    <a:pt x="262859" y="473127"/>
                  </a:lnTo>
                  <a:cubicBezTo>
                    <a:pt x="201104" y="447357"/>
                    <a:pt x="157726" y="386397"/>
                    <a:pt x="157726" y="315426"/>
                  </a:cubicBezTo>
                  <a:cubicBezTo>
                    <a:pt x="157726" y="221073"/>
                    <a:pt x="234215" y="144584"/>
                    <a:pt x="328568" y="144584"/>
                  </a:cubicBezTo>
                  <a:cubicBezTo>
                    <a:pt x="422921" y="144584"/>
                    <a:pt x="499410" y="221073"/>
                    <a:pt x="499410" y="315426"/>
                  </a:cubicBezTo>
                  <a:cubicBezTo>
                    <a:pt x="499410" y="362475"/>
                    <a:pt x="480493" y="404800"/>
                    <a:pt x="450000" y="435806"/>
                  </a:cubicBezTo>
                  <a:cubicBezTo>
                    <a:pt x="444739" y="434497"/>
                    <a:pt x="439220" y="433702"/>
                    <a:pt x="433701" y="433702"/>
                  </a:cubicBezTo>
                  <a:cubicBezTo>
                    <a:pt x="418994" y="433702"/>
                    <a:pt x="405313" y="438707"/>
                    <a:pt x="394277" y="446843"/>
                  </a:cubicBezTo>
                  <a:close/>
                  <a:moveTo>
                    <a:pt x="174795" y="560396"/>
                  </a:moveTo>
                  <a:cubicBezTo>
                    <a:pt x="169020" y="566710"/>
                    <a:pt x="164271" y="574333"/>
                    <a:pt x="161396" y="582726"/>
                  </a:cubicBezTo>
                  <a:cubicBezTo>
                    <a:pt x="72305" y="527002"/>
                    <a:pt x="13142" y="427901"/>
                    <a:pt x="13142" y="315426"/>
                  </a:cubicBezTo>
                  <a:cubicBezTo>
                    <a:pt x="13142" y="287577"/>
                    <a:pt x="16555" y="260755"/>
                    <a:pt x="23665" y="234471"/>
                  </a:cubicBezTo>
                  <a:cubicBezTo>
                    <a:pt x="9215" y="222382"/>
                    <a:pt x="0" y="204235"/>
                    <a:pt x="0" y="184009"/>
                  </a:cubicBezTo>
                  <a:cubicBezTo>
                    <a:pt x="0" y="147741"/>
                    <a:pt x="29440" y="118301"/>
                    <a:pt x="65709" y="118301"/>
                  </a:cubicBezTo>
                  <a:cubicBezTo>
                    <a:pt x="101976" y="118301"/>
                    <a:pt x="131417" y="147741"/>
                    <a:pt x="131417" y="184009"/>
                  </a:cubicBezTo>
                  <a:cubicBezTo>
                    <a:pt x="131417" y="220277"/>
                    <a:pt x="101976" y="249718"/>
                    <a:pt x="65709" y="249718"/>
                  </a:cubicBezTo>
                  <a:cubicBezTo>
                    <a:pt x="59394" y="249718"/>
                    <a:pt x="53363" y="248922"/>
                    <a:pt x="47562" y="247100"/>
                  </a:cubicBezTo>
                  <a:cubicBezTo>
                    <a:pt x="42043" y="269174"/>
                    <a:pt x="39425" y="292043"/>
                    <a:pt x="39425" y="315452"/>
                  </a:cubicBezTo>
                  <a:cubicBezTo>
                    <a:pt x="39425" y="418481"/>
                    <a:pt x="93557" y="508907"/>
                    <a:pt x="174795" y="560421"/>
                  </a:cubicBezTo>
                  <a:close/>
                  <a:moveTo>
                    <a:pt x="26283" y="184009"/>
                  </a:moveTo>
                  <a:cubicBezTo>
                    <a:pt x="26283" y="191889"/>
                    <a:pt x="28645" y="199512"/>
                    <a:pt x="32854" y="205570"/>
                  </a:cubicBezTo>
                  <a:cubicBezTo>
                    <a:pt x="37859" y="213450"/>
                    <a:pt x="45739" y="219507"/>
                    <a:pt x="55185" y="221869"/>
                  </a:cubicBezTo>
                  <a:cubicBezTo>
                    <a:pt x="58599" y="222921"/>
                    <a:pt x="62012" y="223434"/>
                    <a:pt x="65709" y="223434"/>
                  </a:cubicBezTo>
                  <a:cubicBezTo>
                    <a:pt x="87526" y="223434"/>
                    <a:pt x="105133" y="205827"/>
                    <a:pt x="105133" y="184009"/>
                  </a:cubicBezTo>
                  <a:cubicBezTo>
                    <a:pt x="105133" y="162192"/>
                    <a:pt x="87526" y="144584"/>
                    <a:pt x="65709" y="144584"/>
                  </a:cubicBezTo>
                  <a:cubicBezTo>
                    <a:pt x="43891" y="144584"/>
                    <a:pt x="26283" y="162192"/>
                    <a:pt x="26283" y="184009"/>
                  </a:cubicBezTo>
                  <a:close/>
                  <a:moveTo>
                    <a:pt x="134035" y="83599"/>
                  </a:moveTo>
                  <a:cubicBezTo>
                    <a:pt x="129826" y="77823"/>
                    <a:pt x="130878" y="69661"/>
                    <a:pt x="136653" y="65195"/>
                  </a:cubicBezTo>
                  <a:cubicBezTo>
                    <a:pt x="192121" y="22613"/>
                    <a:pt x="258342" y="0"/>
                    <a:pt x="328517" y="0"/>
                  </a:cubicBezTo>
                  <a:cubicBezTo>
                    <a:pt x="499359" y="0"/>
                    <a:pt x="638681" y="136422"/>
                    <a:pt x="643661" y="305955"/>
                  </a:cubicBezTo>
                  <a:cubicBezTo>
                    <a:pt x="669431" y="314631"/>
                    <a:pt x="688091" y="339066"/>
                    <a:pt x="688091" y="367993"/>
                  </a:cubicBezTo>
                  <a:cubicBezTo>
                    <a:pt x="688091" y="404261"/>
                    <a:pt x="658651" y="433702"/>
                    <a:pt x="622382" y="433702"/>
                  </a:cubicBezTo>
                  <a:cubicBezTo>
                    <a:pt x="586115" y="433702"/>
                    <a:pt x="556674" y="404261"/>
                    <a:pt x="556674" y="367993"/>
                  </a:cubicBezTo>
                  <a:cubicBezTo>
                    <a:pt x="556674" y="331725"/>
                    <a:pt x="583497" y="304903"/>
                    <a:pt x="617403" y="302541"/>
                  </a:cubicBezTo>
                  <a:cubicBezTo>
                    <a:pt x="610575" y="149050"/>
                    <a:pt x="483881" y="26283"/>
                    <a:pt x="328542" y="26283"/>
                  </a:cubicBezTo>
                  <a:cubicBezTo>
                    <a:pt x="264143" y="26283"/>
                    <a:pt x="203440" y="47048"/>
                    <a:pt x="152438" y="85960"/>
                  </a:cubicBezTo>
                  <a:cubicBezTo>
                    <a:pt x="146663" y="90426"/>
                    <a:pt x="138501" y="89374"/>
                    <a:pt x="134035" y="83599"/>
                  </a:cubicBezTo>
                  <a:close/>
                  <a:moveTo>
                    <a:pt x="661833" y="367993"/>
                  </a:moveTo>
                  <a:cubicBezTo>
                    <a:pt x="661833" y="354056"/>
                    <a:pt x="654467" y="341710"/>
                    <a:pt x="643429" y="334882"/>
                  </a:cubicBezTo>
                  <a:cubicBezTo>
                    <a:pt x="637372" y="330673"/>
                    <a:pt x="630288" y="328568"/>
                    <a:pt x="622408" y="328568"/>
                  </a:cubicBezTo>
                  <a:cubicBezTo>
                    <a:pt x="620560" y="328568"/>
                    <a:pt x="618994" y="328568"/>
                    <a:pt x="617403" y="329081"/>
                  </a:cubicBezTo>
                  <a:cubicBezTo>
                    <a:pt x="597947" y="331443"/>
                    <a:pt x="582983" y="347998"/>
                    <a:pt x="582983" y="367993"/>
                  </a:cubicBezTo>
                  <a:cubicBezTo>
                    <a:pt x="582983" y="389810"/>
                    <a:pt x="600591" y="407418"/>
                    <a:pt x="622408" y="407418"/>
                  </a:cubicBezTo>
                  <a:cubicBezTo>
                    <a:pt x="644225" y="407418"/>
                    <a:pt x="661833" y="389810"/>
                    <a:pt x="661833" y="367993"/>
                  </a:cubicBezTo>
                  <a:close/>
                  <a:moveTo>
                    <a:pt x="643968" y="538835"/>
                  </a:moveTo>
                  <a:cubicBezTo>
                    <a:pt x="622151" y="538835"/>
                    <a:pt x="604544" y="556443"/>
                    <a:pt x="604544" y="578260"/>
                  </a:cubicBezTo>
                  <a:lnTo>
                    <a:pt x="604544" y="657110"/>
                  </a:lnTo>
                  <a:cubicBezTo>
                    <a:pt x="604544" y="664477"/>
                    <a:pt x="598768" y="670252"/>
                    <a:pt x="591402" y="670252"/>
                  </a:cubicBezTo>
                  <a:cubicBezTo>
                    <a:pt x="584035" y="670252"/>
                    <a:pt x="578260" y="664477"/>
                    <a:pt x="578260" y="657110"/>
                  </a:cubicBezTo>
                  <a:lnTo>
                    <a:pt x="578260" y="525693"/>
                  </a:lnTo>
                  <a:cubicBezTo>
                    <a:pt x="578260" y="520688"/>
                    <a:pt x="577208" y="515965"/>
                    <a:pt x="575360" y="511499"/>
                  </a:cubicBezTo>
                  <a:cubicBezTo>
                    <a:pt x="572203" y="502824"/>
                    <a:pt x="565888" y="495457"/>
                    <a:pt x="557752" y="491530"/>
                  </a:cubicBezTo>
                  <a:cubicBezTo>
                    <a:pt x="552233" y="488116"/>
                    <a:pt x="545663" y="486268"/>
                    <a:pt x="538835" y="486268"/>
                  </a:cubicBezTo>
                  <a:cubicBezTo>
                    <a:pt x="517018" y="486268"/>
                    <a:pt x="499410" y="503876"/>
                    <a:pt x="499410" y="525693"/>
                  </a:cubicBezTo>
                  <a:lnTo>
                    <a:pt x="499410" y="657110"/>
                  </a:lnTo>
                  <a:cubicBezTo>
                    <a:pt x="499410" y="664477"/>
                    <a:pt x="493635" y="670252"/>
                    <a:pt x="486268" y="670252"/>
                  </a:cubicBezTo>
                  <a:cubicBezTo>
                    <a:pt x="478902" y="670252"/>
                    <a:pt x="473127" y="664477"/>
                    <a:pt x="473127" y="657110"/>
                  </a:cubicBezTo>
                  <a:lnTo>
                    <a:pt x="473127" y="499410"/>
                  </a:lnTo>
                  <a:cubicBezTo>
                    <a:pt x="473127" y="477593"/>
                    <a:pt x="455519" y="459985"/>
                    <a:pt x="433701" y="459985"/>
                  </a:cubicBezTo>
                  <a:cubicBezTo>
                    <a:pt x="411884" y="459985"/>
                    <a:pt x="394277" y="477593"/>
                    <a:pt x="394277" y="499410"/>
                  </a:cubicBezTo>
                  <a:lnTo>
                    <a:pt x="394277" y="657110"/>
                  </a:lnTo>
                  <a:cubicBezTo>
                    <a:pt x="394277" y="664477"/>
                    <a:pt x="388502" y="670252"/>
                    <a:pt x="381135" y="670252"/>
                  </a:cubicBezTo>
                  <a:cubicBezTo>
                    <a:pt x="373769" y="670252"/>
                    <a:pt x="367993" y="664477"/>
                    <a:pt x="367993" y="657110"/>
                  </a:cubicBezTo>
                  <a:lnTo>
                    <a:pt x="367993" y="315426"/>
                  </a:lnTo>
                  <a:cubicBezTo>
                    <a:pt x="367993" y="293609"/>
                    <a:pt x="350385" y="276001"/>
                    <a:pt x="328568" y="276001"/>
                  </a:cubicBezTo>
                  <a:cubicBezTo>
                    <a:pt x="306751" y="276001"/>
                    <a:pt x="289143" y="293609"/>
                    <a:pt x="289143" y="315426"/>
                  </a:cubicBezTo>
                  <a:lnTo>
                    <a:pt x="289143" y="735961"/>
                  </a:lnTo>
                  <a:cubicBezTo>
                    <a:pt x="289143" y="743327"/>
                    <a:pt x="283368" y="749102"/>
                    <a:pt x="276001" y="749102"/>
                  </a:cubicBezTo>
                  <a:cubicBezTo>
                    <a:pt x="268634" y="749102"/>
                    <a:pt x="262859" y="743327"/>
                    <a:pt x="262859" y="735961"/>
                  </a:cubicBezTo>
                  <a:lnTo>
                    <a:pt x="262859" y="604544"/>
                  </a:lnTo>
                  <a:cubicBezTo>
                    <a:pt x="262859" y="601925"/>
                    <a:pt x="262603" y="599282"/>
                    <a:pt x="262064" y="596664"/>
                  </a:cubicBezTo>
                  <a:cubicBezTo>
                    <a:pt x="258393" y="578517"/>
                    <a:pt x="242608" y="565119"/>
                    <a:pt x="223435" y="565119"/>
                  </a:cubicBezTo>
                  <a:cubicBezTo>
                    <a:pt x="214245" y="565119"/>
                    <a:pt x="205570" y="568276"/>
                    <a:pt x="198999" y="573794"/>
                  </a:cubicBezTo>
                  <a:cubicBezTo>
                    <a:pt x="191889" y="579313"/>
                    <a:pt x="186910" y="586936"/>
                    <a:pt x="185062" y="596125"/>
                  </a:cubicBezTo>
                  <a:cubicBezTo>
                    <a:pt x="184266" y="598743"/>
                    <a:pt x="184009" y="601643"/>
                    <a:pt x="184009" y="604544"/>
                  </a:cubicBezTo>
                  <a:lnTo>
                    <a:pt x="184009" y="799847"/>
                  </a:lnTo>
                  <a:cubicBezTo>
                    <a:pt x="184009" y="813784"/>
                    <a:pt x="188219" y="826926"/>
                    <a:pt x="196098" y="838219"/>
                  </a:cubicBezTo>
                  <a:lnTo>
                    <a:pt x="283624" y="985678"/>
                  </a:lnTo>
                  <a:lnTo>
                    <a:pt x="583779" y="985678"/>
                  </a:lnTo>
                  <a:lnTo>
                    <a:pt x="670509" y="839015"/>
                  </a:lnTo>
                  <a:cubicBezTo>
                    <a:pt x="679185" y="826926"/>
                    <a:pt x="683394" y="813784"/>
                    <a:pt x="683394" y="799847"/>
                  </a:cubicBezTo>
                  <a:lnTo>
                    <a:pt x="683394" y="578260"/>
                  </a:lnTo>
                  <a:cubicBezTo>
                    <a:pt x="683394" y="556443"/>
                    <a:pt x="665786" y="538835"/>
                    <a:pt x="643968" y="538835"/>
                  </a:cubicBezTo>
                  <a:close/>
                  <a:moveTo>
                    <a:pt x="276001" y="599821"/>
                  </a:moveTo>
                  <a:lnTo>
                    <a:pt x="275744" y="599821"/>
                  </a:lnTo>
                  <a:cubicBezTo>
                    <a:pt x="276001" y="601387"/>
                    <a:pt x="276001" y="602978"/>
                    <a:pt x="276001" y="604544"/>
                  </a:cubicBezTo>
                  <a:lnTo>
                    <a:pt x="276001" y="599821"/>
                  </a:lnTo>
                  <a:close/>
                </a:path>
              </a:pathLst>
            </a:custGeom>
            <a:solidFill>
              <a:schemeClr val="bg1"/>
            </a:solidFill>
            <a:ln w="0" cap="flat">
              <a:noFill/>
              <a:prstDash val="solid"/>
              <a:miter/>
            </a:ln>
          </p:spPr>
          <p:txBody>
            <a:bodyPr rtlCol="0" anchor="ctr"/>
            <a:lstStyle/>
            <a:p>
              <a:endParaRPr lang="en-US"/>
            </a:p>
          </p:txBody>
        </p:sp>
        <p:grpSp>
          <p:nvGrpSpPr>
            <p:cNvPr id="93" name="Group 92">
              <a:extLst>
                <a:ext uri="{FF2B5EF4-FFF2-40B4-BE49-F238E27FC236}">
                  <a16:creationId xmlns:a16="http://schemas.microsoft.com/office/drawing/2014/main" id="{C3D27698-AB5A-E677-30D2-B2FA00A28DE5}"/>
                </a:ext>
              </a:extLst>
            </p:cNvPr>
            <p:cNvGrpSpPr/>
            <p:nvPr/>
          </p:nvGrpSpPr>
          <p:grpSpPr>
            <a:xfrm>
              <a:off x="4516758" y="2591560"/>
              <a:ext cx="335476" cy="374437"/>
              <a:chOff x="11528579" y="5712848"/>
              <a:chExt cx="465884" cy="519991"/>
            </a:xfrm>
            <a:solidFill>
              <a:schemeClr val="bg1"/>
            </a:solidFill>
          </p:grpSpPr>
          <p:grpSp>
            <p:nvGrpSpPr>
              <p:cNvPr id="98" name="Graphic 2">
                <a:extLst>
                  <a:ext uri="{FF2B5EF4-FFF2-40B4-BE49-F238E27FC236}">
                    <a16:creationId xmlns:a16="http://schemas.microsoft.com/office/drawing/2014/main" id="{F83DADC9-12A2-81FE-78C2-3278539CBDB6}"/>
                  </a:ext>
                </a:extLst>
              </p:cNvPr>
              <p:cNvGrpSpPr/>
              <p:nvPr/>
            </p:nvGrpSpPr>
            <p:grpSpPr>
              <a:xfrm>
                <a:off x="11601414" y="5846643"/>
                <a:ext cx="393049" cy="386196"/>
                <a:chOff x="4421483" y="6213177"/>
                <a:chExt cx="393049" cy="386196"/>
              </a:xfrm>
              <a:grpFill/>
            </p:grpSpPr>
            <p:sp>
              <p:nvSpPr>
                <p:cNvPr id="110" name="Freeform: Shape 109">
                  <a:extLst>
                    <a:ext uri="{FF2B5EF4-FFF2-40B4-BE49-F238E27FC236}">
                      <a16:creationId xmlns:a16="http://schemas.microsoft.com/office/drawing/2014/main" id="{593EEA2F-0EE1-0A1F-2524-2CFF433D4492}"/>
                    </a:ext>
                  </a:extLst>
                </p:cNvPr>
                <p:cNvSpPr/>
                <p:nvPr/>
              </p:nvSpPr>
              <p:spPr>
                <a:xfrm>
                  <a:off x="4421483" y="6213177"/>
                  <a:ext cx="393049" cy="306857"/>
                </a:xfrm>
                <a:custGeom>
                  <a:avLst/>
                  <a:gdLst>
                    <a:gd name="connsiteX0" fmla="*/ 355699 w 393049"/>
                    <a:gd name="connsiteY0" fmla="*/ 0 h 306857"/>
                    <a:gd name="connsiteX1" fmla="*/ 330101 w 393049"/>
                    <a:gd name="connsiteY1" fmla="*/ 0 h 306857"/>
                    <a:gd name="connsiteX2" fmla="*/ 330101 w 393049"/>
                    <a:gd name="connsiteY2" fmla="*/ 37455 h 306857"/>
                    <a:gd name="connsiteX3" fmla="*/ 352543 w 393049"/>
                    <a:gd name="connsiteY3" fmla="*/ 37455 h 306857"/>
                    <a:gd name="connsiteX4" fmla="*/ 352543 w 393049"/>
                    <a:gd name="connsiteY4" fmla="*/ 165931 h 306857"/>
                    <a:gd name="connsiteX5" fmla="*/ 352543 w 393049"/>
                    <a:gd name="connsiteY5" fmla="*/ 165931 h 306857"/>
                    <a:gd name="connsiteX6" fmla="*/ 352543 w 393049"/>
                    <a:gd name="connsiteY6" fmla="*/ 228094 h 306857"/>
                    <a:gd name="connsiteX7" fmla="*/ 40489 w 393049"/>
                    <a:gd name="connsiteY7" fmla="*/ 228094 h 306857"/>
                    <a:gd name="connsiteX8" fmla="*/ 40489 w 393049"/>
                    <a:gd name="connsiteY8" fmla="*/ 202218 h 306857"/>
                    <a:gd name="connsiteX9" fmla="*/ 0 w 393049"/>
                    <a:gd name="connsiteY9" fmla="*/ 199463 h 306857"/>
                    <a:gd name="connsiteX10" fmla="*/ 0 w 393049"/>
                    <a:gd name="connsiteY10" fmla="*/ 269542 h 306857"/>
                    <a:gd name="connsiteX11" fmla="*/ 768 w 393049"/>
                    <a:gd name="connsiteY11" fmla="*/ 277058 h 306857"/>
                    <a:gd name="connsiteX12" fmla="*/ 1674 w 393049"/>
                    <a:gd name="connsiteY12" fmla="*/ 280632 h 306857"/>
                    <a:gd name="connsiteX13" fmla="*/ 2930 w 393049"/>
                    <a:gd name="connsiteY13" fmla="*/ 284068 h 306857"/>
                    <a:gd name="connsiteX14" fmla="*/ 37316 w 393049"/>
                    <a:gd name="connsiteY14" fmla="*/ 306858 h 306857"/>
                    <a:gd name="connsiteX15" fmla="*/ 355734 w 393049"/>
                    <a:gd name="connsiteY15" fmla="*/ 306858 h 306857"/>
                    <a:gd name="connsiteX16" fmla="*/ 376588 w 393049"/>
                    <a:gd name="connsiteY16" fmla="*/ 300476 h 306857"/>
                    <a:gd name="connsiteX17" fmla="*/ 390120 w 393049"/>
                    <a:gd name="connsiteY17" fmla="*/ 284068 h 306857"/>
                    <a:gd name="connsiteX18" fmla="*/ 391375 w 393049"/>
                    <a:gd name="connsiteY18" fmla="*/ 280632 h 306857"/>
                    <a:gd name="connsiteX19" fmla="*/ 392282 w 393049"/>
                    <a:gd name="connsiteY19" fmla="*/ 277058 h 306857"/>
                    <a:gd name="connsiteX20" fmla="*/ 393049 w 393049"/>
                    <a:gd name="connsiteY20" fmla="*/ 269542 h 306857"/>
                    <a:gd name="connsiteX21" fmla="*/ 393049 w 393049"/>
                    <a:gd name="connsiteY21" fmla="*/ 37298 h 306857"/>
                    <a:gd name="connsiteX22" fmla="*/ 355734 w 393049"/>
                    <a:gd name="connsiteY22" fmla="*/ 0 h 30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049" h="306857">
                      <a:moveTo>
                        <a:pt x="355699" y="0"/>
                      </a:moveTo>
                      <a:lnTo>
                        <a:pt x="330101" y="0"/>
                      </a:lnTo>
                      <a:lnTo>
                        <a:pt x="330101" y="37455"/>
                      </a:lnTo>
                      <a:lnTo>
                        <a:pt x="352543" y="37455"/>
                      </a:lnTo>
                      <a:lnTo>
                        <a:pt x="352543" y="165931"/>
                      </a:lnTo>
                      <a:lnTo>
                        <a:pt x="352543" y="165931"/>
                      </a:lnTo>
                      <a:lnTo>
                        <a:pt x="352543" y="228094"/>
                      </a:lnTo>
                      <a:lnTo>
                        <a:pt x="40489" y="228094"/>
                      </a:lnTo>
                      <a:lnTo>
                        <a:pt x="40489" y="202218"/>
                      </a:lnTo>
                      <a:cubicBezTo>
                        <a:pt x="36775" y="201520"/>
                        <a:pt x="889" y="198922"/>
                        <a:pt x="0" y="199463"/>
                      </a:cubicBezTo>
                      <a:lnTo>
                        <a:pt x="0" y="269542"/>
                      </a:lnTo>
                      <a:cubicBezTo>
                        <a:pt x="0" y="272106"/>
                        <a:pt x="262" y="274634"/>
                        <a:pt x="768" y="277058"/>
                      </a:cubicBezTo>
                      <a:cubicBezTo>
                        <a:pt x="1011" y="278261"/>
                        <a:pt x="1308" y="279464"/>
                        <a:pt x="1674" y="280632"/>
                      </a:cubicBezTo>
                      <a:cubicBezTo>
                        <a:pt x="2058" y="281801"/>
                        <a:pt x="2459" y="282951"/>
                        <a:pt x="2930" y="284068"/>
                      </a:cubicBezTo>
                      <a:cubicBezTo>
                        <a:pt x="8597" y="297442"/>
                        <a:pt x="21866" y="306858"/>
                        <a:pt x="37316" y="306858"/>
                      </a:cubicBezTo>
                      <a:lnTo>
                        <a:pt x="355734" y="306858"/>
                      </a:lnTo>
                      <a:cubicBezTo>
                        <a:pt x="363459" y="306858"/>
                        <a:pt x="370643" y="304504"/>
                        <a:pt x="376588" y="300476"/>
                      </a:cubicBezTo>
                      <a:cubicBezTo>
                        <a:pt x="382535" y="296465"/>
                        <a:pt x="387278" y="290763"/>
                        <a:pt x="390120" y="284068"/>
                      </a:cubicBezTo>
                      <a:cubicBezTo>
                        <a:pt x="390590" y="282951"/>
                        <a:pt x="391009" y="281818"/>
                        <a:pt x="391375" y="280632"/>
                      </a:cubicBezTo>
                      <a:cubicBezTo>
                        <a:pt x="391742" y="279481"/>
                        <a:pt x="392038" y="278261"/>
                        <a:pt x="392282" y="277058"/>
                      </a:cubicBezTo>
                      <a:cubicBezTo>
                        <a:pt x="392788" y="274634"/>
                        <a:pt x="393049" y="272106"/>
                        <a:pt x="393049" y="269542"/>
                      </a:cubicBezTo>
                      <a:lnTo>
                        <a:pt x="393049" y="37298"/>
                      </a:lnTo>
                      <a:cubicBezTo>
                        <a:pt x="393049" y="16687"/>
                        <a:pt x="376344" y="0"/>
                        <a:pt x="355734" y="0"/>
                      </a:cubicBezTo>
                      <a:close/>
                    </a:path>
                  </a:pathLst>
                </a:custGeom>
                <a:grpFill/>
                <a:ln w="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E678D511-E1F7-C5C2-68B3-F15B9041ACEB}"/>
                    </a:ext>
                  </a:extLst>
                </p:cNvPr>
                <p:cNvSpPr/>
                <p:nvPr/>
              </p:nvSpPr>
              <p:spPr>
                <a:xfrm>
                  <a:off x="4564310" y="6510932"/>
                  <a:ext cx="107325" cy="56618"/>
                </a:xfrm>
                <a:custGeom>
                  <a:avLst/>
                  <a:gdLst>
                    <a:gd name="connsiteX0" fmla="*/ 0 w 107325"/>
                    <a:gd name="connsiteY0" fmla="*/ 0 h 56618"/>
                    <a:gd name="connsiteX1" fmla="*/ 107325 w 107325"/>
                    <a:gd name="connsiteY1" fmla="*/ 0 h 56618"/>
                    <a:gd name="connsiteX2" fmla="*/ 107325 w 107325"/>
                    <a:gd name="connsiteY2" fmla="*/ 56618 h 56618"/>
                    <a:gd name="connsiteX3" fmla="*/ 0 w 107325"/>
                    <a:gd name="connsiteY3" fmla="*/ 56618 h 56618"/>
                  </a:gdLst>
                  <a:ahLst/>
                  <a:cxnLst>
                    <a:cxn ang="0">
                      <a:pos x="connsiteX0" y="connsiteY0"/>
                    </a:cxn>
                    <a:cxn ang="0">
                      <a:pos x="connsiteX1" y="connsiteY1"/>
                    </a:cxn>
                    <a:cxn ang="0">
                      <a:pos x="connsiteX2" y="connsiteY2"/>
                    </a:cxn>
                    <a:cxn ang="0">
                      <a:pos x="connsiteX3" y="connsiteY3"/>
                    </a:cxn>
                  </a:cxnLst>
                  <a:rect l="l" t="t" r="r" b="b"/>
                  <a:pathLst>
                    <a:path w="107325" h="56618">
                      <a:moveTo>
                        <a:pt x="0" y="0"/>
                      </a:moveTo>
                      <a:lnTo>
                        <a:pt x="107325" y="0"/>
                      </a:lnTo>
                      <a:lnTo>
                        <a:pt x="107325" y="56618"/>
                      </a:lnTo>
                      <a:lnTo>
                        <a:pt x="0" y="56618"/>
                      </a:lnTo>
                      <a:close/>
                    </a:path>
                  </a:pathLst>
                </a:custGeom>
                <a:grpFill/>
                <a:ln w="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3917E2E9-6F4B-5670-CB18-802496C215E2}"/>
                    </a:ext>
                  </a:extLst>
                </p:cNvPr>
                <p:cNvSpPr/>
                <p:nvPr/>
              </p:nvSpPr>
              <p:spPr>
                <a:xfrm>
                  <a:off x="4506314" y="6563836"/>
                  <a:ext cx="223298" cy="35536"/>
                </a:xfrm>
                <a:custGeom>
                  <a:avLst/>
                  <a:gdLst>
                    <a:gd name="connsiteX0" fmla="*/ 203822 w 223298"/>
                    <a:gd name="connsiteY0" fmla="*/ 35537 h 35536"/>
                    <a:gd name="connsiteX1" fmla="*/ 19477 w 223298"/>
                    <a:gd name="connsiteY1" fmla="*/ 35537 h 35536"/>
                    <a:gd name="connsiteX2" fmla="*/ 0 w 223298"/>
                    <a:gd name="connsiteY2" fmla="*/ 17768 h 35536"/>
                    <a:gd name="connsiteX3" fmla="*/ 0 w 223298"/>
                    <a:gd name="connsiteY3" fmla="*/ 17768 h 35536"/>
                    <a:gd name="connsiteX4" fmla="*/ 19477 w 223298"/>
                    <a:gd name="connsiteY4" fmla="*/ 0 h 35536"/>
                    <a:gd name="connsiteX5" fmla="*/ 203822 w 223298"/>
                    <a:gd name="connsiteY5" fmla="*/ 0 h 35536"/>
                    <a:gd name="connsiteX6" fmla="*/ 223299 w 223298"/>
                    <a:gd name="connsiteY6" fmla="*/ 17768 h 35536"/>
                    <a:gd name="connsiteX7" fmla="*/ 223299 w 223298"/>
                    <a:gd name="connsiteY7" fmla="*/ 17768 h 35536"/>
                    <a:gd name="connsiteX8" fmla="*/ 203822 w 223298"/>
                    <a:gd name="connsiteY8" fmla="*/ 35537 h 3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298" h="35536">
                      <a:moveTo>
                        <a:pt x="203822" y="35537"/>
                      </a:moveTo>
                      <a:lnTo>
                        <a:pt x="19477" y="35537"/>
                      </a:lnTo>
                      <a:cubicBezTo>
                        <a:pt x="8719" y="35537"/>
                        <a:pt x="0" y="27586"/>
                        <a:pt x="0" y="17768"/>
                      </a:cubicBezTo>
                      <a:lnTo>
                        <a:pt x="0" y="17768"/>
                      </a:lnTo>
                      <a:cubicBezTo>
                        <a:pt x="0" y="7951"/>
                        <a:pt x="8719" y="0"/>
                        <a:pt x="19477" y="0"/>
                      </a:cubicBezTo>
                      <a:lnTo>
                        <a:pt x="203822" y="0"/>
                      </a:lnTo>
                      <a:cubicBezTo>
                        <a:pt x="214580" y="0"/>
                        <a:pt x="223299" y="7951"/>
                        <a:pt x="223299" y="17768"/>
                      </a:cubicBezTo>
                      <a:lnTo>
                        <a:pt x="223299" y="17768"/>
                      </a:lnTo>
                      <a:cubicBezTo>
                        <a:pt x="223299" y="27586"/>
                        <a:pt x="214580" y="35537"/>
                        <a:pt x="203822" y="35537"/>
                      </a:cubicBezTo>
                      <a:close/>
                    </a:path>
                  </a:pathLst>
                </a:custGeom>
                <a:grpFill/>
                <a:ln w="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B40B07E7-ECBF-AE7D-BA2C-EFFAAC8E80A6}"/>
                    </a:ext>
                  </a:extLst>
                </p:cNvPr>
                <p:cNvSpPr/>
                <p:nvPr/>
              </p:nvSpPr>
              <p:spPr>
                <a:xfrm>
                  <a:off x="4584764" y="6468787"/>
                  <a:ext cx="66417" cy="17576"/>
                </a:xfrm>
                <a:custGeom>
                  <a:avLst/>
                  <a:gdLst>
                    <a:gd name="connsiteX0" fmla="*/ 57630 w 66417"/>
                    <a:gd name="connsiteY0" fmla="*/ 17577 h 17576"/>
                    <a:gd name="connsiteX1" fmla="*/ 8788 w 66417"/>
                    <a:gd name="connsiteY1" fmla="*/ 17577 h 17576"/>
                    <a:gd name="connsiteX2" fmla="*/ 0 w 66417"/>
                    <a:gd name="connsiteY2" fmla="*/ 8788 h 17576"/>
                    <a:gd name="connsiteX3" fmla="*/ 0 w 66417"/>
                    <a:gd name="connsiteY3" fmla="*/ 8788 h 17576"/>
                    <a:gd name="connsiteX4" fmla="*/ 8788 w 66417"/>
                    <a:gd name="connsiteY4" fmla="*/ 0 h 17576"/>
                    <a:gd name="connsiteX5" fmla="*/ 57630 w 66417"/>
                    <a:gd name="connsiteY5" fmla="*/ 0 h 17576"/>
                    <a:gd name="connsiteX6" fmla="*/ 66418 w 66417"/>
                    <a:gd name="connsiteY6" fmla="*/ 8788 h 17576"/>
                    <a:gd name="connsiteX7" fmla="*/ 66418 w 66417"/>
                    <a:gd name="connsiteY7" fmla="*/ 8788 h 17576"/>
                    <a:gd name="connsiteX8" fmla="*/ 57630 w 66417"/>
                    <a:gd name="connsiteY8" fmla="*/ 17577 h 1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17" h="17576">
                      <a:moveTo>
                        <a:pt x="57630" y="17577"/>
                      </a:moveTo>
                      <a:lnTo>
                        <a:pt x="8788" y="17577"/>
                      </a:lnTo>
                      <a:cubicBezTo>
                        <a:pt x="3958" y="17577"/>
                        <a:pt x="0" y="13618"/>
                        <a:pt x="0" y="8788"/>
                      </a:cubicBezTo>
                      <a:lnTo>
                        <a:pt x="0" y="8788"/>
                      </a:lnTo>
                      <a:cubicBezTo>
                        <a:pt x="0" y="3958"/>
                        <a:pt x="3958" y="0"/>
                        <a:pt x="8788" y="0"/>
                      </a:cubicBezTo>
                      <a:lnTo>
                        <a:pt x="57630" y="0"/>
                      </a:lnTo>
                      <a:cubicBezTo>
                        <a:pt x="62459" y="0"/>
                        <a:pt x="66418" y="3958"/>
                        <a:pt x="66418" y="8788"/>
                      </a:cubicBezTo>
                      <a:lnTo>
                        <a:pt x="66418" y="8788"/>
                      </a:lnTo>
                      <a:cubicBezTo>
                        <a:pt x="66418" y="13618"/>
                        <a:pt x="62459" y="17577"/>
                        <a:pt x="57630" y="17577"/>
                      </a:cubicBezTo>
                      <a:close/>
                    </a:path>
                  </a:pathLst>
                </a:custGeom>
                <a:grpFill/>
                <a:ln w="0" cap="flat">
                  <a:noFill/>
                  <a:prstDash val="solid"/>
                  <a:miter/>
                </a:ln>
              </p:spPr>
              <p:txBody>
                <a:bodyPr rtlCol="0" anchor="ctr"/>
                <a:lstStyle/>
                <a:p>
                  <a:endParaRPr lang="en-US"/>
                </a:p>
              </p:txBody>
            </p:sp>
          </p:grpSp>
          <p:sp>
            <p:nvSpPr>
              <p:cNvPr id="99" name="Freeform: Shape 98">
                <a:extLst>
                  <a:ext uri="{FF2B5EF4-FFF2-40B4-BE49-F238E27FC236}">
                    <a16:creationId xmlns:a16="http://schemas.microsoft.com/office/drawing/2014/main" id="{D1545F27-FEE9-6657-A838-164EC438E40B}"/>
                  </a:ext>
                </a:extLst>
              </p:cNvPr>
              <p:cNvSpPr/>
              <p:nvPr/>
            </p:nvSpPr>
            <p:spPr>
              <a:xfrm>
                <a:off x="11536443" y="5957978"/>
                <a:ext cx="56635" cy="72451"/>
              </a:xfrm>
              <a:custGeom>
                <a:avLst/>
                <a:gdLst>
                  <a:gd name="connsiteX0" fmla="*/ 53410 w 56635"/>
                  <a:gd name="connsiteY0" fmla="*/ 0 h 72451"/>
                  <a:gd name="connsiteX1" fmla="*/ 56636 w 56635"/>
                  <a:gd name="connsiteY1" fmla="*/ 3226 h 72451"/>
                  <a:gd name="connsiteX2" fmla="*/ 56636 w 56635"/>
                  <a:gd name="connsiteY2" fmla="*/ 69226 h 72451"/>
                  <a:gd name="connsiteX3" fmla="*/ 53410 w 56635"/>
                  <a:gd name="connsiteY3" fmla="*/ 72452 h 72451"/>
                  <a:gd name="connsiteX4" fmla="*/ 3226 w 56635"/>
                  <a:gd name="connsiteY4" fmla="*/ 72452 h 72451"/>
                  <a:gd name="connsiteX5" fmla="*/ 0 w 56635"/>
                  <a:gd name="connsiteY5" fmla="*/ 69226 h 72451"/>
                  <a:gd name="connsiteX6" fmla="*/ 0 w 56635"/>
                  <a:gd name="connsiteY6" fmla="*/ 3226 h 72451"/>
                  <a:gd name="connsiteX7" fmla="*/ 3226 w 56635"/>
                  <a:gd name="connsiteY7" fmla="*/ 0 h 7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5" h="72451">
                    <a:moveTo>
                      <a:pt x="53410" y="0"/>
                    </a:moveTo>
                    <a:cubicBezTo>
                      <a:pt x="55191" y="0"/>
                      <a:pt x="56636" y="1445"/>
                      <a:pt x="56636" y="3226"/>
                    </a:cubicBezTo>
                    <a:lnTo>
                      <a:pt x="56636" y="69226"/>
                    </a:lnTo>
                    <a:cubicBezTo>
                      <a:pt x="56636" y="71007"/>
                      <a:pt x="55191" y="72452"/>
                      <a:pt x="53410" y="72452"/>
                    </a:cubicBezTo>
                    <a:lnTo>
                      <a:pt x="3226" y="72452"/>
                    </a:lnTo>
                    <a:cubicBezTo>
                      <a:pt x="1444" y="72452"/>
                      <a:pt x="0" y="71007"/>
                      <a:pt x="0" y="69226"/>
                    </a:cubicBezTo>
                    <a:lnTo>
                      <a:pt x="0" y="3226"/>
                    </a:lnTo>
                    <a:cubicBezTo>
                      <a:pt x="0" y="1445"/>
                      <a:pt x="1444" y="0"/>
                      <a:pt x="3226" y="0"/>
                    </a:cubicBezTo>
                    <a:close/>
                  </a:path>
                </a:pathLst>
              </a:custGeom>
              <a:grpFill/>
              <a:ln w="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B6C24857-3A13-2856-8062-CDFD5B51E578}"/>
                  </a:ext>
                </a:extLst>
              </p:cNvPr>
              <p:cNvSpPr/>
              <p:nvPr/>
            </p:nvSpPr>
            <p:spPr>
              <a:xfrm>
                <a:off x="11642984" y="5883243"/>
                <a:ext cx="56635" cy="147203"/>
              </a:xfrm>
              <a:custGeom>
                <a:avLst/>
                <a:gdLst>
                  <a:gd name="connsiteX0" fmla="*/ 53410 w 56635"/>
                  <a:gd name="connsiteY0" fmla="*/ 0 h 147203"/>
                  <a:gd name="connsiteX1" fmla="*/ 56636 w 56635"/>
                  <a:gd name="connsiteY1" fmla="*/ 3226 h 147203"/>
                  <a:gd name="connsiteX2" fmla="*/ 56636 w 56635"/>
                  <a:gd name="connsiteY2" fmla="*/ 143978 h 147203"/>
                  <a:gd name="connsiteX3" fmla="*/ 53410 w 56635"/>
                  <a:gd name="connsiteY3" fmla="*/ 147204 h 147203"/>
                  <a:gd name="connsiteX4" fmla="*/ 3226 w 56635"/>
                  <a:gd name="connsiteY4" fmla="*/ 147204 h 147203"/>
                  <a:gd name="connsiteX5" fmla="*/ 0 w 56635"/>
                  <a:gd name="connsiteY5" fmla="*/ 143978 h 147203"/>
                  <a:gd name="connsiteX6" fmla="*/ 0 w 56635"/>
                  <a:gd name="connsiteY6" fmla="*/ 3226 h 147203"/>
                  <a:gd name="connsiteX7" fmla="*/ 3226 w 56635"/>
                  <a:gd name="connsiteY7" fmla="*/ 0 h 14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5" h="147203">
                    <a:moveTo>
                      <a:pt x="53410" y="0"/>
                    </a:moveTo>
                    <a:cubicBezTo>
                      <a:pt x="55191" y="0"/>
                      <a:pt x="56636" y="1444"/>
                      <a:pt x="56636" y="3226"/>
                    </a:cubicBezTo>
                    <a:lnTo>
                      <a:pt x="56636" y="143978"/>
                    </a:lnTo>
                    <a:cubicBezTo>
                      <a:pt x="56636" y="145760"/>
                      <a:pt x="55191" y="147204"/>
                      <a:pt x="53410" y="147204"/>
                    </a:cubicBezTo>
                    <a:lnTo>
                      <a:pt x="3226" y="147204"/>
                    </a:lnTo>
                    <a:cubicBezTo>
                      <a:pt x="1444" y="147204"/>
                      <a:pt x="0" y="145760"/>
                      <a:pt x="0" y="143978"/>
                    </a:cubicBezTo>
                    <a:lnTo>
                      <a:pt x="0" y="3226"/>
                    </a:lnTo>
                    <a:cubicBezTo>
                      <a:pt x="0" y="1444"/>
                      <a:pt x="1444" y="0"/>
                      <a:pt x="3226" y="0"/>
                    </a:cubicBezTo>
                    <a:close/>
                  </a:path>
                </a:pathLst>
              </a:custGeom>
              <a:grpFill/>
              <a:ln w="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8563274-97C5-6499-DEBF-949A506C7F6F}"/>
                  </a:ext>
                </a:extLst>
              </p:cNvPr>
              <p:cNvSpPr/>
              <p:nvPr/>
            </p:nvSpPr>
            <p:spPr>
              <a:xfrm>
                <a:off x="11749524" y="5907533"/>
                <a:ext cx="56635" cy="122896"/>
              </a:xfrm>
              <a:custGeom>
                <a:avLst/>
                <a:gdLst>
                  <a:gd name="connsiteX0" fmla="*/ 53410 w 56635"/>
                  <a:gd name="connsiteY0" fmla="*/ 0 h 122896"/>
                  <a:gd name="connsiteX1" fmla="*/ 56636 w 56635"/>
                  <a:gd name="connsiteY1" fmla="*/ 3226 h 122896"/>
                  <a:gd name="connsiteX2" fmla="*/ 56636 w 56635"/>
                  <a:gd name="connsiteY2" fmla="*/ 119671 h 122896"/>
                  <a:gd name="connsiteX3" fmla="*/ 53410 w 56635"/>
                  <a:gd name="connsiteY3" fmla="*/ 122897 h 122896"/>
                  <a:gd name="connsiteX4" fmla="*/ 3226 w 56635"/>
                  <a:gd name="connsiteY4" fmla="*/ 122897 h 122896"/>
                  <a:gd name="connsiteX5" fmla="*/ 0 w 56635"/>
                  <a:gd name="connsiteY5" fmla="*/ 119671 h 122896"/>
                  <a:gd name="connsiteX6" fmla="*/ 0 w 56635"/>
                  <a:gd name="connsiteY6" fmla="*/ 3226 h 122896"/>
                  <a:gd name="connsiteX7" fmla="*/ 3226 w 56635"/>
                  <a:gd name="connsiteY7" fmla="*/ 0 h 12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5" h="122896">
                    <a:moveTo>
                      <a:pt x="53410" y="0"/>
                    </a:moveTo>
                    <a:cubicBezTo>
                      <a:pt x="55191" y="0"/>
                      <a:pt x="56636" y="1445"/>
                      <a:pt x="56636" y="3226"/>
                    </a:cubicBezTo>
                    <a:lnTo>
                      <a:pt x="56636" y="119671"/>
                    </a:lnTo>
                    <a:cubicBezTo>
                      <a:pt x="56636" y="121453"/>
                      <a:pt x="55191" y="122897"/>
                      <a:pt x="53410" y="122897"/>
                    </a:cubicBezTo>
                    <a:lnTo>
                      <a:pt x="3226" y="122897"/>
                    </a:lnTo>
                    <a:cubicBezTo>
                      <a:pt x="1444" y="122897"/>
                      <a:pt x="0" y="121453"/>
                      <a:pt x="0" y="119671"/>
                    </a:cubicBezTo>
                    <a:lnTo>
                      <a:pt x="0" y="3226"/>
                    </a:lnTo>
                    <a:cubicBezTo>
                      <a:pt x="0" y="1445"/>
                      <a:pt x="1444" y="0"/>
                      <a:pt x="3226" y="0"/>
                    </a:cubicBezTo>
                    <a:close/>
                  </a:path>
                </a:pathLst>
              </a:custGeom>
              <a:grpFill/>
              <a:ln w="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A11917AB-5C33-76DE-D508-5D505E808C95}"/>
                  </a:ext>
                </a:extLst>
              </p:cNvPr>
              <p:cNvSpPr/>
              <p:nvPr/>
            </p:nvSpPr>
            <p:spPr>
              <a:xfrm>
                <a:off x="11856065" y="5805282"/>
                <a:ext cx="56635" cy="225164"/>
              </a:xfrm>
              <a:custGeom>
                <a:avLst/>
                <a:gdLst>
                  <a:gd name="connsiteX0" fmla="*/ 53410 w 56635"/>
                  <a:gd name="connsiteY0" fmla="*/ 0 h 225164"/>
                  <a:gd name="connsiteX1" fmla="*/ 56636 w 56635"/>
                  <a:gd name="connsiteY1" fmla="*/ 3226 h 225164"/>
                  <a:gd name="connsiteX2" fmla="*/ 56636 w 56635"/>
                  <a:gd name="connsiteY2" fmla="*/ 221939 h 225164"/>
                  <a:gd name="connsiteX3" fmla="*/ 53410 w 56635"/>
                  <a:gd name="connsiteY3" fmla="*/ 225165 h 225164"/>
                  <a:gd name="connsiteX4" fmla="*/ 3226 w 56635"/>
                  <a:gd name="connsiteY4" fmla="*/ 225165 h 225164"/>
                  <a:gd name="connsiteX5" fmla="*/ 0 w 56635"/>
                  <a:gd name="connsiteY5" fmla="*/ 221939 h 225164"/>
                  <a:gd name="connsiteX6" fmla="*/ 0 w 56635"/>
                  <a:gd name="connsiteY6" fmla="*/ 3226 h 225164"/>
                  <a:gd name="connsiteX7" fmla="*/ 3226 w 56635"/>
                  <a:gd name="connsiteY7" fmla="*/ 0 h 22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5" h="225164">
                    <a:moveTo>
                      <a:pt x="53410" y="0"/>
                    </a:moveTo>
                    <a:cubicBezTo>
                      <a:pt x="55192" y="0"/>
                      <a:pt x="56636" y="1444"/>
                      <a:pt x="56636" y="3226"/>
                    </a:cubicBezTo>
                    <a:lnTo>
                      <a:pt x="56636" y="221939"/>
                    </a:lnTo>
                    <a:cubicBezTo>
                      <a:pt x="56636" y="223721"/>
                      <a:pt x="55192" y="225165"/>
                      <a:pt x="53410" y="225165"/>
                    </a:cubicBezTo>
                    <a:lnTo>
                      <a:pt x="3226" y="225165"/>
                    </a:lnTo>
                    <a:cubicBezTo>
                      <a:pt x="1444" y="225165"/>
                      <a:pt x="0" y="223721"/>
                      <a:pt x="0" y="221939"/>
                    </a:cubicBezTo>
                    <a:lnTo>
                      <a:pt x="0" y="3226"/>
                    </a:lnTo>
                    <a:cubicBezTo>
                      <a:pt x="0" y="1444"/>
                      <a:pt x="1444" y="0"/>
                      <a:pt x="3226" y="0"/>
                    </a:cubicBezTo>
                    <a:close/>
                  </a:path>
                </a:pathLst>
              </a:custGeom>
              <a:grpFill/>
              <a:ln w="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8071611B-4722-63FC-4481-4987FB6358CF}"/>
                  </a:ext>
                </a:extLst>
              </p:cNvPr>
              <p:cNvSpPr/>
              <p:nvPr/>
            </p:nvSpPr>
            <p:spPr>
              <a:xfrm>
                <a:off x="11595067" y="5844846"/>
                <a:ext cx="43470" cy="37524"/>
              </a:xfrm>
              <a:custGeom>
                <a:avLst/>
                <a:gdLst>
                  <a:gd name="connsiteX0" fmla="*/ 34857 w 43470"/>
                  <a:gd name="connsiteY0" fmla="*/ 0 h 37524"/>
                  <a:gd name="connsiteX1" fmla="*/ 43471 w 43470"/>
                  <a:gd name="connsiteY1" fmla="*/ 13113 h 37524"/>
                  <a:gd name="connsiteX2" fmla="*/ 8910 w 43470"/>
                  <a:gd name="connsiteY2" fmla="*/ 37525 h 37524"/>
                  <a:gd name="connsiteX3" fmla="*/ 0 w 43470"/>
                  <a:gd name="connsiteY3" fmla="*/ 24621 h 37524"/>
                  <a:gd name="connsiteX4" fmla="*/ 34857 w 43470"/>
                  <a:gd name="connsiteY4" fmla="*/ 0 h 37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0" h="37524">
                    <a:moveTo>
                      <a:pt x="34857" y="0"/>
                    </a:moveTo>
                    <a:cubicBezTo>
                      <a:pt x="36949" y="4865"/>
                      <a:pt x="39878" y="9312"/>
                      <a:pt x="43471" y="13113"/>
                    </a:cubicBezTo>
                    <a:lnTo>
                      <a:pt x="8910" y="37525"/>
                    </a:lnTo>
                    <a:cubicBezTo>
                      <a:pt x="6730" y="32712"/>
                      <a:pt x="3679" y="28353"/>
                      <a:pt x="0" y="24621"/>
                    </a:cubicBezTo>
                    <a:lnTo>
                      <a:pt x="34857" y="0"/>
                    </a:lnTo>
                    <a:close/>
                  </a:path>
                </a:pathLst>
              </a:custGeom>
              <a:grpFill/>
              <a:ln w="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7B5DFAE-E84A-F605-CE16-8A5BDE901CD1}"/>
                  </a:ext>
                </a:extLst>
              </p:cNvPr>
              <p:cNvSpPr/>
              <p:nvPr/>
            </p:nvSpPr>
            <p:spPr>
              <a:xfrm>
                <a:off x="11712854" y="5829101"/>
                <a:ext cx="23731" cy="20122"/>
              </a:xfrm>
              <a:custGeom>
                <a:avLst/>
                <a:gdLst>
                  <a:gd name="connsiteX0" fmla="*/ 3400 w 23731"/>
                  <a:gd name="connsiteY0" fmla="*/ 0 h 20122"/>
                  <a:gd name="connsiteX1" fmla="*/ 23732 w 23731"/>
                  <a:gd name="connsiteY1" fmla="*/ 4882 h 20122"/>
                  <a:gd name="connsiteX2" fmla="*/ 20070 w 23731"/>
                  <a:gd name="connsiteY2" fmla="*/ 20122 h 20122"/>
                  <a:gd name="connsiteX3" fmla="*/ 0 w 23731"/>
                  <a:gd name="connsiteY3" fmla="*/ 15292 h 20122"/>
                  <a:gd name="connsiteX4" fmla="*/ 3383 w 23731"/>
                  <a:gd name="connsiteY4" fmla="*/ 0 h 20122"/>
                  <a:gd name="connsiteX5" fmla="*/ 3383 w 23731"/>
                  <a:gd name="connsiteY5" fmla="*/ 0 h 2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31" h="20122">
                    <a:moveTo>
                      <a:pt x="3400" y="0"/>
                    </a:moveTo>
                    <a:lnTo>
                      <a:pt x="23732" y="4882"/>
                    </a:lnTo>
                    <a:cubicBezTo>
                      <a:pt x="21657" y="9590"/>
                      <a:pt x="20384" y="14735"/>
                      <a:pt x="20070" y="20122"/>
                    </a:cubicBezTo>
                    <a:lnTo>
                      <a:pt x="0" y="15292"/>
                    </a:lnTo>
                    <a:cubicBezTo>
                      <a:pt x="1988" y="10550"/>
                      <a:pt x="3173" y="5388"/>
                      <a:pt x="3383" y="0"/>
                    </a:cubicBezTo>
                    <a:lnTo>
                      <a:pt x="3383" y="0"/>
                    </a:lnTo>
                    <a:close/>
                  </a:path>
                </a:pathLst>
              </a:custGeom>
              <a:grpFill/>
              <a:ln w="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58EC7ACE-8531-DD31-4FD5-A3F8780C7F6A}"/>
                  </a:ext>
                </a:extLst>
              </p:cNvPr>
              <p:cNvSpPr/>
              <p:nvPr/>
            </p:nvSpPr>
            <p:spPr>
              <a:xfrm>
                <a:off x="11798888" y="5771558"/>
                <a:ext cx="58187" cy="50515"/>
              </a:xfrm>
              <a:custGeom>
                <a:avLst/>
                <a:gdLst>
                  <a:gd name="connsiteX0" fmla="*/ 58188 w 58187"/>
                  <a:gd name="connsiteY0" fmla="*/ 11544 h 50515"/>
                  <a:gd name="connsiteX1" fmla="*/ 12555 w 58187"/>
                  <a:gd name="connsiteY1" fmla="*/ 50516 h 50515"/>
                  <a:gd name="connsiteX2" fmla="*/ 0 w 58187"/>
                  <a:gd name="connsiteY2" fmla="*/ 40628 h 50515"/>
                  <a:gd name="connsiteX3" fmla="*/ 47586 w 58187"/>
                  <a:gd name="connsiteY3" fmla="*/ 0 h 50515"/>
                  <a:gd name="connsiteX4" fmla="*/ 58188 w 58187"/>
                  <a:gd name="connsiteY4" fmla="*/ 11544 h 50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87" h="50515">
                    <a:moveTo>
                      <a:pt x="58188" y="11544"/>
                    </a:moveTo>
                    <a:lnTo>
                      <a:pt x="12555" y="50516"/>
                    </a:lnTo>
                    <a:cubicBezTo>
                      <a:pt x="9015" y="46505"/>
                      <a:pt x="4760" y="43157"/>
                      <a:pt x="0" y="40628"/>
                    </a:cubicBezTo>
                    <a:lnTo>
                      <a:pt x="47586" y="0"/>
                    </a:lnTo>
                    <a:cubicBezTo>
                      <a:pt x="50411" y="4447"/>
                      <a:pt x="54003" y="8352"/>
                      <a:pt x="58188" y="11544"/>
                    </a:cubicBezTo>
                    <a:close/>
                  </a:path>
                </a:pathLst>
              </a:custGeom>
              <a:grpFill/>
              <a:ln w="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AE2E3F4F-5C3F-A4F1-21CD-AC3C981C8C75}"/>
                  </a:ext>
                </a:extLst>
              </p:cNvPr>
              <p:cNvSpPr/>
              <p:nvPr/>
            </p:nvSpPr>
            <p:spPr>
              <a:xfrm>
                <a:off x="11528579" y="5866591"/>
                <a:ext cx="69050" cy="69050"/>
              </a:xfrm>
              <a:custGeom>
                <a:avLst/>
                <a:gdLst>
                  <a:gd name="connsiteX0" fmla="*/ 69051 w 69050"/>
                  <a:gd name="connsiteY0" fmla="*/ 34525 h 69050"/>
                  <a:gd name="connsiteX1" fmla="*/ 34525 w 69050"/>
                  <a:gd name="connsiteY1" fmla="*/ 69051 h 69050"/>
                  <a:gd name="connsiteX2" fmla="*/ 0 w 69050"/>
                  <a:gd name="connsiteY2" fmla="*/ 34525 h 69050"/>
                  <a:gd name="connsiteX3" fmla="*/ 34525 w 69050"/>
                  <a:gd name="connsiteY3" fmla="*/ 0 h 69050"/>
                  <a:gd name="connsiteX4" fmla="*/ 69051 w 69050"/>
                  <a:gd name="connsiteY4" fmla="*/ 34525 h 6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0" h="69050">
                    <a:moveTo>
                      <a:pt x="69051" y="34525"/>
                    </a:moveTo>
                    <a:cubicBezTo>
                      <a:pt x="69051" y="53593"/>
                      <a:pt x="53593" y="69051"/>
                      <a:pt x="34525" y="69051"/>
                    </a:cubicBezTo>
                    <a:cubicBezTo>
                      <a:pt x="15457" y="69051"/>
                      <a:pt x="0" y="53593"/>
                      <a:pt x="0" y="34525"/>
                    </a:cubicBezTo>
                    <a:cubicBezTo>
                      <a:pt x="0" y="15457"/>
                      <a:pt x="15457" y="0"/>
                      <a:pt x="34525" y="0"/>
                    </a:cubicBezTo>
                    <a:cubicBezTo>
                      <a:pt x="53593" y="0"/>
                      <a:pt x="69051" y="15457"/>
                      <a:pt x="69051" y="34525"/>
                    </a:cubicBezTo>
                    <a:close/>
                  </a:path>
                </a:pathLst>
              </a:custGeom>
              <a:grpFill/>
              <a:ln w="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86CD6CC9-061E-7801-121F-473C5B2A1C1B}"/>
                  </a:ext>
                </a:extLst>
              </p:cNvPr>
              <p:cNvSpPr/>
              <p:nvPr/>
            </p:nvSpPr>
            <p:spPr>
              <a:xfrm rot="17549998">
                <a:off x="11636772" y="5792637"/>
                <a:ext cx="69050" cy="69050"/>
              </a:xfrm>
              <a:custGeom>
                <a:avLst/>
                <a:gdLst>
                  <a:gd name="connsiteX0" fmla="*/ 69051 w 69050"/>
                  <a:gd name="connsiteY0" fmla="*/ 34525 h 69050"/>
                  <a:gd name="connsiteX1" fmla="*/ 34525 w 69050"/>
                  <a:gd name="connsiteY1" fmla="*/ 69051 h 69050"/>
                  <a:gd name="connsiteX2" fmla="*/ 0 w 69050"/>
                  <a:gd name="connsiteY2" fmla="*/ 34525 h 69050"/>
                  <a:gd name="connsiteX3" fmla="*/ 34525 w 69050"/>
                  <a:gd name="connsiteY3" fmla="*/ 0 h 69050"/>
                  <a:gd name="connsiteX4" fmla="*/ 69051 w 69050"/>
                  <a:gd name="connsiteY4" fmla="*/ 34525 h 6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0" h="69050">
                    <a:moveTo>
                      <a:pt x="69051" y="34525"/>
                    </a:moveTo>
                    <a:cubicBezTo>
                      <a:pt x="69051" y="53593"/>
                      <a:pt x="53593" y="69051"/>
                      <a:pt x="34525" y="69051"/>
                    </a:cubicBezTo>
                    <a:cubicBezTo>
                      <a:pt x="15457" y="69051"/>
                      <a:pt x="0" y="53593"/>
                      <a:pt x="0" y="34525"/>
                    </a:cubicBezTo>
                    <a:cubicBezTo>
                      <a:pt x="0" y="15457"/>
                      <a:pt x="15457" y="0"/>
                      <a:pt x="34525" y="0"/>
                    </a:cubicBezTo>
                    <a:cubicBezTo>
                      <a:pt x="53593" y="0"/>
                      <a:pt x="69051" y="15457"/>
                      <a:pt x="69051" y="34525"/>
                    </a:cubicBezTo>
                    <a:close/>
                  </a:path>
                </a:pathLst>
              </a:custGeom>
              <a:grpFill/>
              <a:ln w="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444E367E-EF60-39FE-D5E7-C168C90EB74E}"/>
                  </a:ext>
                </a:extLst>
              </p:cNvPr>
              <p:cNvSpPr/>
              <p:nvPr/>
            </p:nvSpPr>
            <p:spPr>
              <a:xfrm rot="16621201">
                <a:off x="11743426" y="5817620"/>
                <a:ext cx="69050" cy="69050"/>
              </a:xfrm>
              <a:custGeom>
                <a:avLst/>
                <a:gdLst>
                  <a:gd name="connsiteX0" fmla="*/ 69051 w 69050"/>
                  <a:gd name="connsiteY0" fmla="*/ 34526 h 69050"/>
                  <a:gd name="connsiteX1" fmla="*/ 34525 w 69050"/>
                  <a:gd name="connsiteY1" fmla="*/ 69051 h 69050"/>
                  <a:gd name="connsiteX2" fmla="*/ 0 w 69050"/>
                  <a:gd name="connsiteY2" fmla="*/ 34526 h 69050"/>
                  <a:gd name="connsiteX3" fmla="*/ 34525 w 69050"/>
                  <a:gd name="connsiteY3" fmla="*/ 0 h 69050"/>
                  <a:gd name="connsiteX4" fmla="*/ 69051 w 69050"/>
                  <a:gd name="connsiteY4" fmla="*/ 34526 h 6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0" h="69050">
                    <a:moveTo>
                      <a:pt x="69051" y="34526"/>
                    </a:moveTo>
                    <a:cubicBezTo>
                      <a:pt x="69051" y="53593"/>
                      <a:pt x="53593" y="69051"/>
                      <a:pt x="34525" y="69051"/>
                    </a:cubicBezTo>
                    <a:cubicBezTo>
                      <a:pt x="15457" y="69051"/>
                      <a:pt x="0" y="53593"/>
                      <a:pt x="0" y="34526"/>
                    </a:cubicBezTo>
                    <a:cubicBezTo>
                      <a:pt x="0" y="15458"/>
                      <a:pt x="15457" y="0"/>
                      <a:pt x="34525" y="0"/>
                    </a:cubicBezTo>
                    <a:cubicBezTo>
                      <a:pt x="53593" y="0"/>
                      <a:pt x="69051" y="15458"/>
                      <a:pt x="69051" y="34526"/>
                    </a:cubicBezTo>
                    <a:close/>
                  </a:path>
                </a:pathLst>
              </a:custGeom>
              <a:grpFill/>
              <a:ln w="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58355F33-A653-12EE-DDAE-8556C676D3BA}"/>
                  </a:ext>
                </a:extLst>
              </p:cNvPr>
              <p:cNvSpPr/>
              <p:nvPr/>
            </p:nvSpPr>
            <p:spPr>
              <a:xfrm>
                <a:off x="11849857" y="5712848"/>
                <a:ext cx="69050" cy="69050"/>
              </a:xfrm>
              <a:custGeom>
                <a:avLst/>
                <a:gdLst>
                  <a:gd name="connsiteX0" fmla="*/ 69051 w 69050"/>
                  <a:gd name="connsiteY0" fmla="*/ 34525 h 69050"/>
                  <a:gd name="connsiteX1" fmla="*/ 34525 w 69050"/>
                  <a:gd name="connsiteY1" fmla="*/ 69051 h 69050"/>
                  <a:gd name="connsiteX2" fmla="*/ 0 w 69050"/>
                  <a:gd name="connsiteY2" fmla="*/ 34525 h 69050"/>
                  <a:gd name="connsiteX3" fmla="*/ 34525 w 69050"/>
                  <a:gd name="connsiteY3" fmla="*/ 0 h 69050"/>
                  <a:gd name="connsiteX4" fmla="*/ 69051 w 69050"/>
                  <a:gd name="connsiteY4" fmla="*/ 34525 h 6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0" h="69050">
                    <a:moveTo>
                      <a:pt x="69051" y="34525"/>
                    </a:moveTo>
                    <a:cubicBezTo>
                      <a:pt x="69051" y="53593"/>
                      <a:pt x="53593" y="69051"/>
                      <a:pt x="34525" y="69051"/>
                    </a:cubicBezTo>
                    <a:cubicBezTo>
                      <a:pt x="15457" y="69051"/>
                      <a:pt x="0" y="53593"/>
                      <a:pt x="0" y="34525"/>
                    </a:cubicBezTo>
                    <a:cubicBezTo>
                      <a:pt x="0" y="15457"/>
                      <a:pt x="15457" y="0"/>
                      <a:pt x="34525" y="0"/>
                    </a:cubicBezTo>
                    <a:cubicBezTo>
                      <a:pt x="53593" y="0"/>
                      <a:pt x="69051" y="15457"/>
                      <a:pt x="69051" y="34525"/>
                    </a:cubicBezTo>
                    <a:close/>
                  </a:path>
                </a:pathLst>
              </a:custGeom>
              <a:grpFill/>
              <a:ln w="0" cap="flat">
                <a:noFill/>
                <a:prstDash val="solid"/>
                <a:miter/>
              </a:ln>
            </p:spPr>
            <p:txBody>
              <a:bodyPr rtlCol="0" anchor="ctr"/>
              <a:lstStyle/>
              <a:p>
                <a:endParaRPr lang="en-US"/>
              </a:p>
            </p:txBody>
          </p:sp>
        </p:grpSp>
        <p:grpSp>
          <p:nvGrpSpPr>
            <p:cNvPr id="94" name="Graphic 2673">
              <a:extLst>
                <a:ext uri="{FF2B5EF4-FFF2-40B4-BE49-F238E27FC236}">
                  <a16:creationId xmlns:a16="http://schemas.microsoft.com/office/drawing/2014/main" id="{7EEE3FC7-B318-20A0-EEAB-BEB59DF2D0A2}"/>
                </a:ext>
              </a:extLst>
            </p:cNvPr>
            <p:cNvGrpSpPr/>
            <p:nvPr/>
          </p:nvGrpSpPr>
          <p:grpSpPr>
            <a:xfrm>
              <a:off x="1060759" y="3058797"/>
              <a:ext cx="435346" cy="344635"/>
              <a:chOff x="2664257" y="2302649"/>
              <a:chExt cx="435346" cy="344635"/>
            </a:xfrm>
            <a:noFill/>
          </p:grpSpPr>
          <p:sp>
            <p:nvSpPr>
              <p:cNvPr id="95" name="Freeform: Shape 94">
                <a:extLst>
                  <a:ext uri="{FF2B5EF4-FFF2-40B4-BE49-F238E27FC236}">
                    <a16:creationId xmlns:a16="http://schemas.microsoft.com/office/drawing/2014/main" id="{77D87090-336E-F250-643E-C352CF7A5BCB}"/>
                  </a:ext>
                </a:extLst>
              </p:cNvPr>
              <p:cNvSpPr/>
              <p:nvPr/>
            </p:nvSpPr>
            <p:spPr>
              <a:xfrm>
                <a:off x="2968062"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9EA112E-A8D1-A801-CBC8-BBA09A88BCC5}"/>
                  </a:ext>
                </a:extLst>
              </p:cNvPr>
              <p:cNvSpPr/>
              <p:nvPr/>
            </p:nvSpPr>
            <p:spPr>
              <a:xfrm>
                <a:off x="2816160"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18D87982-22D7-B959-CDCA-DC6C0C24FCA9}"/>
                  </a:ext>
                </a:extLst>
              </p:cNvPr>
              <p:cNvSpPr/>
              <p:nvPr/>
            </p:nvSpPr>
            <p:spPr>
              <a:xfrm>
                <a:off x="2664257" y="2302649"/>
                <a:ext cx="131541" cy="344635"/>
              </a:xfrm>
              <a:custGeom>
                <a:avLst/>
                <a:gdLst>
                  <a:gd name="connsiteX0" fmla="*/ 0 w 131541"/>
                  <a:gd name="connsiteY0" fmla="*/ 0 h 344635"/>
                  <a:gd name="connsiteX1" fmla="*/ 131541 w 131541"/>
                  <a:gd name="connsiteY1" fmla="*/ 172318 h 344635"/>
                  <a:gd name="connsiteX2" fmla="*/ 0 w 131541"/>
                  <a:gd name="connsiteY2" fmla="*/ 344636 h 344635"/>
                </a:gdLst>
                <a:ahLst/>
                <a:cxnLst>
                  <a:cxn ang="0">
                    <a:pos x="connsiteX0" y="connsiteY0"/>
                  </a:cxn>
                  <a:cxn ang="0">
                    <a:pos x="connsiteX1" y="connsiteY1"/>
                  </a:cxn>
                  <a:cxn ang="0">
                    <a:pos x="connsiteX2" y="connsiteY2"/>
                  </a:cxn>
                </a:cxnLst>
                <a:rect l="l" t="t" r="r" b="b"/>
                <a:pathLst>
                  <a:path w="131541" h="344635">
                    <a:moveTo>
                      <a:pt x="0" y="0"/>
                    </a:moveTo>
                    <a:lnTo>
                      <a:pt x="131541" y="172318"/>
                    </a:lnTo>
                    <a:lnTo>
                      <a:pt x="0" y="344636"/>
                    </a:lnTo>
                  </a:path>
                </a:pathLst>
              </a:custGeom>
              <a:noFill/>
              <a:ln w="21542" cap="flat">
                <a:solidFill>
                  <a:srgbClr val="17A8F7">
                    <a:alpha val="35000"/>
                  </a:srgbClr>
                </a:solidFill>
                <a:prstDash val="solid"/>
                <a:miter/>
              </a:ln>
            </p:spPr>
            <p:txBody>
              <a:bodyPr rtlCol="0" anchor="ctr"/>
              <a:lstStyle/>
              <a:p>
                <a:endParaRPr lang="en-US"/>
              </a:p>
            </p:txBody>
          </p:sp>
        </p:grpSp>
      </p:grpSp>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26695" y="364734"/>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28996337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1"/>
            <a:ext cx="11256264" cy="33410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sz="2000" b="1">
                <a:latin typeface="+mj-lt"/>
              </a:defRPr>
            </a:lvl1pPr>
          </a:lstStyle>
          <a:p>
            <a:r>
              <a:rPr lang="en-US"/>
              <a:t>Click to add title</a:t>
            </a:r>
          </a:p>
        </p:txBody>
      </p:sp>
    </p:spTree>
    <p:extLst>
      <p:ext uri="{BB962C8B-B14F-4D97-AF65-F5344CB8AC3E}">
        <p14:creationId xmlns:p14="http://schemas.microsoft.com/office/powerpoint/2010/main" val="37030154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C3F5B0ED-A4CB-4D19-B6B8-CA9E1139E702}"/>
              </a:ext>
            </a:extLst>
          </p:cNvPr>
          <p:cNvSpPr>
            <a:spLocks noGrp="1"/>
          </p:cNvSpPr>
          <p:nvPr userDrawn="1">
            <p:ph type="title" hasCustomPrompt="1"/>
          </p:nvPr>
        </p:nvSpPr>
        <p:spPr>
          <a:xfrm>
            <a:off x="501650" y="317500"/>
            <a:ext cx="11256264"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7950280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CaseCode">
            <a:extLst>
              <a:ext uri="{FF2B5EF4-FFF2-40B4-BE49-F238E27FC236}">
                <a16:creationId xmlns:a16="http://schemas.microsoft.com/office/drawing/2014/main" id="{0A3A61BC-39E1-5349-F3F5-69A9CBE8A60D}"/>
              </a:ext>
            </a:extLst>
          </p:cNvPr>
          <p:cNvSpPr txBox="1"/>
          <p:nvPr userDrawn="1"/>
        </p:nvSpPr>
        <p:spPr>
          <a:xfrm>
            <a:off x="6335184" y="6536634"/>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pt-BR" sz="900" noProof="0">
                <a:solidFill>
                  <a:schemeClr val="tx1"/>
                </a:solidFill>
                <a:latin typeface="Calibri" panose="020F0502020204030204" pitchFamily="34" charset="0"/>
                <a:cs typeface="Calibri" panose="020F0502020204030204" pitchFamily="34" charset="0"/>
              </a:rPr>
              <a:t>ICICI Bank Proposal</a:t>
            </a:r>
            <a:endParaRPr lang="en-US" sz="900" noProof="0">
              <a:solidFill>
                <a:schemeClr val="tx1"/>
              </a:solidFill>
              <a:latin typeface="Calibri" panose="020F0502020204030204" pitchFamily="34" charset="0"/>
              <a:cs typeface="Calibri" panose="020F0502020204030204" pitchFamily="34" charset="0"/>
            </a:endParaRPr>
          </a:p>
        </p:txBody>
      </p:sp>
      <p:sp>
        <p:nvSpPr>
          <p:cNvPr id="3" name="Copyright">
            <a:extLst>
              <a:ext uri="{FF2B5EF4-FFF2-40B4-BE49-F238E27FC236}">
                <a16:creationId xmlns:a16="http://schemas.microsoft.com/office/drawing/2014/main" id="{7E6A9F59-5A00-8DA6-96A6-921FD4228D69}"/>
              </a:ext>
            </a:extLst>
          </p:cNvPr>
          <p:cNvSpPr txBox="1"/>
          <p:nvPr userDrawn="1"/>
        </p:nvSpPr>
        <p:spPr>
          <a:xfrm>
            <a:off x="501649" y="6536635"/>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tx1"/>
                </a:solidFill>
                <a:latin typeface="Calibri" panose="020F0502020204030204" pitchFamily="34" charset="0"/>
                <a:cs typeface="Calibri" panose="020F0502020204030204" pitchFamily="34" charset="0"/>
              </a:rPr>
              <a:t>© 2024 Deloitte Touche </a:t>
            </a:r>
            <a:r>
              <a:rPr lang="fr-FR" sz="900" noProof="0" err="1">
                <a:solidFill>
                  <a:schemeClr val="tx1"/>
                </a:solidFill>
                <a:latin typeface="Calibri" panose="020F0502020204030204" pitchFamily="34" charset="0"/>
                <a:cs typeface="Calibri" panose="020F0502020204030204" pitchFamily="34" charset="0"/>
              </a:rPr>
              <a:t>Tohmatsu</a:t>
            </a:r>
            <a:r>
              <a:rPr lang="fr-FR" sz="900" noProof="0">
                <a:solidFill>
                  <a:schemeClr val="tx1"/>
                </a:solidFill>
                <a:latin typeface="Calibri" panose="020F0502020204030204" pitchFamily="34" charset="0"/>
                <a:cs typeface="Calibri" panose="020F0502020204030204" pitchFamily="34" charset="0"/>
              </a:rPr>
              <a:t> </a:t>
            </a:r>
            <a:r>
              <a:rPr lang="fr-FR" sz="900" noProof="0" err="1">
                <a:solidFill>
                  <a:schemeClr val="tx1"/>
                </a:solidFill>
                <a:latin typeface="Calibri" panose="020F0502020204030204" pitchFamily="34" charset="0"/>
                <a:cs typeface="Calibri" panose="020F0502020204030204" pitchFamily="34" charset="0"/>
              </a:rPr>
              <a:t>India</a:t>
            </a:r>
            <a:r>
              <a:rPr lang="fr-FR" sz="900" noProof="0">
                <a:solidFill>
                  <a:schemeClr val="tx1"/>
                </a:solidFill>
                <a:latin typeface="Calibri" panose="020F0502020204030204" pitchFamily="34" charset="0"/>
                <a:cs typeface="Calibri" panose="020F0502020204030204" pitchFamily="34" charset="0"/>
              </a:rPr>
              <a:t> LLP. </a:t>
            </a:r>
          </a:p>
        </p:txBody>
      </p:sp>
      <p:sp>
        <p:nvSpPr>
          <p:cNvPr id="4" name="Rectangle 3">
            <a:extLst>
              <a:ext uri="{FF2B5EF4-FFF2-40B4-BE49-F238E27FC236}">
                <a16:creationId xmlns:a16="http://schemas.microsoft.com/office/drawing/2014/main" id="{39672059-3653-0CC9-91E4-C66D66672BC1}"/>
              </a:ext>
            </a:extLst>
          </p:cNvPr>
          <p:cNvSpPr/>
          <p:nvPr userDrawn="1"/>
        </p:nvSpPr>
        <p:spPr>
          <a:xfrm>
            <a:off x="11384280" y="6533586"/>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a:p>
        </p:txBody>
      </p:sp>
    </p:spTree>
    <p:extLst>
      <p:ext uri="{BB962C8B-B14F-4D97-AF65-F5344CB8AC3E}">
        <p14:creationId xmlns:p14="http://schemas.microsoft.com/office/powerpoint/2010/main" val="237058398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1119225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37009335"/>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1119225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14844718-A9DD-533E-B1DF-D8E803C36F68}"/>
              </a:ext>
            </a:extLst>
          </p:cNvPr>
          <p:cNvGrpSpPr/>
          <p:nvPr userDrawn="1"/>
        </p:nvGrpSpPr>
        <p:grpSpPr>
          <a:xfrm>
            <a:off x="501651" y="457200"/>
            <a:ext cx="1998000" cy="374400"/>
            <a:chOff x="501651" y="457200"/>
            <a:chExt cx="1998000" cy="374400"/>
          </a:xfrm>
        </p:grpSpPr>
        <p:sp>
          <p:nvSpPr>
            <p:cNvPr id="3" name="Oval 5">
              <a:extLst>
                <a:ext uri="{FF2B5EF4-FFF2-40B4-BE49-F238E27FC236}">
                  <a16:creationId xmlns:a16="http://schemas.microsoft.com/office/drawing/2014/main" id="{68688AAB-FDFB-D22A-B07E-A7B61BA38B80}"/>
                </a:ext>
              </a:extLst>
            </p:cNvPr>
            <p:cNvSpPr>
              <a:spLocks noChangeArrowheads="1"/>
            </p:cNvSpPr>
            <p:nvPr/>
          </p:nvSpPr>
          <p:spPr bwMode="auto">
            <a:xfrm>
              <a:off x="2392442" y="72545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 name="Freeform 6">
              <a:extLst>
                <a:ext uri="{FF2B5EF4-FFF2-40B4-BE49-F238E27FC236}">
                  <a16:creationId xmlns:a16="http://schemas.microsoft.com/office/drawing/2014/main" id="{62AB2A77-3D75-9295-ACF5-B690389825ED}"/>
                </a:ext>
              </a:extLst>
            </p:cNvPr>
            <p:cNvSpPr>
              <a:spLocks noEditPoints="1"/>
            </p:cNvSpPr>
            <p:nvPr/>
          </p:nvSpPr>
          <p:spPr bwMode="auto">
            <a:xfrm>
              <a:off x="501651" y="45913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Rectangle 7">
              <a:extLst>
                <a:ext uri="{FF2B5EF4-FFF2-40B4-BE49-F238E27FC236}">
                  <a16:creationId xmlns:a16="http://schemas.microsoft.com/office/drawing/2014/main" id="{601CDE03-26C1-1AFF-2E12-A49D2B55596D}"/>
                </a:ext>
              </a:extLst>
            </p:cNvPr>
            <p:cNvSpPr>
              <a:spLocks noChangeArrowheads="1"/>
            </p:cNvSpPr>
            <p:nvPr/>
          </p:nvSpPr>
          <p:spPr bwMode="auto">
            <a:xfrm>
              <a:off x="1125417" y="457200"/>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8">
              <a:extLst>
                <a:ext uri="{FF2B5EF4-FFF2-40B4-BE49-F238E27FC236}">
                  <a16:creationId xmlns:a16="http://schemas.microsoft.com/office/drawing/2014/main" id="{45E6F5FF-2D5F-7F32-3500-04215C3FD08D}"/>
                </a:ext>
              </a:extLst>
            </p:cNvPr>
            <p:cNvSpPr>
              <a:spLocks noEditPoints="1"/>
            </p:cNvSpPr>
            <p:nvPr/>
          </p:nvSpPr>
          <p:spPr bwMode="auto">
            <a:xfrm>
              <a:off x="1254069" y="54790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9">
              <a:extLst>
                <a:ext uri="{FF2B5EF4-FFF2-40B4-BE49-F238E27FC236}">
                  <a16:creationId xmlns:a16="http://schemas.microsoft.com/office/drawing/2014/main" id="{2AC904FA-091A-02C8-6219-14250AA3791A}"/>
                </a:ext>
              </a:extLst>
            </p:cNvPr>
            <p:cNvSpPr>
              <a:spLocks noChangeArrowheads="1"/>
            </p:cNvSpPr>
            <p:nvPr/>
          </p:nvSpPr>
          <p:spPr bwMode="auto">
            <a:xfrm>
              <a:off x="1556205" y="551765"/>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10">
              <a:extLst>
                <a:ext uri="{FF2B5EF4-FFF2-40B4-BE49-F238E27FC236}">
                  <a16:creationId xmlns:a16="http://schemas.microsoft.com/office/drawing/2014/main" id="{7AE5F71F-25A2-F137-CEB9-8B6A390FD6EE}"/>
                </a:ext>
              </a:extLst>
            </p:cNvPr>
            <p:cNvSpPr>
              <a:spLocks noChangeArrowheads="1"/>
            </p:cNvSpPr>
            <p:nvPr/>
          </p:nvSpPr>
          <p:spPr bwMode="auto">
            <a:xfrm>
              <a:off x="1556205" y="457200"/>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BC59D7A2-8056-BE00-041E-921D998159C0}"/>
                </a:ext>
              </a:extLst>
            </p:cNvPr>
            <p:cNvSpPr>
              <a:spLocks/>
            </p:cNvSpPr>
            <p:nvPr/>
          </p:nvSpPr>
          <p:spPr bwMode="auto">
            <a:xfrm>
              <a:off x="1684857" y="46492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2">
              <a:extLst>
                <a:ext uri="{FF2B5EF4-FFF2-40B4-BE49-F238E27FC236}">
                  <a16:creationId xmlns:a16="http://schemas.microsoft.com/office/drawing/2014/main" id="{922B87C9-1ADE-8BCE-2EFD-63945E8DCDBF}"/>
                </a:ext>
              </a:extLst>
            </p:cNvPr>
            <p:cNvSpPr>
              <a:spLocks/>
            </p:cNvSpPr>
            <p:nvPr/>
          </p:nvSpPr>
          <p:spPr bwMode="auto">
            <a:xfrm>
              <a:off x="1897328" y="46492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3">
              <a:extLst>
                <a:ext uri="{FF2B5EF4-FFF2-40B4-BE49-F238E27FC236}">
                  <a16:creationId xmlns:a16="http://schemas.microsoft.com/office/drawing/2014/main" id="{CD7489D5-E39B-AD00-BB51-00F35FBF0D4D}"/>
                </a:ext>
              </a:extLst>
            </p:cNvPr>
            <p:cNvSpPr>
              <a:spLocks noEditPoints="1"/>
            </p:cNvSpPr>
            <p:nvPr/>
          </p:nvSpPr>
          <p:spPr bwMode="auto">
            <a:xfrm>
              <a:off x="2111747" y="54790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4">
              <a:extLst>
                <a:ext uri="{FF2B5EF4-FFF2-40B4-BE49-F238E27FC236}">
                  <a16:creationId xmlns:a16="http://schemas.microsoft.com/office/drawing/2014/main" id="{FAA078D0-F37D-842F-67B4-96F593139EE3}"/>
                </a:ext>
              </a:extLst>
            </p:cNvPr>
            <p:cNvSpPr>
              <a:spLocks noEditPoints="1"/>
            </p:cNvSpPr>
            <p:nvPr/>
          </p:nvSpPr>
          <p:spPr bwMode="auto">
            <a:xfrm>
              <a:off x="833027" y="54790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368146523"/>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256264"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cxnSp>
        <p:nvCxnSpPr>
          <p:cNvPr id="6" name="Straight Arrow Connector 5">
            <a:extLst>
              <a:ext uri="{FF2B5EF4-FFF2-40B4-BE49-F238E27FC236}">
                <a16:creationId xmlns:a16="http://schemas.microsoft.com/office/drawing/2014/main" id="{C4EB48A6-CF5E-2147-F48E-5809BE2A452E}"/>
              </a:ext>
            </a:extLst>
          </p:cNvPr>
          <p:cNvCxnSpPr>
            <a:cxnSpLocks/>
          </p:cNvCxnSpPr>
          <p:nvPr userDrawn="1"/>
        </p:nvCxnSpPr>
        <p:spPr>
          <a:xfrm>
            <a:off x="0" y="1534391"/>
            <a:ext cx="11430000" cy="0"/>
          </a:xfrm>
          <a:prstGeom prst="straightConnector1">
            <a:avLst/>
          </a:prstGeom>
          <a:ln w="3175">
            <a:solidFill>
              <a:srgbClr val="7F7F7F"/>
            </a:solidFill>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5517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Slide with Titles">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334099"/>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b="1">
                <a:latin typeface="+mj-lt"/>
              </a:defRPr>
            </a:lvl1pPr>
          </a:lstStyle>
          <a:p>
            <a:r>
              <a:rPr lang="en-US"/>
              <a:t>Click to add title</a:t>
            </a:r>
          </a:p>
        </p:txBody>
      </p:sp>
    </p:spTree>
    <p:extLst>
      <p:ext uri="{BB962C8B-B14F-4D97-AF65-F5344CB8AC3E}">
        <p14:creationId xmlns:p14="http://schemas.microsoft.com/office/powerpoint/2010/main" val="117056007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C991B-9A1A-E7C1-C9FA-C52FB572F2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4A01B0-1900-8442-1263-7E4539F2AD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5C60B9-3FDE-35A2-7DD9-3E4F9BA94222}"/>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8D604154-3F93-686C-6DA8-C527037E87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B9A33F-395C-00ED-D832-BCD05389B822}"/>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17120373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770400"/>
            <a:ext cx="11277600" cy="276999"/>
          </a:xfrm>
          <a:prstGeom prst="rect">
            <a:avLst/>
          </a:prstGeom>
        </p:spPr>
        <p:txBody>
          <a:bodyPr lIns="0" tIns="0" rIns="0" bIns="0">
            <a:sp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0561858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524511-96D6-4CF3-BE60-B19A41685878}"/>
              </a:ext>
            </a:extLst>
          </p:cNvPr>
          <p:cNvGraphicFramePr>
            <a:graphicFrameLocks noChangeAspect="1"/>
          </p:cNvGraphicFramePr>
          <p:nvPr userDrawn="1">
            <p:custDataLst>
              <p:tags r:id="rId1"/>
            </p:custDataLst>
            <p:extLst>
              <p:ext uri="{D42A27DB-BD31-4B8C-83A1-F6EECF244321}">
                <p14:modId xmlns:p14="http://schemas.microsoft.com/office/powerpoint/2010/main" val="44710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B524511-96D6-4CF3-BE60-B19A41685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2A2468F9-08EF-D4C2-55F7-771B527EC2A4}"/>
              </a:ext>
            </a:extLst>
          </p:cNvPr>
          <p:cNvSpPr>
            <a:spLocks noGrp="1"/>
          </p:cNvSpPr>
          <p:nvPr>
            <p:ph type="body" sz="quarter" idx="13" hasCustomPrompt="1"/>
          </p:nvPr>
        </p:nvSpPr>
        <p:spPr>
          <a:xfrm>
            <a:off x="501650" y="651600"/>
            <a:ext cx="11256264" cy="757255"/>
          </a:xfrm>
          <a:prstGeom prst="rect">
            <a:avLst/>
          </a:prstGeom>
        </p:spPr>
        <p:txBody>
          <a:bodyPr lIns="0" tIns="0" rIns="0" bIns="0" anchor="t">
            <a:noAutofit/>
          </a:bodyPr>
          <a:lstStyle>
            <a:lvl1pPr marL="0" indent="0">
              <a:buNone/>
              <a:defRPr sz="1800" b="0">
                <a:solidFill>
                  <a:srgbClr val="575757"/>
                </a:solidFill>
              </a:defRPr>
            </a:lvl1pPr>
          </a:lstStyle>
          <a:p>
            <a:pPr lvl="0"/>
            <a:r>
              <a:rPr lang="en-US"/>
              <a:t>Click to add subtitle</a:t>
            </a:r>
          </a:p>
        </p:txBody>
      </p:sp>
      <p:sp>
        <p:nvSpPr>
          <p:cNvPr id="3" name="Title Placeholder 1">
            <a:extLst>
              <a:ext uri="{FF2B5EF4-FFF2-40B4-BE49-F238E27FC236}">
                <a16:creationId xmlns:a16="http://schemas.microsoft.com/office/drawing/2014/main" id="{80906E79-4BBA-422E-C906-34FC3765E9A3}"/>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172669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41908276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751841"/>
            <a:ext cx="11162349" cy="657014"/>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subtitle</a:t>
            </a:r>
          </a:p>
        </p:txBody>
      </p:sp>
      <p:sp>
        <p:nvSpPr>
          <p:cNvPr id="14" name="Title Placeholder 1"/>
          <p:cNvSpPr>
            <a:spLocks noGrp="1"/>
          </p:cNvSpPr>
          <p:nvPr>
            <p:ph type="title"/>
          </p:nvPr>
        </p:nvSpPr>
        <p:spPr>
          <a:xfrm>
            <a:off x="501651" y="317501"/>
            <a:ext cx="11162349" cy="434340"/>
          </a:xfrm>
          <a:prstGeom prst="rect">
            <a:avLst/>
          </a:prstGeom>
        </p:spPr>
        <p:txBody>
          <a:bodyPr vert="horz" lIns="0" tIns="0" rIns="0" bIns="0" rtlCol="0" anchor="t" anchorCtr="0">
            <a:noAutofit/>
          </a:bodyPr>
          <a:lstStyle>
            <a:lvl1pPr>
              <a:defRPr b="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524202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subtitle_Breadcrumb">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57200" y="1518828"/>
            <a:ext cx="11277600" cy="215444"/>
          </a:xfrm>
          <a:prstGeom prst="rect">
            <a:avLst/>
          </a:prstGeom>
        </p:spPr>
        <p:txBody>
          <a:bodyPr lIns="0" tIns="0" rIns="0" bIns="0">
            <a:spAutoFit/>
          </a:bodyPr>
          <a:lstStyle>
            <a:lvl1pPr marL="0" indent="0">
              <a:spcBef>
                <a:spcPts val="0"/>
              </a:spcBef>
              <a:spcAft>
                <a:spcPts val="0"/>
              </a:spcAft>
              <a:buNone/>
              <a:defRPr sz="1400" b="0">
                <a:solidFill>
                  <a:srgbClr val="53565A"/>
                </a:solidFill>
                <a:cs typeface="Open Sans Light" panose="020B030603050402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57200" y="1035830"/>
            <a:ext cx="11277600" cy="430887"/>
          </a:xfrm>
          <a:prstGeom prst="rect">
            <a:avLst/>
          </a:prstGeom>
        </p:spPr>
        <p:txBody>
          <a:bodyPr vert="horz" lIns="0" tIns="0" rIns="0" bIns="0" rtlCol="0" anchor="t" anchorCtr="0">
            <a:spAutoFit/>
          </a:bodyPr>
          <a:lstStyle>
            <a:lvl1pPr>
              <a:spcBef>
                <a:spcPts val="0"/>
              </a:spcBef>
              <a:spcAft>
                <a:spcPts val="0"/>
              </a:spcAft>
              <a:defRPr sz="2800" b="1">
                <a:solidFill>
                  <a:schemeClr val="accent1"/>
                </a:solidFill>
                <a:latin typeface="+mj-lt"/>
              </a:defRPr>
            </a:lvl1pPr>
          </a:lstStyle>
          <a:p>
            <a:r>
              <a:rPr lang="en-US"/>
              <a:t>Click to add title</a:t>
            </a:r>
          </a:p>
        </p:txBody>
      </p:sp>
      <p:grpSp>
        <p:nvGrpSpPr>
          <p:cNvPr id="2" name="Group 1">
            <a:extLst>
              <a:ext uri="{FF2B5EF4-FFF2-40B4-BE49-F238E27FC236}">
                <a16:creationId xmlns:a16="http://schemas.microsoft.com/office/drawing/2014/main" id="{CDC61E35-EFEB-20EA-B714-F2D6093C9C0B}"/>
              </a:ext>
            </a:extLst>
          </p:cNvPr>
          <p:cNvGrpSpPr>
            <a:grpSpLocks noChangeAspect="1"/>
          </p:cNvGrpSpPr>
          <p:nvPr userDrawn="1"/>
        </p:nvGrpSpPr>
        <p:grpSpPr>
          <a:xfrm>
            <a:off x="457200" y="342900"/>
            <a:ext cx="1819109" cy="345828"/>
            <a:chOff x="398463" y="404813"/>
            <a:chExt cx="1627187" cy="307976"/>
          </a:xfrm>
          <a:solidFill>
            <a:schemeClr val="tx1"/>
          </a:solidFill>
        </p:grpSpPr>
        <p:sp>
          <p:nvSpPr>
            <p:cNvPr id="4" name="Oval 5">
              <a:extLst>
                <a:ext uri="{FF2B5EF4-FFF2-40B4-BE49-F238E27FC236}">
                  <a16:creationId xmlns:a16="http://schemas.microsoft.com/office/drawing/2014/main" id="{5CEBFDDD-E9C8-688D-C071-ECE48BA6902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 name="Freeform 6">
              <a:extLst>
                <a:ext uri="{FF2B5EF4-FFF2-40B4-BE49-F238E27FC236}">
                  <a16:creationId xmlns:a16="http://schemas.microsoft.com/office/drawing/2014/main" id="{054F7858-5426-EC6F-04A9-A5A8DFA2CEB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8" name="Rectangle 7">
              <a:extLst>
                <a:ext uri="{FF2B5EF4-FFF2-40B4-BE49-F238E27FC236}">
                  <a16:creationId xmlns:a16="http://schemas.microsoft.com/office/drawing/2014/main" id="{605D13D9-445B-16F8-33D0-D7B00584FB3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9" name="Freeform 8">
              <a:extLst>
                <a:ext uri="{FF2B5EF4-FFF2-40B4-BE49-F238E27FC236}">
                  <a16:creationId xmlns:a16="http://schemas.microsoft.com/office/drawing/2014/main" id="{F5BADA26-DF2B-B201-B224-CD7EBF8CB38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0" name="Rectangle 9">
              <a:extLst>
                <a:ext uri="{FF2B5EF4-FFF2-40B4-BE49-F238E27FC236}">
                  <a16:creationId xmlns:a16="http://schemas.microsoft.com/office/drawing/2014/main" id="{38102450-6E3D-F8EC-EFB5-1A2F4F6570A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1" name="Rectangle 10">
              <a:extLst>
                <a:ext uri="{FF2B5EF4-FFF2-40B4-BE49-F238E27FC236}">
                  <a16:creationId xmlns:a16="http://schemas.microsoft.com/office/drawing/2014/main" id="{48334B96-82A8-3E90-EAB4-DB7946F45B2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2" name="Freeform 11">
              <a:extLst>
                <a:ext uri="{FF2B5EF4-FFF2-40B4-BE49-F238E27FC236}">
                  <a16:creationId xmlns:a16="http://schemas.microsoft.com/office/drawing/2014/main" id="{B225857E-4505-EC2D-43CF-91ABE5D94C9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3" name="Freeform 12">
              <a:extLst>
                <a:ext uri="{FF2B5EF4-FFF2-40B4-BE49-F238E27FC236}">
                  <a16:creationId xmlns:a16="http://schemas.microsoft.com/office/drawing/2014/main" id="{D231A3C3-D3B9-7AFF-01D5-6D5CA63A1F8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4" name="Freeform 13">
              <a:extLst>
                <a:ext uri="{FF2B5EF4-FFF2-40B4-BE49-F238E27FC236}">
                  <a16:creationId xmlns:a16="http://schemas.microsoft.com/office/drawing/2014/main" id="{D1CEA53B-BD14-DA08-51A7-547617B08E2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5" name="Freeform 14">
              <a:extLst>
                <a:ext uri="{FF2B5EF4-FFF2-40B4-BE49-F238E27FC236}">
                  <a16:creationId xmlns:a16="http://schemas.microsoft.com/office/drawing/2014/main" id="{1CA16776-0929-A365-BA4D-F0A97278BB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95814931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MS_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453841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3664028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 title Ne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0442448"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5" name="Text Placeholder 8">
            <a:extLst>
              <a:ext uri="{FF2B5EF4-FFF2-40B4-BE49-F238E27FC236}">
                <a16:creationId xmlns:a16="http://schemas.microsoft.com/office/drawing/2014/main" id="{A9776CBE-E3AA-46DE-B4E5-362056C70E08}"/>
              </a:ext>
            </a:extLst>
          </p:cNvPr>
          <p:cNvSpPr>
            <a:spLocks noGrp="1"/>
          </p:cNvSpPr>
          <p:nvPr>
            <p:ph type="body" sz="quarter" idx="13" hasCustomPrompt="1"/>
          </p:nvPr>
        </p:nvSpPr>
        <p:spPr>
          <a:xfrm>
            <a:off x="501650" y="651601"/>
            <a:ext cx="10442448" cy="566928"/>
          </a:xfrm>
          <a:prstGeom prst="rect">
            <a:avLst/>
          </a:prstGeom>
        </p:spPr>
        <p:txBody>
          <a:bodyPr lIns="0" tIns="0" rIns="0" bIns="0">
            <a:noAutofit/>
          </a:bodyPr>
          <a:lstStyle>
            <a:lvl1pPr marL="0" indent="0">
              <a:buNone/>
              <a:defRPr sz="1600" b="0">
                <a:solidFill>
                  <a:srgbClr val="575757"/>
                </a:solidFill>
              </a:defRPr>
            </a:lvl1pPr>
          </a:lstStyle>
          <a:p>
            <a:pPr lvl="0"/>
            <a:r>
              <a:rPr lang="en-US"/>
              <a:t>Click to add subtitle</a:t>
            </a:r>
          </a:p>
        </p:txBody>
      </p:sp>
      <p:pic>
        <p:nvPicPr>
          <p:cNvPr id="7" name="Picture 6">
            <a:extLst>
              <a:ext uri="{FF2B5EF4-FFF2-40B4-BE49-F238E27FC236}">
                <a16:creationId xmlns:a16="http://schemas.microsoft.com/office/drawing/2014/main" id="{A2CC664E-F0C5-4A77-9604-2DA596217798}"/>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11093092" y="170631"/>
            <a:ext cx="983123" cy="914400"/>
          </a:xfrm>
          <a:prstGeom prst="rect">
            <a:avLst/>
          </a:prstGeom>
        </p:spPr>
      </p:pic>
      <p:pic>
        <p:nvPicPr>
          <p:cNvPr id="6" name="Picture 5" descr="A picture containing outdoor object, black, dark, open&#10;&#10;Description automatically generated">
            <a:extLst>
              <a:ext uri="{FF2B5EF4-FFF2-40B4-BE49-F238E27FC236}">
                <a16:creationId xmlns:a16="http://schemas.microsoft.com/office/drawing/2014/main" id="{28AE2843-6082-415D-975D-1C04712ACCA9}"/>
              </a:ext>
            </a:extLst>
          </p:cNvPr>
          <p:cNvPicPr>
            <a:picLocks noChangeAspect="1"/>
          </p:cNvPicPr>
          <p:nvPr userDrawn="1"/>
        </p:nvPicPr>
        <p:blipFill rotWithShape="1">
          <a:blip r:embed="rId3">
            <a:alphaModFix amt="30000"/>
          </a:blip>
          <a:srcRect r="11753"/>
          <a:stretch/>
        </p:blipFill>
        <p:spPr>
          <a:xfrm>
            <a:off x="-1" y="1227095"/>
            <a:ext cx="12192001" cy="5182172"/>
          </a:xfrm>
          <a:prstGeom prst="rect">
            <a:avLst/>
          </a:prstGeom>
          <a:ln w="12700">
            <a:noFill/>
          </a:ln>
        </p:spPr>
      </p:pic>
    </p:spTree>
    <p:extLst>
      <p:ext uri="{BB962C8B-B14F-4D97-AF65-F5344CB8AC3E}">
        <p14:creationId xmlns:p14="http://schemas.microsoft.com/office/powerpoint/2010/main" val="20551030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2806422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 name="Group 1">
            <a:extLst>
              <a:ext uri="{FF2B5EF4-FFF2-40B4-BE49-F238E27FC236}">
                <a16:creationId xmlns:a16="http://schemas.microsoft.com/office/drawing/2014/main" id="{68A7555D-9EA2-0842-88A7-4A9429A2B606}"/>
              </a:ext>
            </a:extLst>
          </p:cNvPr>
          <p:cNvGrpSpPr/>
          <p:nvPr userDrawn="1"/>
        </p:nvGrpSpPr>
        <p:grpSpPr>
          <a:xfrm>
            <a:off x="469900" y="457761"/>
            <a:ext cx="1998000" cy="374400"/>
            <a:chOff x="469900" y="457761"/>
            <a:chExt cx="1998000" cy="374400"/>
          </a:xfrm>
        </p:grpSpPr>
        <p:sp>
          <p:nvSpPr>
            <p:cNvPr id="23"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userDrawn="1">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199605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CD885-1E35-1E63-5EBC-67CC96C934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C1B067-DA07-4777-81D4-4121DE4310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173C0D-1800-871F-92FD-05BCB179B579}"/>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4854B316-CF15-30ED-BCBE-E123DEA8B6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EA9D6-6D3C-EC03-D71F-ADB9E3332B82}"/>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3298933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840371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6005141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8865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head Black">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B580837-1B95-1546-8ADC-A69000EBEE54}"/>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0" name="Text Placeholder 8">
            <a:extLst>
              <a:ext uri="{FF2B5EF4-FFF2-40B4-BE49-F238E27FC236}">
                <a16:creationId xmlns:a16="http://schemas.microsoft.com/office/drawing/2014/main" id="{9F62AF77-09F9-B142-AECB-399BB0864EBC}"/>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1" name="Title Placeholder 1">
            <a:extLst>
              <a:ext uri="{FF2B5EF4-FFF2-40B4-BE49-F238E27FC236}">
                <a16:creationId xmlns:a16="http://schemas.microsoft.com/office/drawing/2014/main" id="{B3DC9768-1510-D04E-91BD-90B8972E5FFB}"/>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6" name="TextBox 5"/>
          <p:cNvSpPr txBox="1"/>
          <p:nvPr userDrawn="1"/>
        </p:nvSpPr>
        <p:spPr>
          <a:xfrm>
            <a:off x="8686800" y="6477000"/>
            <a:ext cx="2879557"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23 </a:t>
            </a:r>
            <a:r>
              <a:rPr lang="fr-FR" sz="650" noProof="0">
                <a:solidFill>
                  <a:schemeClr val="bg1"/>
                </a:solidFill>
              </a:rPr>
              <a:t>Deloitte Touche Tohmatsu India, LLP</a:t>
            </a:r>
            <a:r>
              <a:rPr lang="en-US" sz="650" noProof="0">
                <a:solidFill>
                  <a:schemeClr val="bg1"/>
                </a:solidFill>
              </a:rPr>
              <a:t>. All rights reserved. </a:t>
            </a:r>
          </a:p>
        </p:txBody>
      </p:sp>
    </p:spTree>
    <p:extLst>
      <p:ext uri="{BB962C8B-B14F-4D97-AF65-F5344CB8AC3E}">
        <p14:creationId xmlns:p14="http://schemas.microsoft.com/office/powerpoint/2010/main" val="18534829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6469753-9AFC-4942-AE3D-D45AE76D82B7}"/>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2" name="Text Placeholder 8">
            <a:extLst>
              <a:ext uri="{FF2B5EF4-FFF2-40B4-BE49-F238E27FC236}">
                <a16:creationId xmlns:a16="http://schemas.microsoft.com/office/drawing/2014/main" id="{11438D94-9E78-DB46-8005-9BB6843830D6}"/>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solidFill>
                  <a:schemeClr val="bg1"/>
                </a:solidFill>
              </a:defRPr>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B33C2647-05D6-0F44-9218-9A454AE01A2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a:solidFill>
                  <a:schemeClr val="bg1"/>
                </a:solidFill>
              </a:defRPr>
            </a:lvl1pPr>
          </a:lstStyle>
          <a:p>
            <a:r>
              <a:rPr lang="en-US" noProof="0"/>
              <a:t>Click to edit Master title style</a:t>
            </a:r>
          </a:p>
        </p:txBody>
      </p:sp>
      <p:sp>
        <p:nvSpPr>
          <p:cNvPr id="15" name="Text Placeholder 4">
            <a:extLst>
              <a:ext uri="{FF2B5EF4-FFF2-40B4-BE49-F238E27FC236}">
                <a16:creationId xmlns:a16="http://schemas.microsoft.com/office/drawing/2014/main" id="{D9D54F89-B56E-E943-9A3E-84F79DBDDBB0}"/>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9" name="TextBox 8"/>
          <p:cNvSpPr txBox="1"/>
          <p:nvPr userDrawn="1"/>
        </p:nvSpPr>
        <p:spPr>
          <a:xfrm>
            <a:off x="8686800" y="6477000"/>
            <a:ext cx="2879557"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23 </a:t>
            </a:r>
            <a:r>
              <a:rPr lang="fr-FR" sz="650" noProof="0">
                <a:solidFill>
                  <a:schemeClr val="bg1"/>
                </a:solidFill>
              </a:rPr>
              <a:t>Deloitte Touche Tohmatsu India, LLP</a:t>
            </a:r>
            <a:r>
              <a:rPr lang="en-US" sz="650" noProof="0">
                <a:solidFill>
                  <a:schemeClr val="bg1"/>
                </a:solidFill>
              </a:rPr>
              <a:t>. All rights reserved. </a:t>
            </a:r>
          </a:p>
        </p:txBody>
      </p:sp>
    </p:spTree>
    <p:extLst>
      <p:ext uri="{BB962C8B-B14F-4D97-AF65-F5344CB8AC3E}">
        <p14:creationId xmlns:p14="http://schemas.microsoft.com/office/powerpoint/2010/main" val="13141846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469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211326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41851006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874366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58392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D289C-EDE7-53F4-EE5B-DD647F2C6B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452F58-93EC-403E-A27F-0C804EC67D4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9905BD-83E0-1EFF-6684-3BA70CECAE8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F3AABE-8E23-1CA0-E1CF-D71C7E506BE4}"/>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6" name="Footer Placeholder 5">
            <a:extLst>
              <a:ext uri="{FF2B5EF4-FFF2-40B4-BE49-F238E27FC236}">
                <a16:creationId xmlns:a16="http://schemas.microsoft.com/office/drawing/2014/main" id="{0EBBDB7B-146D-3AC6-9058-7091DFF655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832850-D589-9A00-3F71-37F72F20AD93}"/>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19845634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586691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316606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511851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989725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16372475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a:t>PICTURE</a:t>
            </a:r>
          </a:p>
        </p:txBody>
      </p:sp>
      <p:sp>
        <p:nvSpPr>
          <p:cNvPr id="41" name="Text Placeholder 4"/>
          <p:cNvSpPr>
            <a:spLocks noGrp="1"/>
          </p:cNvSpPr>
          <p:nvPr>
            <p:ph type="body" sz="quarter" idx="18" hasCustomPrompt="1"/>
          </p:nvPr>
        </p:nvSpPr>
        <p:spPr>
          <a:xfrm>
            <a:off x="5402264" y="1264981"/>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a:t>2-5 Word Tagline</a:t>
            </a:r>
          </a:p>
        </p:txBody>
      </p:sp>
      <p:sp>
        <p:nvSpPr>
          <p:cNvPr id="88" name="Text Placeholder 116"/>
          <p:cNvSpPr>
            <a:spLocks noGrp="1"/>
          </p:cNvSpPr>
          <p:nvPr>
            <p:ph type="body" sz="quarter" idx="25" hasCustomPrompt="1"/>
          </p:nvPr>
        </p:nvSpPr>
        <p:spPr>
          <a:xfrm>
            <a:off x="5402263" y="3498179"/>
            <a:ext cx="3462337" cy="219678"/>
          </a:xfrm>
          <a:prstGeom prst="rect">
            <a:avLst/>
          </a:prstGeom>
        </p:spPr>
        <p:txBody>
          <a:bodyPr/>
          <a:lstStyle>
            <a:lvl1pPr marL="0" indent="0">
              <a:buNone/>
              <a:defRPr sz="1000" b="1" spc="0"/>
            </a:lvl1pPr>
          </a:lstStyle>
          <a:p>
            <a:r>
              <a:rPr lang="en-US"/>
              <a:t>Solution</a:t>
            </a:r>
          </a:p>
        </p:txBody>
      </p:sp>
      <p:sp>
        <p:nvSpPr>
          <p:cNvPr id="89" name="Text Placeholder 117"/>
          <p:cNvSpPr>
            <a:spLocks noGrp="1"/>
          </p:cNvSpPr>
          <p:nvPr>
            <p:ph type="body" sz="quarter" idx="26" hasCustomPrompt="1"/>
          </p:nvPr>
        </p:nvSpPr>
        <p:spPr>
          <a:xfrm>
            <a:off x="5400674" y="4952456"/>
            <a:ext cx="3463925" cy="208097"/>
          </a:xfrm>
          <a:prstGeom prst="rect">
            <a:avLst/>
          </a:prstGeom>
        </p:spPr>
        <p:txBody>
          <a:bodyPr/>
          <a:lstStyle>
            <a:lvl1pPr marL="0" indent="0">
              <a:buNone/>
              <a:defRPr sz="1000" b="1" spc="0"/>
            </a:lvl1pPr>
          </a:lstStyle>
          <a:p>
            <a:r>
              <a:rPr lang="en-US"/>
              <a:t>Impact</a:t>
            </a:r>
          </a:p>
        </p:txBody>
      </p:sp>
      <p:sp>
        <p:nvSpPr>
          <p:cNvPr id="90" name="Text Placeholder 121"/>
          <p:cNvSpPr>
            <a:spLocks noGrp="1"/>
          </p:cNvSpPr>
          <p:nvPr>
            <p:ph type="body" sz="quarter" idx="31" hasCustomPrompt="1"/>
          </p:nvPr>
        </p:nvSpPr>
        <p:spPr>
          <a:xfrm>
            <a:off x="5400675" y="2051475"/>
            <a:ext cx="3463925" cy="228600"/>
          </a:xfrm>
          <a:prstGeom prst="rect">
            <a:avLst/>
          </a:prstGeom>
        </p:spPr>
        <p:txBody>
          <a:bodyPr/>
          <a:lstStyle>
            <a:lvl1pPr marL="0" indent="0">
              <a:buNone/>
              <a:defRPr sz="1000" b="1" spc="0"/>
            </a:lvl1pPr>
          </a:lstStyle>
          <a:p>
            <a:r>
              <a:rPr lang="en-US"/>
              <a:t>Issue</a:t>
            </a:r>
          </a:p>
        </p:txBody>
      </p:sp>
      <p:sp>
        <p:nvSpPr>
          <p:cNvPr id="3" name="Text Placeholder 2"/>
          <p:cNvSpPr>
            <a:spLocks noGrp="1"/>
          </p:cNvSpPr>
          <p:nvPr>
            <p:ph type="body" sz="quarter" idx="39" hasCustomPrompt="1"/>
          </p:nvPr>
        </p:nvSpPr>
        <p:spPr>
          <a:xfrm>
            <a:off x="5400675" y="2280075"/>
            <a:ext cx="5402005" cy="967957"/>
          </a:xfrm>
          <a:prstGeom prst="rect">
            <a:avLst/>
          </a:prstGeom>
        </p:spPr>
        <p:txBody>
          <a:bodyPr wrap="square" bIns="182880">
            <a:spAutoFit/>
          </a:bodyPr>
          <a:lstStyle>
            <a:lvl1pPr marL="0" indent="0">
              <a:lnSpc>
                <a:spcPct val="130000"/>
              </a:lnSpc>
              <a:buNone/>
              <a:defRPr lang="en-US" sz="1000" b="0" i="0" smtClean="0">
                <a:effectLst/>
              </a:defRPr>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5" name="Text Placeholder 2"/>
          <p:cNvSpPr>
            <a:spLocks noGrp="1"/>
          </p:cNvSpPr>
          <p:nvPr>
            <p:ph type="body" sz="quarter" idx="40" hasCustomPrompt="1"/>
          </p:nvPr>
        </p:nvSpPr>
        <p:spPr>
          <a:xfrm>
            <a:off x="5400675" y="3732176"/>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
        <p:nvSpPr>
          <p:cNvPr id="19" name="Text Placeholder 2"/>
          <p:cNvSpPr>
            <a:spLocks noGrp="1"/>
          </p:cNvSpPr>
          <p:nvPr>
            <p:ph type="body" sz="quarter" idx="41" hasCustomPrompt="1"/>
          </p:nvPr>
        </p:nvSpPr>
        <p:spPr>
          <a:xfrm>
            <a:off x="5400675" y="5160553"/>
            <a:ext cx="5402005" cy="967957"/>
          </a:xfrm>
          <a:prstGeom prst="rect">
            <a:avLst/>
          </a:prstGeom>
        </p:spPr>
        <p:txBody>
          <a:bodyPr wrap="square" bIns="182880">
            <a:spAutoFit/>
          </a:bodyPr>
          <a:lstStyle>
            <a:lvl1pPr marL="0" indent="0">
              <a:lnSpc>
                <a:spcPct val="130000"/>
              </a:lnSpc>
              <a:buNone/>
              <a:defRPr sz="10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b="0" i="0">
                <a:solidFill>
                  <a:srgbClr val="000000"/>
                </a:solidFill>
                <a:effectLst/>
                <a:latin typeface="Open Sans" panose="020B0606030504020204" pitchFamily="34" charset="0"/>
              </a:rPr>
              <a:t>Nam libero tempore, cum </a:t>
            </a:r>
            <a:r>
              <a:rPr lang="en-US" b="0" i="0" err="1">
                <a:solidFill>
                  <a:srgbClr val="000000"/>
                </a:solidFill>
                <a:effectLst/>
                <a:latin typeface="Open Sans" panose="020B0606030504020204" pitchFamily="34" charset="0"/>
              </a:rPr>
              <a:t>soluta</a:t>
            </a:r>
            <a:r>
              <a:rPr lang="en-US" b="0" i="0">
                <a:solidFill>
                  <a:srgbClr val="000000"/>
                </a:solidFill>
                <a:effectLst/>
                <a:latin typeface="Open Sans" panose="020B0606030504020204" pitchFamily="34" charset="0"/>
              </a:rPr>
              <a:t> nobis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ligendi</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ptio</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cumque</a:t>
            </a:r>
            <a:r>
              <a:rPr lang="en-US" b="0" i="0">
                <a:solidFill>
                  <a:srgbClr val="000000"/>
                </a:solidFill>
                <a:effectLst/>
                <a:latin typeface="Open Sans" panose="020B0606030504020204" pitchFamily="34" charset="0"/>
              </a:rPr>
              <a:t> nihil </a:t>
            </a:r>
            <a:r>
              <a:rPr lang="en-US" b="0" i="0" err="1">
                <a:solidFill>
                  <a:srgbClr val="000000"/>
                </a:solidFill>
                <a:effectLst/>
                <a:latin typeface="Open Sans" panose="020B0606030504020204" pitchFamily="34" charset="0"/>
              </a:rPr>
              <a:t>impedit</a:t>
            </a:r>
            <a:r>
              <a:rPr lang="en-US" b="0" i="0">
                <a:solidFill>
                  <a:srgbClr val="000000"/>
                </a:solidFill>
                <a:effectLst/>
                <a:latin typeface="Open Sans" panose="020B0606030504020204" pitchFamily="34" charset="0"/>
              </a:rPr>
              <a:t> quo minus id quod </a:t>
            </a:r>
            <a:r>
              <a:rPr lang="en-US" b="0" i="0" err="1">
                <a:solidFill>
                  <a:srgbClr val="000000"/>
                </a:solidFill>
                <a:effectLst/>
                <a:latin typeface="Open Sans" panose="020B0606030504020204" pitchFamily="34" charset="0"/>
              </a:rPr>
              <a:t>maxim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lacea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facer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possim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volupta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ssumenda</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s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mnis</a:t>
            </a:r>
            <a:r>
              <a:rPr lang="en-US" b="0" i="0">
                <a:solidFill>
                  <a:srgbClr val="000000"/>
                </a:solidFill>
                <a:effectLst/>
                <a:latin typeface="Open Sans" panose="020B0606030504020204" pitchFamily="34" charset="0"/>
              </a:rPr>
              <a:t> dolor </a:t>
            </a:r>
            <a:r>
              <a:rPr lang="en-US" b="0" i="0" err="1">
                <a:solidFill>
                  <a:srgbClr val="000000"/>
                </a:solidFill>
                <a:effectLst/>
                <a:latin typeface="Open Sans" panose="020B0606030504020204" pitchFamily="34" charset="0"/>
              </a:rPr>
              <a:t>repellend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Tempor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em</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quibusdam</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offici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debiti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aut</a:t>
            </a:r>
            <a:r>
              <a:rPr lang="en-US" b="0" i="0">
                <a:solidFill>
                  <a:srgbClr val="000000"/>
                </a:solidFill>
                <a:effectLst/>
                <a:latin typeface="Open Sans" panose="020B0606030504020204" pitchFamily="34" charset="0"/>
              </a:rPr>
              <a:t> rerum </a:t>
            </a:r>
            <a:r>
              <a:rPr lang="en-US" b="0" i="0" err="1">
                <a:solidFill>
                  <a:srgbClr val="000000"/>
                </a:solidFill>
                <a:effectLst/>
                <a:latin typeface="Open Sans" panose="020B0606030504020204" pitchFamily="34" charset="0"/>
              </a:rPr>
              <a:t>necessitatibu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aep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eveniet</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u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voluptates</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repudiandae</a:t>
            </a:r>
            <a:r>
              <a:rPr lang="en-US" b="0" i="0">
                <a:solidFill>
                  <a:srgbClr val="000000"/>
                </a:solidFill>
                <a:effectLst/>
                <a:latin typeface="Open Sans" panose="020B0606030504020204" pitchFamily="34" charset="0"/>
              </a:rPr>
              <a:t> </a:t>
            </a:r>
            <a:r>
              <a:rPr lang="en-US" b="0" i="0" err="1">
                <a:solidFill>
                  <a:srgbClr val="000000"/>
                </a:solidFill>
                <a:effectLst/>
                <a:latin typeface="Open Sans" panose="020B0606030504020204" pitchFamily="34" charset="0"/>
              </a:rPr>
              <a:t>sint</a:t>
            </a:r>
            <a:r>
              <a:rPr lang="en-US" b="0" i="0">
                <a:solidFill>
                  <a:srgbClr val="000000"/>
                </a:solidFill>
                <a:effectLst/>
                <a:latin typeface="Open Sans" panose="020B0606030504020204" pitchFamily="34" charset="0"/>
              </a:rPr>
              <a:t> et </a:t>
            </a:r>
            <a:r>
              <a:rPr lang="en-US" b="0" i="0" err="1">
                <a:solidFill>
                  <a:srgbClr val="000000"/>
                </a:solidFill>
                <a:effectLst/>
                <a:latin typeface="Open Sans" panose="020B0606030504020204" pitchFamily="34" charset="0"/>
              </a:rPr>
              <a:t>molestiae</a:t>
            </a:r>
            <a:r>
              <a:rPr lang="en-US" b="0" i="0">
                <a:solidFill>
                  <a:srgbClr val="000000"/>
                </a:solidFill>
                <a:effectLst/>
                <a:latin typeface="Open Sans" panose="020B0606030504020204" pitchFamily="34" charset="0"/>
              </a:rPr>
              <a:t> non </a:t>
            </a:r>
            <a:r>
              <a:rPr lang="en-US" b="0" i="0" err="1">
                <a:solidFill>
                  <a:srgbClr val="000000"/>
                </a:solidFill>
                <a:effectLst/>
                <a:latin typeface="Open Sans" panose="020B0606030504020204" pitchFamily="34" charset="0"/>
              </a:rPr>
              <a:t>recusandae</a:t>
            </a:r>
            <a:r>
              <a:rPr lang="en-US" b="0" i="0">
                <a:solidFill>
                  <a:srgbClr val="000000"/>
                </a:solidFill>
                <a:effectLst/>
                <a:latin typeface="Open Sans" panose="020B0606030504020204" pitchFamily="34" charset="0"/>
              </a:rPr>
              <a:t>. </a:t>
            </a:r>
            <a:endParaRPr lang="en-US"/>
          </a:p>
        </p:txBody>
      </p:sp>
    </p:spTree>
    <p:extLst>
      <p:ext uri="{BB962C8B-B14F-4D97-AF65-F5344CB8AC3E}">
        <p14:creationId xmlns:p14="http://schemas.microsoft.com/office/powerpoint/2010/main" val="15747640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278313" y="4580781"/>
            <a:ext cx="7443787" cy="144142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19 Deloitte Development LLC. </a:t>
            </a:r>
            <a:br>
              <a:rPr kumimoji="0" lang="en-US" sz="800" b="0" i="0" u="none" strike="noStrike" kern="1200" cap="none" spc="0" normalizeH="0" baseline="0" noProof="0">
                <a:ln>
                  <a:noFill/>
                </a:ln>
                <a:solidFill>
                  <a:schemeClr val="bg1"/>
                </a:solidFill>
                <a:effectLst/>
                <a:uLnTx/>
                <a:uFillTx/>
                <a:latin typeface="+mn-lt"/>
                <a:ea typeface="+mn-ea"/>
                <a:cs typeface="+mn-cs"/>
              </a:rPr>
            </a:br>
            <a:r>
              <a:rPr kumimoji="0" lang="en-US" sz="800" b="0" i="0" u="none" strike="noStrike" kern="1200" cap="none" spc="0" normalizeH="0" baseline="0" noProof="0">
                <a:ln>
                  <a:noFill/>
                </a:ln>
                <a:solidFill>
                  <a:schemeClr val="bg1"/>
                </a:solidFill>
                <a:effectLst/>
                <a:uLnTx/>
                <a:uFillTx/>
                <a:latin typeface="+mn-lt"/>
                <a:ea typeface="+mn-ea"/>
                <a:cs typeface="+mn-cs"/>
              </a:rPr>
              <a:t>All rights reserved. Member of Deloitte Touche Tohmatsu Limited</a:t>
            </a:r>
          </a:p>
        </p:txBody>
      </p:sp>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503925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6936374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12037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040708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7CBD2-4F16-9638-83FB-2C5BB74C5CC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3F162ED-B477-1D46-80F1-BE25AECF17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DCDC21-1ED8-05C7-C7DE-3529E04A68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96A6434-4299-C8D0-A7DE-0EA4150832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F25A329-45DE-D9CD-71A1-8755A15064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977A8DA-AB65-DE15-D9BE-2BAAA351BF17}"/>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8" name="Footer Placeholder 7">
            <a:extLst>
              <a:ext uri="{FF2B5EF4-FFF2-40B4-BE49-F238E27FC236}">
                <a16:creationId xmlns:a16="http://schemas.microsoft.com/office/drawing/2014/main" id="{FD8931D1-52C3-BFB0-1D9E-485541B22B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9CAB51-E383-3F0F-B358-159E0EBE21AA}"/>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31637249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solidFill>
                  <a:schemeClr val="tx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 name="Group 1">
            <a:extLst>
              <a:ext uri="{FF2B5EF4-FFF2-40B4-BE49-F238E27FC236}">
                <a16:creationId xmlns:a16="http://schemas.microsoft.com/office/drawing/2014/main" id="{68A7555D-9EA2-0842-88A7-4A9429A2B606}"/>
              </a:ext>
            </a:extLst>
          </p:cNvPr>
          <p:cNvGrpSpPr/>
          <p:nvPr userDrawn="1"/>
        </p:nvGrpSpPr>
        <p:grpSpPr>
          <a:xfrm>
            <a:off x="469900" y="457761"/>
            <a:ext cx="1998000" cy="374400"/>
            <a:chOff x="469900" y="457761"/>
            <a:chExt cx="1998000" cy="374400"/>
          </a:xfrm>
        </p:grpSpPr>
        <p:sp>
          <p:nvSpPr>
            <p:cNvPr id="23"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7"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
        <p:nvSpPr>
          <p:cNvPr id="33" name="Picture Placeholder 8"/>
          <p:cNvSpPr>
            <a:spLocks noGrp="1"/>
          </p:cNvSpPr>
          <p:nvPr userDrawn="1">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89839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2484674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1"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25228880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8186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nk Black">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9874F89-BB35-1141-9BBC-DE91CF6CB30D}"/>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5" name="TextBox 4"/>
          <p:cNvSpPr txBox="1"/>
          <p:nvPr userDrawn="1"/>
        </p:nvSpPr>
        <p:spPr>
          <a:xfrm>
            <a:off x="8686800" y="6477000"/>
            <a:ext cx="2879557"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a:solidFill>
                  <a:schemeClr val="bg1"/>
                </a:solidFill>
              </a:rPr>
              <a:t>Copyright © 2023 </a:t>
            </a:r>
            <a:r>
              <a:rPr lang="fr-FR" sz="650" noProof="0">
                <a:solidFill>
                  <a:schemeClr val="bg1"/>
                </a:solidFill>
              </a:rPr>
              <a:t>Deloitte Touche Tohmatsu India, LLP</a:t>
            </a:r>
            <a:r>
              <a:rPr lang="en-US" sz="650" noProof="0">
                <a:solidFill>
                  <a:schemeClr val="bg1"/>
                </a:solidFill>
              </a:rPr>
              <a:t>. All rights reserved. </a:t>
            </a:r>
          </a:p>
        </p:txBody>
      </p:sp>
    </p:spTree>
    <p:extLst>
      <p:ext uri="{BB962C8B-B14F-4D97-AF65-F5344CB8AC3E}">
        <p14:creationId xmlns:p14="http://schemas.microsoft.com/office/powerpoint/2010/main" val="36731381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
        <p:nvSpPr>
          <p:cNvPr id="12" name="Text Placeholder 8">
            <a:extLst>
              <a:ext uri="{FF2B5EF4-FFF2-40B4-BE49-F238E27FC236}">
                <a16:creationId xmlns:a16="http://schemas.microsoft.com/office/drawing/2014/main" id="{557E889A-2B4E-6943-9880-42F95E9FDDDA}"/>
              </a:ext>
            </a:extLst>
          </p:cNvPr>
          <p:cNvSpPr>
            <a:spLocks noGrp="1"/>
          </p:cNvSpPr>
          <p:nvPr>
            <p:ph type="body" sz="quarter" idx="14"/>
          </p:nvPr>
        </p:nvSpPr>
        <p:spPr>
          <a:xfrm>
            <a:off x="4798060" y="1020129"/>
            <a:ext cx="692404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13" name="Title Placeholder 1">
            <a:extLst>
              <a:ext uri="{FF2B5EF4-FFF2-40B4-BE49-F238E27FC236}">
                <a16:creationId xmlns:a16="http://schemas.microsoft.com/office/drawing/2014/main" id="{3387087B-BF3A-3A43-B143-F2546DE13F5B}"/>
              </a:ext>
            </a:extLst>
          </p:cNvPr>
          <p:cNvSpPr>
            <a:spLocks noGrp="1"/>
          </p:cNvSpPr>
          <p:nvPr>
            <p:ph type="title"/>
          </p:nvPr>
        </p:nvSpPr>
        <p:spPr bwMode="gray">
          <a:xfrm>
            <a:off x="4798060" y="565723"/>
            <a:ext cx="6924040" cy="451866"/>
          </a:xfrm>
          <a:prstGeom prst="rect">
            <a:avLst/>
          </a:prstGeom>
        </p:spPr>
        <p:txBody>
          <a:bodyPr vert="horz"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15586502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a:t>Click icon to add picture</a:t>
            </a:r>
          </a:p>
        </p:txBody>
      </p:sp>
    </p:spTree>
    <p:extLst>
      <p:ext uri="{BB962C8B-B14F-4D97-AF65-F5344CB8AC3E}">
        <p14:creationId xmlns:p14="http://schemas.microsoft.com/office/powerpoint/2010/main" val="19652848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No Panel">
    <p:spTree>
      <p:nvGrpSpPr>
        <p:cNvPr id="1" name=""/>
        <p:cNvGrpSpPr/>
        <p:nvPr/>
      </p:nvGrpSpPr>
      <p:grpSpPr>
        <a:xfrm>
          <a:off x="0" y="0"/>
          <a:ext cx="0" cy="0"/>
          <a:chOff x="0" y="0"/>
          <a:chExt cx="0" cy="0"/>
        </a:xfrm>
      </p:grpSpPr>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tx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1859539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1"/>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518946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51AE6C69-C9F2-1844-8ED5-33B14D770F41}"/>
              </a:ext>
            </a:extLst>
          </p:cNvPr>
          <p:cNvSpPr>
            <a:spLocks noGrp="1"/>
          </p:cNvSpPr>
          <p:nvPr>
            <p:ph type="title"/>
          </p:nvPr>
        </p:nvSpPr>
        <p:spPr>
          <a:xfrm>
            <a:off x="469900" y="804672"/>
            <a:ext cx="3627438" cy="896112"/>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45CC406-52D4-0544-88D9-96309627E873}"/>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64927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C96CF-ADF8-06EE-FB86-47371042F75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98C897D-C530-17F3-B587-8632262E6BB2}"/>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4" name="Footer Placeholder 3">
            <a:extLst>
              <a:ext uri="{FF2B5EF4-FFF2-40B4-BE49-F238E27FC236}">
                <a16:creationId xmlns:a16="http://schemas.microsoft.com/office/drawing/2014/main" id="{45053494-3687-864F-8909-2BC6F08697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A1EAE0-C826-003B-D013-A80EA0BD1442}"/>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42172364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E434C6DD-FF38-5742-8DC5-D2E59B767A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FA0DECF8-FAA2-DC42-B5A2-E0FD5856E5BE}"/>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333112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9AC26BC7-4BA6-7F4C-9340-B434A5D456F7}"/>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7DE92065-1A2A-9E46-A2D5-0FC3FB3454CF}"/>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710650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1/3 Green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27751025-54BE-494B-8860-D9C91684F749}"/>
              </a:ext>
            </a:extLst>
          </p:cNvPr>
          <p:cNvSpPr>
            <a:spLocks noGrp="1"/>
          </p:cNvSpPr>
          <p:nvPr>
            <p:ph type="title"/>
          </p:nvPr>
        </p:nvSpPr>
        <p:spPr>
          <a:xfrm>
            <a:off x="469900" y="804672"/>
            <a:ext cx="3627438" cy="895541"/>
          </a:xfrm>
        </p:spPr>
        <p:txBody>
          <a:bodyPr vert="horz" lIns="0" tIns="45720" rIns="0" bIns="0" rtlCol="0" anchor="t" anchorCtr="0">
            <a:noAutofit/>
          </a:bodyPr>
          <a:lstStyle>
            <a:lvl1pPr>
              <a:defRPr lang="en-US" sz="2800" spc="-75" dirty="0">
                <a:solidFill>
                  <a:schemeClr val="bg1"/>
                </a:solidFill>
                <a:latin typeface="+mj-lt"/>
              </a:defRPr>
            </a:lvl1pPr>
          </a:lstStyle>
          <a:p>
            <a:pPr lvl="0" defTabSz="685800">
              <a:lnSpc>
                <a:spcPct val="85000"/>
              </a:lnSpc>
            </a:pPr>
            <a:r>
              <a:rPr lang="en-US"/>
              <a:t>Click to edit Master title style</a:t>
            </a:r>
          </a:p>
        </p:txBody>
      </p:sp>
      <p:sp>
        <p:nvSpPr>
          <p:cNvPr id="6" name="Text Placeholder 4">
            <a:extLst>
              <a:ext uri="{FF2B5EF4-FFF2-40B4-BE49-F238E27FC236}">
                <a16:creationId xmlns:a16="http://schemas.microsoft.com/office/drawing/2014/main" id="{2CC69A61-1D8A-734D-A9CB-C0ED459EB1B2}"/>
              </a:ext>
            </a:extLst>
          </p:cNvPr>
          <p:cNvSpPr>
            <a:spLocks noGrp="1"/>
          </p:cNvSpPr>
          <p:nvPr>
            <p:ph type="body" sz="quarter" idx="16" hasCustomPrompt="1"/>
          </p:nvPr>
        </p:nvSpPr>
        <p:spPr>
          <a:xfrm>
            <a:off x="469901" y="2743200"/>
            <a:ext cx="3627438" cy="1169988"/>
          </a:xfrm>
        </p:spPr>
        <p:txBody>
          <a:bodyPr/>
          <a:lstStyle>
            <a:lvl1pPr marL="0" indent="0">
              <a:lnSpc>
                <a:spcPct val="130000"/>
              </a:lnSpc>
              <a:buNone/>
              <a:defRPr sz="1200"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20072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3600" b="0" baseline="0" dirty="0">
                <a:solidFill>
                  <a:schemeClr val="bg1"/>
                </a:solidFill>
                <a:latin typeface="+mj-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7915275" y="4114800"/>
            <a:ext cx="4276725" cy="2743199"/>
          </a:xfrm>
        </p:spPr>
        <p:txBody>
          <a:bodyPr vert="horz" lIns="365760" tIns="0" rIns="365760" bIns="0" rtlCol="0">
            <a:noAutofit/>
          </a:bodyPr>
          <a:lstStyle>
            <a:lvl1pPr marL="0" indent="0">
              <a:buNone/>
              <a:defRPr lang="en-US" sz="1800" baseline="0" dirty="0">
                <a:solidFill>
                  <a:schemeClr val="bg1"/>
                </a:solidFill>
              </a:defRPr>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26697509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Closing">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435472A-0A6F-4C72-B8FD-DC675B4D216F}"/>
              </a:ext>
            </a:extLst>
          </p:cNvPr>
          <p:cNvSpPr txBox="1"/>
          <p:nvPr userDrawn="1"/>
        </p:nvSpPr>
        <p:spPr>
          <a:xfrm>
            <a:off x="469901" y="4580781"/>
            <a:ext cx="11252200" cy="1854354"/>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Deloitte refers to one or more of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This material is prepared by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India LLP (DTTILLP). This material (including any information contained in it) is intended to provide general information on a particular subject(s) and is not an exhaustive treatment of such subject(s) or a substitute to obtaining professional services or advice. This material may contain information sourced from publicly available information or other third party sources. DTTILLP does not independently verify any such sources and is not responsible for any loss whatsoever caused due to reliance placed on information sourced from such sources. None of DTTILLP,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Limited, its member firms, or their related entities (collectively, the “Deloitte Network”) is, by means of this material, rendering any kind of investment, legal or other professional advice or services. You should seek specific advice of the relevant professional(s) for these kind of services. This material or information is not intended to be relied upon as the sole basis for any decision which may affect you or your business. Before making any decision or taking any action that might affect your personal finances or business, you should consult a qualified professional adviser. No entity in the Deloitte Network shall be responsible for any loss whatsoever sustained by any person or entity by reason of access to, use of or reliance on, this material. By using this material or any information contained in it, the user accepts this entire notice and terms of use.</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Copyright © 2024 Deloitte </a:t>
            </a:r>
            <a:r>
              <a:rPr kumimoji="0" lang="en-US" sz="800" b="0" i="0" u="none" strike="noStrike" kern="1200" cap="none" spc="0" normalizeH="0" baseline="0" noProof="0" err="1">
                <a:ln>
                  <a:noFill/>
                </a:ln>
                <a:solidFill>
                  <a:schemeClr val="bg1"/>
                </a:solidFill>
                <a:effectLst/>
                <a:uLnTx/>
                <a:uFillTx/>
                <a:latin typeface="+mn-lt"/>
                <a:ea typeface="+mn-ea"/>
                <a:cs typeface="+mn-cs"/>
              </a:rPr>
              <a:t>Touche</a:t>
            </a:r>
            <a:r>
              <a:rPr kumimoji="0" lang="en-US" sz="800" b="0" i="0" u="none" strike="noStrike" kern="1200" cap="none" spc="0" normalizeH="0" baseline="0" noProof="0">
                <a:ln>
                  <a:noFill/>
                </a:ln>
                <a:solidFill>
                  <a:schemeClr val="bg1"/>
                </a:solidFill>
                <a:effectLst/>
                <a:uLnTx/>
                <a:uFillTx/>
                <a:latin typeface="+mn-lt"/>
                <a:ea typeface="+mn-ea"/>
                <a:cs typeface="+mn-cs"/>
              </a:rPr>
              <a:t> Tohmatsu India LLP. All rights reserved.</a:t>
            </a:r>
          </a:p>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Private and Confidential</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1" y="572155"/>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6035267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a:solidFill>
                  <a:schemeClr val="tx1"/>
                </a:solidFill>
                <a:latin typeface="+mj-lt"/>
              </a:rPr>
              <a:t>Do not use this</a:t>
            </a:r>
            <a:r>
              <a:rPr lang="en-US" sz="9600" b="0" baseline="0">
                <a:solidFill>
                  <a:schemeClr val="tx1"/>
                </a:solidFill>
                <a:latin typeface="+mj-lt"/>
              </a:rPr>
              <a:t> layout</a:t>
            </a:r>
          </a:p>
          <a:p>
            <a:pPr algn="ctr"/>
            <a:endParaRPr lang="en-US" sz="2800" b="1" baseline="0">
              <a:solidFill>
                <a:schemeClr val="tx1"/>
              </a:solidFill>
              <a:latin typeface="+mj-lt"/>
            </a:endParaRPr>
          </a:p>
          <a:p>
            <a:pPr algn="ctr"/>
            <a:r>
              <a:rPr lang="en-US" sz="2800" b="0" baseline="0">
                <a:solidFill>
                  <a:schemeClr val="tx1"/>
                </a:solidFill>
                <a:latin typeface="+mn-lt"/>
              </a:rPr>
              <a:t>Delete any master slides that occur after this layout</a:t>
            </a:r>
            <a:endParaRPr lang="en-US" sz="2800" b="0">
              <a:solidFill>
                <a:schemeClr val="tx1"/>
              </a:solidFill>
              <a:latin typeface="+mn-lt"/>
            </a:endParaRPr>
          </a:p>
        </p:txBody>
      </p:sp>
    </p:spTree>
    <p:extLst>
      <p:ext uri="{BB962C8B-B14F-4D97-AF65-F5344CB8AC3E}">
        <p14:creationId xmlns:p14="http://schemas.microsoft.com/office/powerpoint/2010/main" val="1874187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0" i="0">
                <a:solidFill>
                  <a:schemeClr val="tx1"/>
                </a:solidFill>
                <a:latin typeface="Open Sans Light"/>
                <a:cs typeface="Open Sans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490457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013668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0"/>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2"/>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4598360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1" name="TextBox 10"/>
          <p:cNvSpPr txBox="1"/>
          <p:nvPr userDrawn="1"/>
        </p:nvSpPr>
        <p:spPr>
          <a:xfrm>
            <a:off x="11370308"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22323539"/>
      </p:ext>
    </p:extLst>
  </p:cSld>
  <p:clrMapOvr>
    <a:masterClrMapping/>
  </p:clrMapOvr>
  <p:transition>
    <p:fade/>
  </p:transition>
  <p:extLst>
    <p:ext uri="{DCECCB84-F9BA-43D5-87BE-67443E8EF086}">
      <p15:sldGuideLst xmlns:p15="http://schemas.microsoft.com/office/powerpoint/2012/main">
        <p15:guide id="1" orient="horz" pos="23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62502E-3AA8-E10E-6C80-65A33412DF94}"/>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3" name="Footer Placeholder 2">
            <a:extLst>
              <a:ext uri="{FF2B5EF4-FFF2-40B4-BE49-F238E27FC236}">
                <a16:creationId xmlns:a16="http://schemas.microsoft.com/office/drawing/2014/main" id="{003C91D2-5221-B1EA-8DEF-478FDEE78CA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D696F9-721F-B8D4-CC21-FEC270D65D22}"/>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14094844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735143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4657375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69900" y="736689"/>
            <a:ext cx="11252200" cy="757255"/>
          </a:xfrm>
          <a:prstGeom prst="rect">
            <a:avLst/>
          </a:prstGeom>
        </p:spPr>
        <p:txBody>
          <a:bodyPr lIns="0" tIns="0" rIns="0" bIns="0">
            <a:noAutofit/>
          </a:bodyPr>
          <a:lstStyle>
            <a:lvl1pPr marL="0" indent="0">
              <a:buNone/>
              <a:defRPr sz="1999"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999"/>
            </a:lvl1pPr>
          </a:lstStyle>
          <a:p>
            <a:r>
              <a:rPr lang="en-US" noProof="0"/>
              <a:t>Click to edit Master title style</a:t>
            </a:r>
          </a:p>
        </p:txBody>
      </p:sp>
    </p:spTree>
    <p:extLst>
      <p:ext uri="{BB962C8B-B14F-4D97-AF65-F5344CB8AC3E}">
        <p14:creationId xmlns:p14="http://schemas.microsoft.com/office/powerpoint/2010/main" val="373882863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AMS - 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22175"/>
            <a:ext cx="11252200" cy="195772"/>
          </a:xfrm>
          <a:prstGeom prst="rect">
            <a:avLst/>
          </a:prstGeom>
        </p:spPr>
        <p:txBody>
          <a:bodyPr lIns="0" tIns="0" rIns="0" bIns="0">
            <a:spAutoFit/>
          </a:bodyPr>
          <a:lstStyle>
            <a:lvl1pPr marL="0" indent="0">
              <a:buNone/>
              <a:defRPr sz="1272"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244613"/>
          </a:xfrm>
          <a:prstGeom prst="rect">
            <a:avLst/>
          </a:prstGeom>
        </p:spPr>
        <p:txBody>
          <a:bodyPr vert="horz" lIns="0" tIns="0" rIns="0" bIns="0" rtlCol="0" anchor="t" anchorCtr="0">
            <a:spAutoFit/>
          </a:bodyPr>
          <a:lstStyle>
            <a:lvl1pPr>
              <a:defRPr sz="1590"/>
            </a:lvl1pPr>
          </a:lstStyle>
          <a:p>
            <a:r>
              <a:rPr lang="en-US" noProof="0"/>
              <a:t>Click to edit Master title style</a:t>
            </a:r>
          </a:p>
        </p:txBody>
      </p:sp>
      <p:sp>
        <p:nvSpPr>
          <p:cNvPr id="6" name="Text Placeholder 8"/>
          <p:cNvSpPr>
            <a:spLocks noGrp="1"/>
          </p:cNvSpPr>
          <p:nvPr>
            <p:ph type="body" sz="quarter" idx="14" hasCustomPrompt="1"/>
          </p:nvPr>
        </p:nvSpPr>
        <p:spPr>
          <a:xfrm>
            <a:off x="469900" y="1011215"/>
            <a:ext cx="11252200" cy="1166410"/>
          </a:xfrm>
          <a:prstGeom prst="rect">
            <a:avLst/>
          </a:prstGeom>
        </p:spPr>
        <p:txBody>
          <a:bodyPr lIns="0" tIns="0" rIns="0" bIns="0">
            <a:spAutoFit/>
          </a:bodyPr>
          <a:lstStyle>
            <a:lvl1pPr marL="0" indent="0">
              <a:spcAft>
                <a:spcPts val="477"/>
              </a:spcAft>
              <a:buNone/>
              <a:defRPr sz="1113" b="0">
                <a:solidFill>
                  <a:schemeClr val="tx1"/>
                </a:solidFill>
              </a:defRPr>
            </a:lvl1pPr>
            <a:lvl2pPr>
              <a:spcAft>
                <a:spcPts val="477"/>
              </a:spcAft>
              <a:defRPr>
                <a:solidFill>
                  <a:schemeClr val="tx1"/>
                </a:solidFill>
              </a:defRPr>
            </a:lvl2pPr>
            <a:lvl3pPr marL="222121" indent="-112323">
              <a:spcAft>
                <a:spcPts val="477"/>
              </a:spcAft>
              <a:defRPr>
                <a:solidFill>
                  <a:schemeClr val="tx1"/>
                </a:solidFill>
              </a:defRPr>
            </a:lvl3pPr>
            <a:lvl4pPr>
              <a:spcAft>
                <a:spcPts val="477"/>
              </a:spcAft>
              <a:defRPr>
                <a:solidFill>
                  <a:schemeClr val="tx1"/>
                </a:solidFill>
              </a:defRPr>
            </a:lvl4pPr>
            <a:lvl5pPr marL="499771" indent="-147661">
              <a:spcAft>
                <a:spcPts val="477"/>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71729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808408"/>
            <a:ext cx="11252200" cy="252000"/>
          </a:xfrm>
          <a:prstGeom prst="rect">
            <a:avLst/>
          </a:prstGeom>
        </p:spPr>
        <p:txBody>
          <a:bodyPr lIns="0" tIns="0" rIns="0" bIns="0" anchor="ctr">
            <a:noAutofit/>
          </a:bodyPr>
          <a:lstStyle>
            <a:lvl1pPr marL="0" indent="0">
              <a:buNone/>
              <a:defRPr sz="1600" b="0">
                <a:solidFill>
                  <a:schemeClr val="bg2">
                    <a:lumMod val="5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65841303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586830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7" name="Object 6"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defRPr sz="3200" b="1" cap="all" baseline="0"/>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58E68E74-484F-467C-82E0-D73323F3A302}" type="datetime1">
              <a:rPr lang="en-GB" smtClean="0"/>
              <a:t>14/06/2025</a:t>
            </a:fld>
            <a:endParaRPr lang="en-GB"/>
          </a:p>
        </p:txBody>
      </p:sp>
      <p:sp>
        <p:nvSpPr>
          <p:cNvPr id="5" name="Footer Placeholder 4"/>
          <p:cNvSpPr>
            <a:spLocks noGrp="1"/>
          </p:cNvSpPr>
          <p:nvPr>
            <p:ph type="ftr" sz="quarter" idx="11"/>
          </p:nvPr>
        </p:nvSpPr>
        <p:spPr>
          <a:xfrm>
            <a:off x="7449519" y="6063920"/>
            <a:ext cx="1599768"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9347200" y="6492875"/>
            <a:ext cx="2844800" cy="365125"/>
          </a:xfrm>
          <a:prstGeom prst="rect">
            <a:avLst/>
          </a:prstGeom>
        </p:spPr>
        <p:txBody>
          <a:bodyPr/>
          <a:lstStyle/>
          <a:p>
            <a:fld id="{BDF01666-E04F-41EE-9F8C-A6A15CCCC6B9}" type="slidenum">
              <a:rPr lang="en-GB" smtClean="0"/>
              <a:t>‹#›</a:t>
            </a:fld>
            <a:endParaRPr lang="en-GB"/>
          </a:p>
        </p:txBody>
      </p:sp>
    </p:spTree>
    <p:extLst>
      <p:ext uri="{BB962C8B-B14F-4D97-AF65-F5344CB8AC3E}">
        <p14:creationId xmlns:p14="http://schemas.microsoft.com/office/powerpoint/2010/main" val="36005958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Key statement teal">
    <p:spTree>
      <p:nvGrpSpPr>
        <p:cNvPr id="1" name=""/>
        <p:cNvGrpSpPr/>
        <p:nvPr/>
      </p:nvGrpSpPr>
      <p:grpSpPr>
        <a:xfrm>
          <a:off x="0" y="0"/>
          <a:ext cx="0" cy="0"/>
          <a:chOff x="0" y="0"/>
          <a:chExt cx="0" cy="0"/>
        </a:xfrm>
      </p:grpSpPr>
      <p:sp>
        <p:nvSpPr>
          <p:cNvPr id="94" name="TextBox 93"/>
          <p:cNvSpPr txBox="1"/>
          <p:nvPr userDrawn="1"/>
        </p:nvSpPr>
        <p:spPr>
          <a:xfrm>
            <a:off x="11414619"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270" name="Title Placeholder 1"/>
          <p:cNvSpPr>
            <a:spLocks noGrp="1"/>
          </p:cNvSpPr>
          <p:nvPr>
            <p:ph type="title"/>
          </p:nvPr>
        </p:nvSpPr>
        <p:spPr>
          <a:xfrm>
            <a:off x="469899" y="395762"/>
            <a:ext cx="11251691" cy="334102"/>
          </a:xfrm>
          <a:prstGeom prst="rect">
            <a:avLst/>
          </a:prstGeom>
        </p:spPr>
        <p:txBody>
          <a:bodyPr vert="horz" lIns="0" tIns="0" rIns="0" bIns="0" rtlCol="0" anchor="t" anchorCtr="0">
            <a:noAutofit/>
          </a:bodyPr>
          <a:lstStyle>
            <a:lvl1pPr>
              <a:defRPr sz="2000" b="0">
                <a:solidFill>
                  <a:schemeClr val="accent1"/>
                </a:solidFill>
              </a:defRPr>
            </a:lvl1pPr>
          </a:lstStyle>
          <a:p>
            <a:r>
              <a:rPr lang="en-US" noProof="0"/>
              <a:t>Click to edit Master title style</a:t>
            </a:r>
          </a:p>
        </p:txBody>
      </p:sp>
      <p:sp>
        <p:nvSpPr>
          <p:cNvPr id="271" name="Content Placeholder 7"/>
          <p:cNvSpPr>
            <a:spLocks noGrp="1"/>
          </p:cNvSpPr>
          <p:nvPr>
            <p:ph sz="quarter" idx="10"/>
          </p:nvPr>
        </p:nvSpPr>
        <p:spPr>
          <a:xfrm>
            <a:off x="469899" y="729864"/>
            <a:ext cx="11251691" cy="848111"/>
          </a:xfrm>
        </p:spPr>
        <p:txBody>
          <a:bodyPr/>
          <a:lstStyle>
            <a:lvl1pPr algn="l" defTabSz="1219170" rtl="0" eaLnBrk="1" latinLnBrk="0" hangingPunct="1">
              <a:spcBef>
                <a:spcPct val="0"/>
              </a:spcBef>
              <a:buNone/>
              <a:defRPr lang="en-US" sz="1800" kern="1200" dirty="0" smtClean="0">
                <a:solidFill>
                  <a:schemeClr val="bg1">
                    <a:lumMod val="85000"/>
                  </a:schemeClr>
                </a:solidFill>
                <a:latin typeface="+mj-lt"/>
                <a:ea typeface="+mj-ea"/>
                <a:cs typeface="+mj-cs"/>
              </a:defRPr>
            </a:lvl1pPr>
          </a:lstStyle>
          <a:p>
            <a:pPr lvl="0"/>
            <a:r>
              <a:rPr lang="en-US"/>
              <a:t>Edit Master text styles</a:t>
            </a:r>
          </a:p>
        </p:txBody>
      </p:sp>
    </p:spTree>
    <p:extLst>
      <p:ext uri="{BB962C8B-B14F-4D97-AF65-F5344CB8AC3E}">
        <p14:creationId xmlns:p14="http://schemas.microsoft.com/office/powerpoint/2010/main" val="18467401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1"/>
            <a:ext cx="11256264" cy="33410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sz="2000" b="1">
                <a:latin typeface="+mj-lt"/>
              </a:defRPr>
            </a:lvl1pPr>
          </a:lstStyle>
          <a:p>
            <a:r>
              <a:rPr lang="en-US"/>
              <a:t>Click to add title</a:t>
            </a:r>
          </a:p>
        </p:txBody>
      </p:sp>
    </p:spTree>
    <p:extLst>
      <p:ext uri="{BB962C8B-B14F-4D97-AF65-F5344CB8AC3E}">
        <p14:creationId xmlns:p14="http://schemas.microsoft.com/office/powerpoint/2010/main" val="43132859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Tree>
    <p:extLst>
      <p:ext uri="{BB962C8B-B14F-4D97-AF65-F5344CB8AC3E}">
        <p14:creationId xmlns:p14="http://schemas.microsoft.com/office/powerpoint/2010/main" val="2875525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BB8EA-F6BC-49C5-C3F1-16706731ED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879B13-B97A-A72F-5931-F16C73BEC8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504B20A-BB56-A1F5-5E53-77159FB951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9D90A4-05B6-430D-5A38-22968E26E6A6}"/>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6" name="Footer Placeholder 5">
            <a:extLst>
              <a:ext uri="{FF2B5EF4-FFF2-40B4-BE49-F238E27FC236}">
                <a16:creationId xmlns:a16="http://schemas.microsoft.com/office/drawing/2014/main" id="{84FD1E05-33EB-DEA6-CDF1-08EDFCC694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D85501-07FB-6DDA-9DD8-FE1BCD44C416}"/>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27755960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C77137-F65E-40A8-83F0-318F0E67A997}"/>
              </a:ext>
            </a:extLst>
          </p:cNvPr>
          <p:cNvSpPr/>
          <p:nvPr userDrawn="1"/>
        </p:nvSpPr>
        <p:spPr bwMode="gray">
          <a:xfrm>
            <a:off x="0" y="0"/>
            <a:ext cx="12192000"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0" name="Graphic 9">
            <a:extLst>
              <a:ext uri="{FF2B5EF4-FFF2-40B4-BE49-F238E27FC236}">
                <a16:creationId xmlns:a16="http://schemas.microsoft.com/office/drawing/2014/main" id="{8AA7596C-5B94-995B-4F26-F287B489D2A7}"/>
              </a:ext>
            </a:extLst>
          </p:cNvPr>
          <p:cNvPicPr>
            <a:picLocks noChangeAspect="1"/>
          </p:cNvPicPr>
          <p:nvPr userDrawn="1"/>
        </p:nvPicPr>
        <p:blipFill>
          <a:blip r:embed="rId2">
            <a:extLst>
              <a:ext uri="{96DAC541-7B7A-43D3-8B79-37D633B846F1}">
                <asvg:svgBlip xmlns:asvg="http://schemas.microsoft.com/office/drawing/2016/SVG/main" r:embed="rId3"/>
              </a:ext>
            </a:extLst>
          </a:blip>
          <a:srcRect l="7443" b="40770"/>
          <a:stretch>
            <a:fillRect/>
          </a:stretch>
        </p:blipFill>
        <p:spPr>
          <a:xfrm>
            <a:off x="35064" y="1179859"/>
            <a:ext cx="8873019" cy="5678141"/>
          </a:xfrm>
          <a:custGeom>
            <a:avLst/>
            <a:gdLst>
              <a:gd name="connsiteX0" fmla="*/ 0 w 8873019"/>
              <a:gd name="connsiteY0" fmla="*/ 0 h 5678141"/>
              <a:gd name="connsiteX1" fmla="*/ 8873019 w 8873019"/>
              <a:gd name="connsiteY1" fmla="*/ 0 h 5678141"/>
              <a:gd name="connsiteX2" fmla="*/ 8873019 w 8873019"/>
              <a:gd name="connsiteY2" fmla="*/ 5678141 h 5678141"/>
              <a:gd name="connsiteX3" fmla="*/ 0 w 8873019"/>
              <a:gd name="connsiteY3" fmla="*/ 5678141 h 5678141"/>
            </a:gdLst>
            <a:ahLst/>
            <a:cxnLst>
              <a:cxn ang="0">
                <a:pos x="connsiteX0" y="connsiteY0"/>
              </a:cxn>
              <a:cxn ang="0">
                <a:pos x="connsiteX1" y="connsiteY1"/>
              </a:cxn>
              <a:cxn ang="0">
                <a:pos x="connsiteX2" y="connsiteY2"/>
              </a:cxn>
              <a:cxn ang="0">
                <a:pos x="connsiteX3" y="connsiteY3"/>
              </a:cxn>
            </a:cxnLst>
            <a:rect l="l" t="t" r="r" b="b"/>
            <a:pathLst>
              <a:path w="8873019" h="5678141">
                <a:moveTo>
                  <a:pt x="0" y="0"/>
                </a:moveTo>
                <a:lnTo>
                  <a:pt x="8873019" y="0"/>
                </a:lnTo>
                <a:lnTo>
                  <a:pt x="8873019" y="5678141"/>
                </a:lnTo>
                <a:lnTo>
                  <a:pt x="0" y="5678141"/>
                </a:lnTo>
                <a:close/>
              </a:path>
            </a:pathLst>
          </a:custGeom>
        </p:spPr>
      </p:pic>
      <p:sp>
        <p:nvSpPr>
          <p:cNvPr id="3" name="Oval 2">
            <a:extLst>
              <a:ext uri="{FF2B5EF4-FFF2-40B4-BE49-F238E27FC236}">
                <a16:creationId xmlns:a16="http://schemas.microsoft.com/office/drawing/2014/main" id="{E111200D-AE14-48A3-9B50-9D60056DC334}"/>
              </a:ext>
            </a:extLst>
          </p:cNvPr>
          <p:cNvSpPr/>
          <p:nvPr userDrawn="1"/>
        </p:nvSpPr>
        <p:spPr bwMode="gray">
          <a:xfrm>
            <a:off x="5333998" y="-1"/>
            <a:ext cx="6858002" cy="6858002"/>
          </a:xfrm>
          <a:prstGeom prst="ellipse">
            <a:avLst/>
          </a:prstGeom>
          <a:gradFill>
            <a:gsLst>
              <a:gs pos="19000">
                <a:schemeClr val="bg1">
                  <a:lumMod val="95000"/>
                </a:schemeClr>
              </a:gs>
              <a:gs pos="100000">
                <a:schemeClr val="bg1"/>
              </a:gs>
            </a:gsLst>
            <a:lin ang="1080000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sp>
        <p:nvSpPr>
          <p:cNvPr id="5" name="Arc 4">
            <a:extLst>
              <a:ext uri="{FF2B5EF4-FFF2-40B4-BE49-F238E27FC236}">
                <a16:creationId xmlns:a16="http://schemas.microsoft.com/office/drawing/2014/main" id="{14873D70-E3AC-416A-8A6E-EF3348D7973C}"/>
              </a:ext>
            </a:extLst>
          </p:cNvPr>
          <p:cNvSpPr/>
          <p:nvPr userDrawn="1"/>
        </p:nvSpPr>
        <p:spPr>
          <a:xfrm>
            <a:off x="5791199" y="457200"/>
            <a:ext cx="5943600" cy="5943600"/>
          </a:xfrm>
          <a:prstGeom prst="arc">
            <a:avLst>
              <a:gd name="adj1" fmla="val 10210816"/>
              <a:gd name="adj2" fmla="val 5418743"/>
            </a:avLst>
          </a:prstGeom>
          <a:ln w="12700">
            <a:solidFill>
              <a:srgbClr val="010269"/>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Arc 5">
            <a:extLst>
              <a:ext uri="{FF2B5EF4-FFF2-40B4-BE49-F238E27FC236}">
                <a16:creationId xmlns:a16="http://schemas.microsoft.com/office/drawing/2014/main" id="{937643CB-914E-4EBF-8C13-3B77EBAA0899}"/>
              </a:ext>
            </a:extLst>
          </p:cNvPr>
          <p:cNvSpPr/>
          <p:nvPr userDrawn="1"/>
        </p:nvSpPr>
        <p:spPr>
          <a:xfrm>
            <a:off x="6019799" y="685800"/>
            <a:ext cx="5486400" cy="5486400"/>
          </a:xfrm>
          <a:prstGeom prst="arc">
            <a:avLst>
              <a:gd name="adj1" fmla="val 10471958"/>
              <a:gd name="adj2" fmla="val 16442074"/>
            </a:avLst>
          </a:prstGeom>
          <a:ln w="127000">
            <a:solidFill>
              <a:srgbClr val="01026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8" name="Rectangle 7">
            <a:extLst>
              <a:ext uri="{FF2B5EF4-FFF2-40B4-BE49-F238E27FC236}">
                <a16:creationId xmlns:a16="http://schemas.microsoft.com/office/drawing/2014/main" id="{5FC71DAF-5072-4298-AC98-710DB2A577FA}"/>
              </a:ext>
            </a:extLst>
          </p:cNvPr>
          <p:cNvSpPr/>
          <p:nvPr userDrawn="1"/>
        </p:nvSpPr>
        <p:spPr bwMode="gray">
          <a:xfrm>
            <a:off x="431080" y="3200404"/>
            <a:ext cx="182880" cy="914400"/>
          </a:xfrm>
          <a:prstGeom prst="rect">
            <a:avLst/>
          </a:prstGeom>
          <a:solidFill>
            <a:srgbClr val="010269"/>
          </a:solidFill>
          <a:ln w="3175"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a:solidFill>
                <a:schemeClr val="bg1"/>
              </a:solidFill>
            </a:endParaRPr>
          </a:p>
        </p:txBody>
      </p:sp>
      <p:cxnSp>
        <p:nvCxnSpPr>
          <p:cNvPr id="9" name="Straight Connector 8">
            <a:extLst>
              <a:ext uri="{FF2B5EF4-FFF2-40B4-BE49-F238E27FC236}">
                <a16:creationId xmlns:a16="http://schemas.microsoft.com/office/drawing/2014/main" id="{8CB6EF6A-5091-4E87-A935-AD8B8B6E797A}"/>
              </a:ext>
            </a:extLst>
          </p:cNvPr>
          <p:cNvCxnSpPr/>
          <p:nvPr userDrawn="1"/>
        </p:nvCxnSpPr>
        <p:spPr>
          <a:xfrm>
            <a:off x="431080" y="4114800"/>
            <a:ext cx="5029200" cy="0"/>
          </a:xfrm>
          <a:prstGeom prst="line">
            <a:avLst/>
          </a:prstGeom>
          <a:ln w="3175">
            <a:solidFill>
              <a:srgbClr val="010269"/>
            </a:solidFill>
          </a:ln>
        </p:spPr>
        <p:style>
          <a:lnRef idx="1">
            <a:schemeClr val="accent1"/>
          </a:lnRef>
          <a:fillRef idx="0">
            <a:schemeClr val="accent1"/>
          </a:fillRef>
          <a:effectRef idx="0">
            <a:schemeClr val="accent1"/>
          </a:effectRef>
          <a:fontRef idx="minor">
            <a:schemeClr val="tx1"/>
          </a:fontRef>
        </p:style>
      </p:cxnSp>
      <p:sp>
        <p:nvSpPr>
          <p:cNvPr id="11" name="Arc 10">
            <a:extLst>
              <a:ext uri="{FF2B5EF4-FFF2-40B4-BE49-F238E27FC236}">
                <a16:creationId xmlns:a16="http://schemas.microsoft.com/office/drawing/2014/main" id="{C515BA61-D9E8-4941-AB25-7092DB5177AC}"/>
              </a:ext>
            </a:extLst>
          </p:cNvPr>
          <p:cNvSpPr/>
          <p:nvPr userDrawn="1"/>
        </p:nvSpPr>
        <p:spPr>
          <a:xfrm>
            <a:off x="6019799" y="685800"/>
            <a:ext cx="5486400" cy="5486400"/>
          </a:xfrm>
          <a:prstGeom prst="arc">
            <a:avLst>
              <a:gd name="adj1" fmla="val 48404"/>
              <a:gd name="adj2" fmla="val 5500897"/>
            </a:avLst>
          </a:prstGeom>
          <a:ln w="76200">
            <a:solidFill>
              <a:srgbClr val="010269"/>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20517239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71611C58-FC90-6D2B-A1D9-85C3FA9A137C}"/>
              </a:ext>
            </a:extLst>
          </p:cNvPr>
          <p:cNvGrpSpPr>
            <a:grpSpLocks noChangeAspect="1"/>
          </p:cNvGrpSpPr>
          <p:nvPr userDrawn="1"/>
        </p:nvGrpSpPr>
        <p:grpSpPr>
          <a:xfrm>
            <a:off x="501651" y="285211"/>
            <a:ext cx="1998000" cy="374400"/>
            <a:chOff x="398463" y="404813"/>
            <a:chExt cx="1627187" cy="307976"/>
          </a:xfrm>
          <a:solidFill>
            <a:schemeClr val="bg1"/>
          </a:solidFill>
        </p:grpSpPr>
        <p:sp>
          <p:nvSpPr>
            <p:cNvPr id="3" name="Oval 5">
              <a:extLst>
                <a:ext uri="{FF2B5EF4-FFF2-40B4-BE49-F238E27FC236}">
                  <a16:creationId xmlns:a16="http://schemas.microsoft.com/office/drawing/2014/main" id="{5C793353-9AF7-390F-20E4-54B5F3A2203E}"/>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4" name="Freeform 6">
              <a:extLst>
                <a:ext uri="{FF2B5EF4-FFF2-40B4-BE49-F238E27FC236}">
                  <a16:creationId xmlns:a16="http://schemas.microsoft.com/office/drawing/2014/main" id="{05C7890E-BBBF-FCFC-665A-6A92D9C6507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Rectangle 7">
              <a:extLst>
                <a:ext uri="{FF2B5EF4-FFF2-40B4-BE49-F238E27FC236}">
                  <a16:creationId xmlns:a16="http://schemas.microsoft.com/office/drawing/2014/main" id="{48152AEA-50B0-7663-973F-49B824B50C71}"/>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8">
              <a:extLst>
                <a:ext uri="{FF2B5EF4-FFF2-40B4-BE49-F238E27FC236}">
                  <a16:creationId xmlns:a16="http://schemas.microsoft.com/office/drawing/2014/main" id="{D2F295D8-A1D5-478E-FBCA-836E5FBE51E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9">
              <a:extLst>
                <a:ext uri="{FF2B5EF4-FFF2-40B4-BE49-F238E27FC236}">
                  <a16:creationId xmlns:a16="http://schemas.microsoft.com/office/drawing/2014/main" id="{568C212F-A7D4-F0D1-7FC9-CFDB96E0068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10">
              <a:extLst>
                <a:ext uri="{FF2B5EF4-FFF2-40B4-BE49-F238E27FC236}">
                  <a16:creationId xmlns:a16="http://schemas.microsoft.com/office/drawing/2014/main" id="{18FA16AA-4597-E011-DBAD-5DA91F0F510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E0BEDC96-2313-D726-0462-1A55EEFE0EA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2">
              <a:extLst>
                <a:ext uri="{FF2B5EF4-FFF2-40B4-BE49-F238E27FC236}">
                  <a16:creationId xmlns:a16="http://schemas.microsoft.com/office/drawing/2014/main" id="{5E99FB3C-CA15-02BA-1DEE-BFD3924E3DB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3">
              <a:extLst>
                <a:ext uri="{FF2B5EF4-FFF2-40B4-BE49-F238E27FC236}">
                  <a16:creationId xmlns:a16="http://schemas.microsoft.com/office/drawing/2014/main" id="{26C966F7-E267-ADC5-DC4E-C64FF01D72D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4">
              <a:extLst>
                <a:ext uri="{FF2B5EF4-FFF2-40B4-BE49-F238E27FC236}">
                  <a16:creationId xmlns:a16="http://schemas.microsoft.com/office/drawing/2014/main" id="{2A03856E-53F5-6994-873D-833B9D46EFB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14" name="Group 13">
            <a:extLst>
              <a:ext uri="{FF2B5EF4-FFF2-40B4-BE49-F238E27FC236}">
                <a16:creationId xmlns:a16="http://schemas.microsoft.com/office/drawing/2014/main" id="{730A56E1-9E39-890D-3D2E-658B976409F8}"/>
              </a:ext>
            </a:extLst>
          </p:cNvPr>
          <p:cNvGrpSpPr>
            <a:grpSpLocks noChangeAspect="1"/>
          </p:cNvGrpSpPr>
          <p:nvPr userDrawn="1"/>
        </p:nvGrpSpPr>
        <p:grpSpPr>
          <a:xfrm>
            <a:off x="501651" y="285211"/>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80CB84D2-24B9-0D8E-3055-A1AC370CFCDA}"/>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Freeform 6">
              <a:extLst>
                <a:ext uri="{FF2B5EF4-FFF2-40B4-BE49-F238E27FC236}">
                  <a16:creationId xmlns:a16="http://schemas.microsoft.com/office/drawing/2014/main" id="{B33E15AE-FA04-FFB7-189A-72874664519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7">
              <a:extLst>
                <a:ext uri="{FF2B5EF4-FFF2-40B4-BE49-F238E27FC236}">
                  <a16:creationId xmlns:a16="http://schemas.microsoft.com/office/drawing/2014/main" id="{29D1EAC6-4C0E-377D-28DE-ACFFC6417F0F}"/>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8">
              <a:extLst>
                <a:ext uri="{FF2B5EF4-FFF2-40B4-BE49-F238E27FC236}">
                  <a16:creationId xmlns:a16="http://schemas.microsoft.com/office/drawing/2014/main" id="{6DFEE2EC-F123-7C39-AC89-FB3E41FD6A2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9">
              <a:extLst>
                <a:ext uri="{FF2B5EF4-FFF2-40B4-BE49-F238E27FC236}">
                  <a16:creationId xmlns:a16="http://schemas.microsoft.com/office/drawing/2014/main" id="{28E0974E-B478-264D-5DB2-CB5CA737103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Rectangle 10">
              <a:extLst>
                <a:ext uri="{FF2B5EF4-FFF2-40B4-BE49-F238E27FC236}">
                  <a16:creationId xmlns:a16="http://schemas.microsoft.com/office/drawing/2014/main" id="{288A4533-63F4-7AA8-FC63-D974C7131215}"/>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1">
              <a:extLst>
                <a:ext uri="{FF2B5EF4-FFF2-40B4-BE49-F238E27FC236}">
                  <a16:creationId xmlns:a16="http://schemas.microsoft.com/office/drawing/2014/main" id="{CC809EF1-7C3D-4FBC-492B-3FBF6CEDAA3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12">
              <a:extLst>
                <a:ext uri="{FF2B5EF4-FFF2-40B4-BE49-F238E27FC236}">
                  <a16:creationId xmlns:a16="http://schemas.microsoft.com/office/drawing/2014/main" id="{BEFCDBAD-7EFC-C166-4E79-D168E9AF578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3">
              <a:extLst>
                <a:ext uri="{FF2B5EF4-FFF2-40B4-BE49-F238E27FC236}">
                  <a16:creationId xmlns:a16="http://schemas.microsoft.com/office/drawing/2014/main" id="{EFFF58A9-8CBA-7B4A-5DEC-D90E63EC4A8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4">
              <a:extLst>
                <a:ext uri="{FF2B5EF4-FFF2-40B4-BE49-F238E27FC236}">
                  <a16:creationId xmlns:a16="http://schemas.microsoft.com/office/drawing/2014/main" id="{23439E25-FCBF-11FD-30E7-DA36B960D25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688824786"/>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1" y="4193308"/>
            <a:ext cx="11195049" cy="2197101"/>
          </a:xfrm>
        </p:spPr>
        <p:txBody>
          <a:bodyPr anchor="b" anchorCtr="0">
            <a:noAutofit/>
          </a:bodyPr>
          <a:lstStyle>
            <a:lvl1pPr>
              <a:lnSpc>
                <a:spcPct val="100000"/>
              </a:lnSpc>
              <a:spcAft>
                <a:spcPts val="706"/>
              </a:spcAft>
              <a:defRPr sz="900">
                <a:solidFill>
                  <a:schemeClr val="tx1"/>
                </a:solidFill>
              </a:defRPr>
            </a:lvl1pPr>
          </a:lstStyle>
          <a:p>
            <a:endParaRPr lang="en-US"/>
          </a:p>
        </p:txBody>
      </p:sp>
      <p:grpSp>
        <p:nvGrpSpPr>
          <p:cNvPr id="3" name="Group 2">
            <a:extLst>
              <a:ext uri="{FF2B5EF4-FFF2-40B4-BE49-F238E27FC236}">
                <a16:creationId xmlns:a16="http://schemas.microsoft.com/office/drawing/2014/main" id="{804DA6CC-CFA1-AD3D-6CB3-83EBE39982BB}"/>
              </a:ext>
            </a:extLst>
          </p:cNvPr>
          <p:cNvGrpSpPr>
            <a:grpSpLocks noChangeAspect="1"/>
          </p:cNvGrpSpPr>
          <p:nvPr userDrawn="1"/>
        </p:nvGrpSpPr>
        <p:grpSpPr>
          <a:xfrm>
            <a:off x="501651" y="285211"/>
            <a:ext cx="1998000" cy="374400"/>
            <a:chOff x="398463" y="404813"/>
            <a:chExt cx="1627187" cy="307976"/>
          </a:xfrm>
          <a:solidFill>
            <a:schemeClr val="tx1"/>
          </a:solidFill>
        </p:grpSpPr>
        <p:sp>
          <p:nvSpPr>
            <p:cNvPr id="4" name="Oval 5">
              <a:extLst>
                <a:ext uri="{FF2B5EF4-FFF2-40B4-BE49-F238E27FC236}">
                  <a16:creationId xmlns:a16="http://schemas.microsoft.com/office/drawing/2014/main" id="{72913451-20F6-3CD4-AFAA-7BC3F53CDA6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043D8901-5B3D-8C99-B0D1-0A840A7EF97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Rectangle 7">
              <a:extLst>
                <a:ext uri="{FF2B5EF4-FFF2-40B4-BE49-F238E27FC236}">
                  <a16:creationId xmlns:a16="http://schemas.microsoft.com/office/drawing/2014/main" id="{09E1A002-1EEB-7E2C-9B0E-4FDAC750309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Freeform 8">
              <a:extLst>
                <a:ext uri="{FF2B5EF4-FFF2-40B4-BE49-F238E27FC236}">
                  <a16:creationId xmlns:a16="http://schemas.microsoft.com/office/drawing/2014/main" id="{40657EB0-26D9-4C22-353F-51ED2D04042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9">
              <a:extLst>
                <a:ext uri="{FF2B5EF4-FFF2-40B4-BE49-F238E27FC236}">
                  <a16:creationId xmlns:a16="http://schemas.microsoft.com/office/drawing/2014/main" id="{DCE95856-528D-7B49-B80F-1F76614E556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Rectangle 10">
              <a:extLst>
                <a:ext uri="{FF2B5EF4-FFF2-40B4-BE49-F238E27FC236}">
                  <a16:creationId xmlns:a16="http://schemas.microsoft.com/office/drawing/2014/main" id="{3A71BE90-9D03-DA6A-AA8B-6332A05FC75D}"/>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1">
              <a:extLst>
                <a:ext uri="{FF2B5EF4-FFF2-40B4-BE49-F238E27FC236}">
                  <a16:creationId xmlns:a16="http://schemas.microsoft.com/office/drawing/2014/main" id="{E55F432D-020F-A39C-1D99-D50634DBB47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2">
              <a:extLst>
                <a:ext uri="{FF2B5EF4-FFF2-40B4-BE49-F238E27FC236}">
                  <a16:creationId xmlns:a16="http://schemas.microsoft.com/office/drawing/2014/main" id="{D91F89C4-09F1-AE0E-8E02-F6CE47BACBF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3">
              <a:extLst>
                <a:ext uri="{FF2B5EF4-FFF2-40B4-BE49-F238E27FC236}">
                  <a16:creationId xmlns:a16="http://schemas.microsoft.com/office/drawing/2014/main" id="{093B8D7A-4EB2-9986-6D39-E8680F8087F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14">
              <a:extLst>
                <a:ext uri="{FF2B5EF4-FFF2-40B4-BE49-F238E27FC236}">
                  <a16:creationId xmlns:a16="http://schemas.microsoft.com/office/drawing/2014/main" id="{95CB095B-B565-BF55-D901-1FE54891EBE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550277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1433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059020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US" sz="2000" b="0" i="0" baseline="0">
              <a:solidFill>
                <a:schemeClr val="bg1"/>
              </a:solidFill>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501651" y="2102713"/>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501651" y="3060697"/>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41144695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2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8052771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US" sz="2000" b="0" i="0" baseline="0">
              <a:solidFill>
                <a:schemeClr val="bg1"/>
              </a:solidFill>
              <a:latin typeface="Verdana" panose="020B0604030504040204" pitchFamily="34" charset="0"/>
              <a:ea typeface="+mj-ea"/>
              <a:cs typeface="+mj-cs"/>
              <a:sym typeface="Verdana" panose="020B0604030504040204" pitchFamily="34" charset="0"/>
            </a:endParaRPr>
          </a:p>
        </p:txBody>
      </p:sp>
      <p:sp>
        <p:nvSpPr>
          <p:cNvPr id="14" name="Title Placeholder 1"/>
          <p:cNvSpPr>
            <a:spLocks noGrp="1"/>
          </p:cNvSpPr>
          <p:nvPr>
            <p:ph type="title" hasCustomPrompt="1"/>
          </p:nvPr>
        </p:nvSpPr>
        <p:spPr>
          <a:xfrm>
            <a:off x="501651" y="317501"/>
            <a:ext cx="1120267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501651" y="651600"/>
            <a:ext cx="1120267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3" name="Content Placeholder 3"/>
          <p:cNvSpPr>
            <a:spLocks noGrp="1"/>
          </p:cNvSpPr>
          <p:nvPr>
            <p:ph sz="quarter" idx="10"/>
          </p:nvPr>
        </p:nvSpPr>
        <p:spPr>
          <a:xfrm>
            <a:off x="501651" y="1665290"/>
            <a:ext cx="5305579" cy="4716461"/>
          </a:xfrm>
          <a:prstGeom prst="rect">
            <a:avLst/>
          </a:prstGeom>
        </p:spPr>
        <p:txBody>
          <a:bodyPr/>
          <a:lstStyle>
            <a:lvl1pPr>
              <a:tabLst>
                <a:tab pos="5448132" algn="r"/>
              </a:tabLst>
              <a:defRPr/>
            </a:lvl1pPr>
            <a:lvl2pPr>
              <a:tabLst>
                <a:tab pos="5448132" algn="r"/>
              </a:tabLst>
              <a:defRPr/>
            </a:lvl2pPr>
            <a:lvl3pPr>
              <a:tabLst>
                <a:tab pos="5448132" algn="r"/>
              </a:tabLst>
              <a:defRPr/>
            </a:lvl3pPr>
            <a:lvl4pPr>
              <a:tabLst>
                <a:tab pos="5448132" algn="r"/>
              </a:tabLst>
              <a:defRPr/>
            </a:lvl4pPr>
            <a:lvl5pPr>
              <a:tabLst>
                <a:tab pos="54481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8" y="1665290"/>
            <a:ext cx="5322782" cy="4716461"/>
          </a:xfrm>
          <a:prstGeom prst="rect">
            <a:avLst/>
          </a:prstGeom>
        </p:spPr>
        <p:txBody>
          <a:bodyPr/>
          <a:lstStyle>
            <a:lvl1pPr>
              <a:tabLst>
                <a:tab pos="5448132" algn="r"/>
              </a:tabLst>
              <a:defRPr/>
            </a:lvl1pPr>
            <a:lvl2pPr>
              <a:tabLst>
                <a:tab pos="5448132" algn="r"/>
              </a:tabLst>
              <a:defRPr/>
            </a:lvl2pPr>
            <a:lvl3pPr>
              <a:tabLst>
                <a:tab pos="5448132" algn="r"/>
              </a:tabLst>
              <a:defRPr/>
            </a:lvl3pPr>
            <a:lvl4pPr>
              <a:tabLst>
                <a:tab pos="5448132" algn="r"/>
              </a:tabLst>
              <a:defRPr/>
            </a:lvl4pPr>
            <a:lvl5pPr>
              <a:tabLst>
                <a:tab pos="54481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8362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33" name="Group 32">
            <a:extLst>
              <a:ext uri="{FF2B5EF4-FFF2-40B4-BE49-F238E27FC236}">
                <a16:creationId xmlns:a16="http://schemas.microsoft.com/office/drawing/2014/main" id="{A74A5521-C16D-4C39-A930-CCC1560EE5F0}"/>
              </a:ext>
            </a:extLst>
          </p:cNvPr>
          <p:cNvGrpSpPr/>
          <p:nvPr userDrawn="1"/>
        </p:nvGrpSpPr>
        <p:grpSpPr>
          <a:xfrm>
            <a:off x="463296" y="341312"/>
            <a:ext cx="1819656" cy="347472"/>
            <a:chOff x="398463" y="404813"/>
            <a:chExt cx="1627187" cy="307976"/>
          </a:xfrm>
          <a:solidFill>
            <a:sysClr val="window" lastClr="FFFFFF"/>
          </a:solidFill>
        </p:grpSpPr>
        <p:sp>
          <p:nvSpPr>
            <p:cNvPr id="34" name="Oval 5">
              <a:extLst>
                <a:ext uri="{FF2B5EF4-FFF2-40B4-BE49-F238E27FC236}">
                  <a16:creationId xmlns:a16="http://schemas.microsoft.com/office/drawing/2014/main" id="{C3CA26E1-F094-4517-BCEE-EA8688C2B655}"/>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35" name="Freeform 6">
              <a:extLst>
                <a:ext uri="{FF2B5EF4-FFF2-40B4-BE49-F238E27FC236}">
                  <a16:creationId xmlns:a16="http://schemas.microsoft.com/office/drawing/2014/main" id="{75F32097-BDE0-47BC-BB8F-4E9F9C948AF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36" name="Rectangle 7">
              <a:extLst>
                <a:ext uri="{FF2B5EF4-FFF2-40B4-BE49-F238E27FC236}">
                  <a16:creationId xmlns:a16="http://schemas.microsoft.com/office/drawing/2014/main" id="{1F782814-FB73-49B4-9033-664FD625A14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37" name="Freeform 8">
              <a:extLst>
                <a:ext uri="{FF2B5EF4-FFF2-40B4-BE49-F238E27FC236}">
                  <a16:creationId xmlns:a16="http://schemas.microsoft.com/office/drawing/2014/main" id="{1ADA9B8C-ECC3-4305-B9AB-B54AE59C39A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38" name="Rectangle 9">
              <a:extLst>
                <a:ext uri="{FF2B5EF4-FFF2-40B4-BE49-F238E27FC236}">
                  <a16:creationId xmlns:a16="http://schemas.microsoft.com/office/drawing/2014/main" id="{5DBF8C24-F5F8-4EFB-8FE7-D8C99D7AEAE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39" name="Rectangle 10">
              <a:extLst>
                <a:ext uri="{FF2B5EF4-FFF2-40B4-BE49-F238E27FC236}">
                  <a16:creationId xmlns:a16="http://schemas.microsoft.com/office/drawing/2014/main" id="{0E753EEF-0E60-41E9-A4C6-0AD40FA5DF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40" name="Freeform 11">
              <a:extLst>
                <a:ext uri="{FF2B5EF4-FFF2-40B4-BE49-F238E27FC236}">
                  <a16:creationId xmlns:a16="http://schemas.microsoft.com/office/drawing/2014/main" id="{AF9E039F-5D0A-4CFB-8183-413090A1EA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41" name="Freeform 12">
              <a:extLst>
                <a:ext uri="{FF2B5EF4-FFF2-40B4-BE49-F238E27FC236}">
                  <a16:creationId xmlns:a16="http://schemas.microsoft.com/office/drawing/2014/main" id="{7D495E56-68E6-4B47-86D8-9F5E180E9BE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42" name="Freeform 13">
              <a:extLst>
                <a:ext uri="{FF2B5EF4-FFF2-40B4-BE49-F238E27FC236}">
                  <a16:creationId xmlns:a16="http://schemas.microsoft.com/office/drawing/2014/main" id="{99BFD087-916F-4374-AEA1-7866A7D793F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sp>
          <p:nvSpPr>
            <p:cNvPr id="43" name="Freeform 14">
              <a:extLst>
                <a:ext uri="{FF2B5EF4-FFF2-40B4-BE49-F238E27FC236}">
                  <a16:creationId xmlns:a16="http://schemas.microsoft.com/office/drawing/2014/main" id="{BBACEA97-CE07-450C-B0FF-856CC4150A4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Verdana"/>
                <a:cs typeface="+mn-cs"/>
              </a:endParaRPr>
            </a:p>
          </p:txBody>
        </p:sp>
      </p:grpSp>
    </p:spTree>
    <p:extLst>
      <p:ext uri="{BB962C8B-B14F-4D97-AF65-F5344CB8AC3E}">
        <p14:creationId xmlns:p14="http://schemas.microsoft.com/office/powerpoint/2010/main" val="14472271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1234567890">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2"/>
            <a:ext cx="11162350" cy="757255"/>
          </a:xfrm>
          <a:prstGeom prst="rect">
            <a:avLst/>
          </a:prstGeom>
        </p:spPr>
        <p:txBody>
          <a:bodyPr lIns="0" tIns="0" rIns="0" bIns="0">
            <a:noAutofit/>
          </a:bodyPr>
          <a:lstStyle>
            <a:lvl1pPr marL="0" indent="0">
              <a:buNone/>
              <a:defRPr sz="1588" b="0">
                <a:solidFill>
                  <a:srgbClr val="575757"/>
                </a:solidFill>
                <a:latin typeface="+mj-lt"/>
              </a:defRPr>
            </a:lvl1pPr>
          </a:lstStyle>
          <a:p>
            <a:pPr lvl="0"/>
            <a:r>
              <a:rPr lang="en-US" noProof="0"/>
              <a:t>Click to add subtitle</a:t>
            </a:r>
          </a:p>
        </p:txBody>
      </p:sp>
      <p:sp>
        <p:nvSpPr>
          <p:cNvPr id="14" name="Title Placeholder 1"/>
          <p:cNvSpPr>
            <a:spLocks noGrp="1"/>
          </p:cNvSpPr>
          <p:nvPr>
            <p:ph type="title"/>
          </p:nvPr>
        </p:nvSpPr>
        <p:spPr>
          <a:xfrm>
            <a:off x="501652" y="317501"/>
            <a:ext cx="11162350" cy="334101"/>
          </a:xfrm>
          <a:prstGeom prst="rect">
            <a:avLst/>
          </a:prstGeom>
        </p:spPr>
        <p:txBody>
          <a:bodyPr vert="horz" lIns="0" tIns="0" rIns="0" bIns="0" rtlCol="0" anchor="t" anchorCtr="0">
            <a:noAutofit/>
          </a:bodyPr>
          <a:lstStyle>
            <a:lvl1pPr>
              <a:defRPr sz="2100">
                <a:latin typeface="+mn-lt"/>
              </a:defRPr>
            </a:lvl1pPr>
          </a:lstStyle>
          <a:p>
            <a:r>
              <a:rPr lang="en-US" noProof="0"/>
              <a:t>Click to edit Master title style</a:t>
            </a:r>
          </a:p>
        </p:txBody>
      </p:sp>
      <p:sp>
        <p:nvSpPr>
          <p:cNvPr id="8" name="Text Placeholder 18"/>
          <p:cNvSpPr>
            <a:spLocks noGrp="1"/>
          </p:cNvSpPr>
          <p:nvPr>
            <p:ph idx="1"/>
          </p:nvPr>
        </p:nvSpPr>
        <p:spPr>
          <a:xfrm>
            <a:off x="501651" y="1665289"/>
            <a:ext cx="11165417" cy="4713911"/>
          </a:xfrm>
          <a:prstGeom prst="rect">
            <a:avLst/>
          </a:prstGeom>
        </p:spPr>
        <p:txBody>
          <a:bodyPr vert="horz" lIns="0" tIns="0" rIns="0" bIns="0" rtlCol="0">
            <a:noAutofit/>
          </a:bodyPr>
          <a:lstStyle>
            <a:lvl1pPr>
              <a:spcAft>
                <a:spcPts val="1212"/>
              </a:spcAft>
              <a:defRPr sz="1235"/>
            </a:lvl1pPr>
            <a:lvl2pPr>
              <a:spcAft>
                <a:spcPts val="1212"/>
              </a:spcAft>
              <a:defRPr sz="1235"/>
            </a:lvl2pPr>
            <a:lvl3pPr>
              <a:spcAft>
                <a:spcPts val="1212"/>
              </a:spcAft>
              <a:defRPr sz="1235"/>
            </a:lvl3pPr>
            <a:lvl4pPr>
              <a:spcAft>
                <a:spcPts val="1212"/>
              </a:spcAft>
              <a:defRPr sz="1235"/>
            </a:lvl4pPr>
            <a:lvl5pPr>
              <a:spcAft>
                <a:spcPts val="1212"/>
              </a:spcAft>
              <a:defRPr sz="123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79406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2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634876"/>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984CEC11-627B-024F-8027-972217259DB9}"/>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6" name="Title Placeholder 1">
            <a:extLst>
              <a:ext uri="{FF2B5EF4-FFF2-40B4-BE49-F238E27FC236}">
                <a16:creationId xmlns:a16="http://schemas.microsoft.com/office/drawing/2014/main" id="{16F5BB4F-DCCF-5642-9CBE-D2DEAF3D691A}"/>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p>
            <a:r>
              <a:rPr lang="en-US" noProof="0"/>
              <a:t>Click to edit Master title style</a:t>
            </a:r>
          </a:p>
        </p:txBody>
      </p:sp>
      <p:sp>
        <p:nvSpPr>
          <p:cNvPr id="2" name="Date Placeholder 1">
            <a:extLst>
              <a:ext uri="{FF2B5EF4-FFF2-40B4-BE49-F238E27FC236}">
                <a16:creationId xmlns:a16="http://schemas.microsoft.com/office/drawing/2014/main" id="{561B2DEF-D235-B681-F981-97A1250F8591}"/>
              </a:ext>
            </a:extLst>
          </p:cNvPr>
          <p:cNvSpPr>
            <a:spLocks noGrp="1"/>
          </p:cNvSpPr>
          <p:nvPr>
            <p:ph type="dt" sz="half" idx="15"/>
          </p:nvPr>
        </p:nvSpPr>
        <p:spPr/>
        <p:txBody>
          <a:bodyPr/>
          <a:lstStyle/>
          <a:p>
            <a:pPr marL="12700">
              <a:lnSpc>
                <a:spcPct val="100000"/>
              </a:lnSpc>
              <a:spcBef>
                <a:spcPts val="145"/>
              </a:spcBef>
            </a:pPr>
            <a:endParaRPr lang="en-US" spc="-10">
              <a:solidFill>
                <a:srgbClr val="FFFFFF"/>
              </a:solidFill>
            </a:endParaRPr>
          </a:p>
        </p:txBody>
      </p:sp>
    </p:spTree>
    <p:extLst>
      <p:ext uri="{BB962C8B-B14F-4D97-AF65-F5344CB8AC3E}">
        <p14:creationId xmlns:p14="http://schemas.microsoft.com/office/powerpoint/2010/main" val="3045855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CEC7B-79F3-1F0B-5D05-F89C22BA74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33B07F-C289-2D92-ED2A-D52067043A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62FB1D6-8FE4-780F-1BCC-10A73DD291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DF3E0E-D793-341B-6FA0-E786CA8677A1}"/>
              </a:ext>
            </a:extLst>
          </p:cNvPr>
          <p:cNvSpPr>
            <a:spLocks noGrp="1"/>
          </p:cNvSpPr>
          <p:nvPr>
            <p:ph type="dt" sz="half" idx="10"/>
          </p:nvPr>
        </p:nvSpPr>
        <p:spPr/>
        <p:txBody>
          <a:bodyPr/>
          <a:lstStyle/>
          <a:p>
            <a:fld id="{9E62945F-9C97-429A-8E29-F3DC2FC81F10}" type="datetimeFigureOut">
              <a:rPr lang="en-US" smtClean="0"/>
              <a:t>6/14/2025</a:t>
            </a:fld>
            <a:endParaRPr lang="en-US"/>
          </a:p>
        </p:txBody>
      </p:sp>
      <p:sp>
        <p:nvSpPr>
          <p:cNvPr id="6" name="Footer Placeholder 5">
            <a:extLst>
              <a:ext uri="{FF2B5EF4-FFF2-40B4-BE49-F238E27FC236}">
                <a16:creationId xmlns:a16="http://schemas.microsoft.com/office/drawing/2014/main" id="{823D8E4F-9814-CA54-030E-EF6FCB6809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397F72-3E2D-63C5-FFE1-3B301D89C82A}"/>
              </a:ext>
            </a:extLst>
          </p:cNvPr>
          <p:cNvSpPr>
            <a:spLocks noGrp="1"/>
          </p:cNvSpPr>
          <p:nvPr>
            <p:ph type="sldNum" sz="quarter" idx="12"/>
          </p:nvPr>
        </p:nvSpPr>
        <p:spPr/>
        <p:txBody>
          <a:bodyPr/>
          <a:lstStyle/>
          <a:p>
            <a:fld id="{81A80697-BC38-41B1-9CB0-EE3803A812A1}" type="slidenum">
              <a:rPr lang="en-US" smtClean="0"/>
              <a:t>‹#›</a:t>
            </a:fld>
            <a:endParaRPr lang="en-US"/>
          </a:p>
        </p:txBody>
      </p:sp>
    </p:spTree>
    <p:extLst>
      <p:ext uri="{BB962C8B-B14F-4D97-AF65-F5344CB8AC3E}">
        <p14:creationId xmlns:p14="http://schemas.microsoft.com/office/powerpoint/2010/main" val="3635933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8" cy="4633910"/>
          </a:xfrm>
          <a:prstGeom prst="rect">
            <a:avLst/>
          </a:prstGeom>
        </p:spPr>
        <p:txBody>
          <a:bodyPr/>
          <a:lstStyle>
            <a:lvl1pPr>
              <a:tabLst>
                <a:tab pos="8972437" algn="r"/>
              </a:tabLst>
              <a:defRPr/>
            </a:lvl1pPr>
            <a:lvl2pPr>
              <a:tabLst>
                <a:tab pos="8972437" algn="r"/>
              </a:tabLst>
              <a:defRPr/>
            </a:lvl2pPr>
            <a:lvl3pPr>
              <a:tabLst>
                <a:tab pos="8972437" algn="r"/>
              </a:tabLst>
              <a:defRPr/>
            </a:lvl3pPr>
            <a:lvl4pPr>
              <a:tabLst>
                <a:tab pos="8972437" algn="r"/>
              </a:tabLst>
              <a:defRPr/>
            </a:lvl4pPr>
            <a:lvl5pPr>
              <a:tabLst>
                <a:tab pos="6705517" algn="r"/>
              </a:tabLst>
              <a:defRPr baseline="0"/>
            </a:lvl5pPr>
            <a:lvl6pPr>
              <a:tabLst>
                <a:tab pos="8972437" algn="r"/>
              </a:tabLst>
              <a:defRPr/>
            </a:lvl6pPr>
            <a:lvl7pPr>
              <a:tabLst>
                <a:tab pos="8972437" algn="r"/>
              </a:tabLst>
              <a:defRPr/>
            </a:lvl7pPr>
            <a:lvl8pPr>
              <a:tabLst>
                <a:tab pos="8972437" algn="r"/>
              </a:tabLst>
              <a:defRPr/>
            </a:lvl8pPr>
            <a:lvl9pPr>
              <a:tabLst>
                <a:tab pos="8972437"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1" y="736689"/>
            <a:ext cx="112522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1" y="402587"/>
            <a:ext cx="11252201"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25739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7_Title,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524511-96D6-4CF3-BE60-B19A41685878}"/>
              </a:ext>
            </a:extLst>
          </p:cNvPr>
          <p:cNvGraphicFramePr>
            <a:graphicFrameLocks noChangeAspect="1"/>
          </p:cNvGraphicFramePr>
          <p:nvPr userDrawn="1">
            <p:custDataLst>
              <p:tags r:id="rId1"/>
            </p:custDataLst>
            <p:extLst>
              <p:ext uri="{D42A27DB-BD31-4B8C-83A1-F6EECF244321}">
                <p14:modId xmlns:p14="http://schemas.microsoft.com/office/powerpoint/2010/main" val="44710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B524511-96D6-4CF3-BE60-B19A41685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2A2468F9-08EF-D4C2-55F7-771B527EC2A4}"/>
              </a:ext>
            </a:extLst>
          </p:cNvPr>
          <p:cNvSpPr>
            <a:spLocks noGrp="1"/>
          </p:cNvSpPr>
          <p:nvPr>
            <p:ph type="body" sz="quarter" idx="13" hasCustomPrompt="1"/>
          </p:nvPr>
        </p:nvSpPr>
        <p:spPr>
          <a:xfrm>
            <a:off x="501650" y="651600"/>
            <a:ext cx="11256264" cy="757255"/>
          </a:xfrm>
          <a:prstGeom prst="rect">
            <a:avLst/>
          </a:prstGeom>
        </p:spPr>
        <p:txBody>
          <a:bodyPr lIns="0" tIns="0" rIns="0" bIns="0" anchor="t">
            <a:noAutofit/>
          </a:bodyPr>
          <a:lstStyle>
            <a:lvl1pPr marL="0" indent="0">
              <a:buNone/>
              <a:defRPr sz="1800" b="0">
                <a:solidFill>
                  <a:srgbClr val="575757"/>
                </a:solidFill>
              </a:defRPr>
            </a:lvl1pPr>
          </a:lstStyle>
          <a:p>
            <a:pPr lvl="0"/>
            <a:r>
              <a:rPr lang="en-US"/>
              <a:t>Click to add subtitle</a:t>
            </a:r>
          </a:p>
        </p:txBody>
      </p:sp>
      <p:sp>
        <p:nvSpPr>
          <p:cNvPr id="3" name="Title Placeholder 1">
            <a:extLst>
              <a:ext uri="{FF2B5EF4-FFF2-40B4-BE49-F238E27FC236}">
                <a16:creationId xmlns:a16="http://schemas.microsoft.com/office/drawing/2014/main" id="{80906E79-4BBA-422E-C906-34FC3765E9A3}"/>
              </a:ext>
            </a:extLst>
          </p:cNvPr>
          <p:cNvSpPr>
            <a:spLocks noGrp="1"/>
          </p:cNvSpPr>
          <p:nvPr>
            <p:ph type="title" hasCustomPrompt="1"/>
          </p:nvPr>
        </p:nvSpPr>
        <p:spPr>
          <a:xfrm>
            <a:off x="501650" y="317500"/>
            <a:ext cx="11256264" cy="334099"/>
          </a:xfrm>
          <a:prstGeom prst="rect">
            <a:avLst/>
          </a:prstGeom>
        </p:spPr>
        <p:txBody>
          <a:bodyPr vert="horz" lIns="0" tIns="0" rIns="0" bIns="0" rtlCol="0" anchor="t" anchorCtr="0">
            <a:noAutofit/>
          </a:bodyPr>
          <a:lstStyle>
            <a:lvl1pPr>
              <a:defRPr>
                <a:latin typeface="+mn-lt"/>
              </a:defRPr>
            </a:lvl1pPr>
          </a:lstStyle>
          <a:p>
            <a:r>
              <a:rPr lang="en-US"/>
              <a:t>Click to add title</a:t>
            </a:r>
          </a:p>
        </p:txBody>
      </p:sp>
    </p:spTree>
    <p:extLst>
      <p:ext uri="{BB962C8B-B14F-4D97-AF65-F5344CB8AC3E}">
        <p14:creationId xmlns:p14="http://schemas.microsoft.com/office/powerpoint/2010/main" val="20376282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75488" y="292608"/>
            <a:ext cx="11166475" cy="369332"/>
          </a:xfrm>
        </p:spPr>
        <p:txBody>
          <a:bodyPr lIns="0" tIns="0" rIns="0" bIns="0"/>
          <a:lstStyle>
            <a:lvl1pPr>
              <a:defRPr sz="24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a:p>
        </p:txBody>
      </p:sp>
      <p:sp>
        <p:nvSpPr>
          <p:cNvPr id="4" name="Holder 4"/>
          <p:cNvSpPr>
            <a:spLocks noGrp="1"/>
          </p:cNvSpPr>
          <p:nvPr>
            <p:ph sz="half" idx="3"/>
          </p:nvPr>
        </p:nvSpPr>
        <p:spPr>
          <a:xfrm>
            <a:off x="450594" y="1577340"/>
            <a:ext cx="11131806" cy="4526280"/>
          </a:xfrm>
          <a:prstGeom prst="rect">
            <a:avLst/>
          </a:prstGeom>
        </p:spPr>
        <p:txBody>
          <a:bodyPr wrap="square" lIns="0" tIns="0" rIns="0" bIns="0">
            <a:spAutoFit/>
          </a:bodyPr>
          <a:lstStyle>
            <a:lvl1pPr>
              <a:defRPr/>
            </a:lvl1pPr>
          </a:lstStyle>
          <a:p>
            <a:endParaRPr/>
          </a:p>
        </p:txBody>
      </p:sp>
      <p:sp>
        <p:nvSpPr>
          <p:cNvPr id="6" name="Holder 6"/>
          <p:cNvSpPr>
            <a:spLocks noGrp="1"/>
          </p:cNvSpPr>
          <p:nvPr>
            <p:ph type="dt" sz="half" idx="6"/>
          </p:nvPr>
        </p:nvSpPr>
        <p:spPr/>
        <p:txBody>
          <a:bodyPr lIns="0" tIns="0" rIns="0" bIns="0"/>
          <a:lstStyle>
            <a:lvl1pPr>
              <a:defRPr sz="800" b="0" i="0">
                <a:solidFill>
                  <a:schemeClr val="bg1"/>
                </a:solidFill>
                <a:latin typeface="Open Sans"/>
                <a:cs typeface="Open Sans"/>
              </a:defRPr>
            </a:lvl1pPr>
          </a:lstStyle>
          <a:p>
            <a:pPr marL="12700">
              <a:spcBef>
                <a:spcPts val="145"/>
              </a:spcBef>
            </a:pPr>
            <a:endParaRPr lang="en-US" spc="-10"/>
          </a:p>
        </p:txBody>
      </p:sp>
    </p:spTree>
    <p:extLst>
      <p:ext uri="{BB962C8B-B14F-4D97-AF65-F5344CB8AC3E}">
        <p14:creationId xmlns:p14="http://schemas.microsoft.com/office/powerpoint/2010/main" val="815940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3.xml"/><Relationship Id="rId21" Type="http://schemas.openxmlformats.org/officeDocument/2006/relationships/slideLayout" Target="../slideLayouts/slideLayout48.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63" Type="http://schemas.openxmlformats.org/officeDocument/2006/relationships/slideLayout" Target="../slideLayouts/slideLayout90.xml"/><Relationship Id="rId68" Type="http://schemas.openxmlformats.org/officeDocument/2006/relationships/oleObject" Target="../embeddings/oleObject3.bin"/><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66" Type="http://schemas.openxmlformats.org/officeDocument/2006/relationships/theme" Target="../theme/theme3.xml"/><Relationship Id="rId5" Type="http://schemas.openxmlformats.org/officeDocument/2006/relationships/slideLayout" Target="../slideLayouts/slideLayout32.xml"/><Relationship Id="rId61" Type="http://schemas.openxmlformats.org/officeDocument/2006/relationships/slideLayout" Target="../slideLayouts/slideLayout88.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slideLayout" Target="../slideLayouts/slideLayout83.xml"/><Relationship Id="rId64" Type="http://schemas.openxmlformats.org/officeDocument/2006/relationships/slideLayout" Target="../slideLayouts/slideLayout91.xml"/><Relationship Id="rId69" Type="http://schemas.openxmlformats.org/officeDocument/2006/relationships/image" Target="../media/image1.emf"/><Relationship Id="rId8" Type="http://schemas.openxmlformats.org/officeDocument/2006/relationships/slideLayout" Target="../slideLayouts/slideLayout35.xml"/><Relationship Id="rId51" Type="http://schemas.openxmlformats.org/officeDocument/2006/relationships/slideLayout" Target="../slideLayouts/slideLayout7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67" Type="http://schemas.openxmlformats.org/officeDocument/2006/relationships/tags" Target="../tags/tag3.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62" Type="http://schemas.openxmlformats.org/officeDocument/2006/relationships/slideLayout" Target="../slideLayouts/slideLayout8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65" Type="http://schemas.openxmlformats.org/officeDocument/2006/relationships/slideLayout" Target="../slideLayouts/slideLayout9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9" Type="http://schemas.openxmlformats.org/officeDocument/2006/relationships/slideLayout" Target="../slideLayouts/slideLayout66.xml"/><Relationship Id="rId34" Type="http://schemas.openxmlformats.org/officeDocument/2006/relationships/slideLayout" Target="../slideLayouts/slideLayout61.xml"/><Relationship Id="rId50" Type="http://schemas.openxmlformats.org/officeDocument/2006/relationships/slideLayout" Target="../slideLayouts/slideLayout77.xml"/><Relationship Id="rId55"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50F47E-23F3-C438-5C2C-CE23112685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2AFDEB-2253-1A2D-C236-609FE848B6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D1DF-ECB8-4B07-0AF3-215F01AC75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62945F-9C97-429A-8E29-F3DC2FC81F10}" type="datetimeFigureOut">
              <a:rPr lang="en-US" smtClean="0"/>
              <a:t>6/14/2025</a:t>
            </a:fld>
            <a:endParaRPr lang="en-US"/>
          </a:p>
        </p:txBody>
      </p:sp>
      <p:sp>
        <p:nvSpPr>
          <p:cNvPr id="5" name="Footer Placeholder 4">
            <a:extLst>
              <a:ext uri="{FF2B5EF4-FFF2-40B4-BE49-F238E27FC236}">
                <a16:creationId xmlns:a16="http://schemas.microsoft.com/office/drawing/2014/main" id="{E0EBB366-7DEF-A1EC-4B96-21F35A0996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35F44AE-7C51-6CD7-A181-DD6F4AFD47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A80697-BC38-41B1-9CB0-EE3803A812A1}" type="slidenum">
              <a:rPr lang="en-US" smtClean="0"/>
              <a:t>‹#›</a:t>
            </a:fld>
            <a:endParaRPr lang="en-US"/>
          </a:p>
        </p:txBody>
      </p:sp>
    </p:spTree>
    <p:extLst>
      <p:ext uri="{BB962C8B-B14F-4D97-AF65-F5344CB8AC3E}">
        <p14:creationId xmlns:p14="http://schemas.microsoft.com/office/powerpoint/2010/main" val="290759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36634"/>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pt-BR" sz="900" noProof="0">
                <a:solidFill>
                  <a:schemeClr val="tx1"/>
                </a:solidFill>
                <a:latin typeface="Calibri" panose="020F0502020204030204" pitchFamily="34" charset="0"/>
                <a:cs typeface="Calibri" panose="020F0502020204030204" pitchFamily="34" charset="0"/>
              </a:rPr>
              <a:t>ICICI Bank Proposal</a:t>
            </a:r>
            <a:endParaRPr lang="en-US" sz="900" noProof="0">
              <a:solidFill>
                <a:schemeClr val="tx1"/>
              </a:solidFill>
              <a:latin typeface="Calibri" panose="020F0502020204030204" pitchFamily="34" charset="0"/>
              <a:cs typeface="Calibri" panose="020F0502020204030204" pitchFamily="34" charset="0"/>
            </a:endParaRPr>
          </a:p>
        </p:txBody>
      </p:sp>
      <p:sp>
        <p:nvSpPr>
          <p:cNvPr id="18" name="Copyright"/>
          <p:cNvSpPr txBox="1"/>
          <p:nvPr/>
        </p:nvSpPr>
        <p:spPr>
          <a:xfrm>
            <a:off x="501649" y="6536635"/>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fr-FR" sz="900" noProof="0">
                <a:solidFill>
                  <a:schemeClr val="tx1"/>
                </a:solidFill>
                <a:latin typeface="Calibri" panose="020F0502020204030204" pitchFamily="34" charset="0"/>
                <a:cs typeface="Calibri" panose="020F0502020204030204" pitchFamily="34" charset="0"/>
              </a:rPr>
              <a:t>© 2024 Deloitte Touche </a:t>
            </a:r>
            <a:r>
              <a:rPr lang="fr-FR" sz="900" noProof="0" err="1">
                <a:solidFill>
                  <a:schemeClr val="tx1"/>
                </a:solidFill>
                <a:latin typeface="Calibri" panose="020F0502020204030204" pitchFamily="34" charset="0"/>
                <a:cs typeface="Calibri" panose="020F0502020204030204" pitchFamily="34" charset="0"/>
              </a:rPr>
              <a:t>Tohmatsu</a:t>
            </a:r>
            <a:r>
              <a:rPr lang="fr-FR" sz="900" noProof="0">
                <a:solidFill>
                  <a:schemeClr val="tx1"/>
                </a:solidFill>
                <a:latin typeface="Calibri" panose="020F0502020204030204" pitchFamily="34" charset="0"/>
                <a:cs typeface="Calibri" panose="020F0502020204030204" pitchFamily="34" charset="0"/>
              </a:rPr>
              <a:t> </a:t>
            </a:r>
            <a:r>
              <a:rPr lang="fr-FR" sz="900" noProof="0" err="1">
                <a:solidFill>
                  <a:schemeClr val="tx1"/>
                </a:solidFill>
                <a:latin typeface="Calibri" panose="020F0502020204030204" pitchFamily="34" charset="0"/>
                <a:cs typeface="Calibri" panose="020F0502020204030204" pitchFamily="34" charset="0"/>
              </a:rPr>
              <a:t>India</a:t>
            </a:r>
            <a:r>
              <a:rPr lang="fr-FR" sz="900" noProof="0">
                <a:solidFill>
                  <a:schemeClr val="tx1"/>
                </a:solidFill>
                <a:latin typeface="Calibri" panose="020F0502020204030204" pitchFamily="34" charset="0"/>
                <a:cs typeface="Calibri" panose="020F0502020204030204" pitchFamily="34" charset="0"/>
              </a:rPr>
              <a:t> LLP. </a:t>
            </a:r>
          </a:p>
        </p:txBody>
      </p:sp>
      <p:sp>
        <p:nvSpPr>
          <p:cNvPr id="19" name="Text Placeholder 18"/>
          <p:cNvSpPr>
            <a:spLocks noGrp="1"/>
          </p:cNvSpPr>
          <p:nvPr>
            <p:ph type="body" idx="1"/>
          </p:nvPr>
        </p:nvSpPr>
        <p:spPr>
          <a:xfrm>
            <a:off x="501650" y="1676864"/>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384280" y="6533586"/>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a:p>
        </p:txBody>
      </p:sp>
    </p:spTree>
    <p:extLst>
      <p:ext uri="{BB962C8B-B14F-4D97-AF65-F5344CB8AC3E}">
        <p14:creationId xmlns:p14="http://schemas.microsoft.com/office/powerpoint/2010/main" val="15230564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5">
          <p15:clr>
            <a:srgbClr val="F26B43"/>
          </p15:clr>
        </p15:guide>
        <p15:guide id="8" pos="7364">
          <p15:clr>
            <a:srgbClr val="F26B43"/>
          </p15:clr>
        </p15:guide>
        <p15:guide id="14" orient="horz" pos="4104">
          <p15:clr>
            <a:srgbClr val="F26B43"/>
          </p15:clr>
        </p15:guide>
        <p15:guide id="15" orient="horz" pos="4032">
          <p15:clr>
            <a:srgbClr val="F26B43"/>
          </p15:clr>
        </p15:guide>
        <p15:guide id="17" orient="horz" pos="1048">
          <p15:clr>
            <a:srgbClr val="F26B43"/>
          </p15:clr>
        </p15:guide>
        <p15:guide id="18" orient="horz"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68" imgW="270" imgH="270" progId="TCLayout.ActiveDocument.1">
                  <p:embed/>
                </p:oleObj>
              </mc:Choice>
              <mc:Fallback>
                <p:oleObj name="think-cell Slide" r:id="rId68" imgW="270" imgH="270" progId="TCLayout.ActiveDocument.1">
                  <p:embed/>
                  <p:pic>
                    <p:nvPicPr>
                      <p:cNvPr id="4" name="Object 3" hidden="1"/>
                      <p:cNvPicPr/>
                      <p:nvPr/>
                    </p:nvPicPr>
                    <p:blipFill>
                      <a:blip r:embed="rId6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538798"/>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3" name="TextBox 2">
            <a:extLst>
              <a:ext uri="{FF2B5EF4-FFF2-40B4-BE49-F238E27FC236}">
                <a16:creationId xmlns:a16="http://schemas.microsoft.com/office/drawing/2014/main" id="{F763EB85-4CAC-6F4B-9E3F-FDD33B2909A3}"/>
              </a:ext>
            </a:extLst>
          </p:cNvPr>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a:solidFill>
                  <a:prstClr val="black"/>
                </a:solidFill>
              </a:rPr>
              <a:t>Response to Aurigene.AI – AI Platform for Drug Discovery RFP</a:t>
            </a:r>
          </a:p>
        </p:txBody>
      </p:sp>
      <p:sp>
        <p:nvSpPr>
          <p:cNvPr id="5" name="TextBox 4">
            <a:extLst>
              <a:ext uri="{FF2B5EF4-FFF2-40B4-BE49-F238E27FC236}">
                <a16:creationId xmlns:a16="http://schemas.microsoft.com/office/drawing/2014/main" id="{E9437716-4927-DFDA-10F6-26E753E497C2}"/>
              </a:ext>
            </a:extLst>
          </p:cNvPr>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a:solidFill>
                  <a:schemeClr val="tx1"/>
                </a:solidFill>
              </a:rPr>
              <a:t>© 2024 Deloitte Touche Tohmatsu India LLP</a:t>
            </a:r>
          </a:p>
        </p:txBody>
      </p:sp>
    </p:spTree>
    <p:extLst>
      <p:ext uri="{BB962C8B-B14F-4D97-AF65-F5344CB8AC3E}">
        <p14:creationId xmlns:p14="http://schemas.microsoft.com/office/powerpoint/2010/main" val="18617768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36" r:id="rId59"/>
    <p:sldLayoutId id="2147483737" r:id="rId60"/>
    <p:sldLayoutId id="2147483738" r:id="rId61"/>
    <p:sldLayoutId id="2147483739" r:id="rId62"/>
    <p:sldLayoutId id="2147483740" r:id="rId63"/>
    <p:sldLayoutId id="2147483741" r:id="rId64"/>
    <p:sldLayoutId id="2147483742" r:id="rId65"/>
  </p:sldLayoutIdLst>
  <p:hf hdr="0" dt="0"/>
  <p:txStyles>
    <p:titleStyle>
      <a:lvl1pPr algn="l" defTabSz="121917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7" orient="horz" pos="245">
          <p15:clr>
            <a:srgbClr val="F26B43"/>
          </p15:clr>
        </p15:guide>
        <p15:guide id="2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sv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8.png"/><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15.png"/><Relationship Id="rId5" Type="http://schemas.openxmlformats.org/officeDocument/2006/relationships/image" Target="../media/image23.png"/><Relationship Id="rId10" Type="http://schemas.openxmlformats.org/officeDocument/2006/relationships/image" Target="../media/image27.png"/><Relationship Id="rId4" Type="http://schemas.openxmlformats.org/officeDocument/2006/relationships/image" Target="../media/image19.png"/><Relationship Id="rId9" Type="http://schemas.openxmlformats.org/officeDocument/2006/relationships/image" Target="../media/image26.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0.png"/><Relationship Id="rId3" Type="http://schemas.microsoft.com/office/2018/10/relationships/comments" Target="../comments/modernComment_120_6013D12A.xml"/><Relationship Id="rId7" Type="http://schemas.openxmlformats.org/officeDocument/2006/relationships/image" Target="../media/image25.png"/><Relationship Id="rId12" Type="http://schemas.openxmlformats.org/officeDocument/2006/relationships/image" Target="../media/image29.png"/><Relationship Id="rId17" Type="http://schemas.openxmlformats.org/officeDocument/2006/relationships/image" Target="../media/image34.jpeg"/><Relationship Id="rId2" Type="http://schemas.openxmlformats.org/officeDocument/2006/relationships/notesSlide" Target="../notesSlides/notesSlide2.xml"/><Relationship Id="rId16" Type="http://schemas.openxmlformats.org/officeDocument/2006/relationships/image" Target="../media/image33.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9.png"/><Relationship Id="rId15" Type="http://schemas.openxmlformats.org/officeDocument/2006/relationships/image" Target="../media/image32.png"/><Relationship Id="rId10" Type="http://schemas.openxmlformats.org/officeDocument/2006/relationships/image" Target="../media/image24.png"/><Relationship Id="rId4" Type="http://schemas.openxmlformats.org/officeDocument/2006/relationships/image" Target="../media/image20.png"/><Relationship Id="rId9" Type="http://schemas.openxmlformats.org/officeDocument/2006/relationships/image" Target="../media/image15.png"/><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1.png"/><Relationship Id="rId18" Type="http://schemas.openxmlformats.org/officeDocument/2006/relationships/image" Target="../media/image36.svg"/><Relationship Id="rId3" Type="http://schemas.microsoft.com/office/2018/10/relationships/comments" Target="../comments/modernComment_121_178DA7FA.xml"/><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29.png"/><Relationship Id="rId17" Type="http://schemas.openxmlformats.org/officeDocument/2006/relationships/image" Target="../media/image35.png"/><Relationship Id="rId2" Type="http://schemas.openxmlformats.org/officeDocument/2006/relationships/notesSlide" Target="../notesSlides/notesSlide3.xml"/><Relationship Id="rId16" Type="http://schemas.openxmlformats.org/officeDocument/2006/relationships/image" Target="../media/image34.jpeg"/><Relationship Id="rId20" Type="http://schemas.openxmlformats.org/officeDocument/2006/relationships/image" Target="../media/image38.png"/><Relationship Id="rId1" Type="http://schemas.openxmlformats.org/officeDocument/2006/relationships/slideLayout" Target="../slideLayouts/slideLayout7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19.png"/><Relationship Id="rId15" Type="http://schemas.openxmlformats.org/officeDocument/2006/relationships/image" Target="../media/image33.png"/><Relationship Id="rId10" Type="http://schemas.openxmlformats.org/officeDocument/2006/relationships/image" Target="../media/image24.png"/><Relationship Id="rId19" Type="http://schemas.openxmlformats.org/officeDocument/2006/relationships/image" Target="../media/image37.jpeg"/><Relationship Id="rId4" Type="http://schemas.openxmlformats.org/officeDocument/2006/relationships/image" Target="../media/image20.png"/><Relationship Id="rId9" Type="http://schemas.openxmlformats.org/officeDocument/2006/relationships/image" Target="../media/image15.png"/><Relationship Id="rId1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8.png"/><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8.xml"/><Relationship Id="rId6" Type="http://schemas.openxmlformats.org/officeDocument/2006/relationships/image" Target="../media/image25.png"/><Relationship Id="rId11" Type="http://schemas.openxmlformats.org/officeDocument/2006/relationships/image" Target="../media/image15.png"/><Relationship Id="rId5" Type="http://schemas.openxmlformats.org/officeDocument/2006/relationships/image" Target="../media/image23.png"/><Relationship Id="rId10" Type="http://schemas.openxmlformats.org/officeDocument/2006/relationships/image" Target="../media/image27.png"/><Relationship Id="rId4" Type="http://schemas.openxmlformats.org/officeDocument/2006/relationships/image" Target="../media/image19.png"/><Relationship Id="rId9" Type="http://schemas.openxmlformats.org/officeDocument/2006/relationships/image" Target="../media/image26.png"/><Relationship Id="rId14" Type="http://schemas.openxmlformats.org/officeDocument/2006/relationships/image" Target="../media/image34.jpeg"/></Relationships>
</file>

<file path=ppt/slides/_rels/slide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19.png"/><Relationship Id="rId7" Type="http://schemas.openxmlformats.org/officeDocument/2006/relationships/image" Target="../media/image42.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23.pn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3BF17-8A1A-F611-1811-BEBE987787D3}"/>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E3F37253-AB5D-D867-1DE8-F202E477002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82359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601E59-A21C-4B3E-AF42-72DA9E4F0D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46F556-D78A-4BB4-8762-8AE907C1453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7457D1CC-9106-46C6-9061-606AB0041A75}"/>
              </a:ext>
            </a:extLst>
          </p:cNvPr>
          <p:cNvSpPr/>
          <p:nvPr/>
        </p:nvSpPr>
        <p:spPr>
          <a:xfrm>
            <a:off x="706650" y="262968"/>
            <a:ext cx="10216091" cy="1509373"/>
          </a:xfrm>
          <a:custGeom>
            <a:avLst/>
            <a:gdLst>
              <a:gd name="connsiteX0" fmla="*/ 0 w 10216091"/>
              <a:gd name="connsiteY0" fmla="*/ 40361 h 1509373"/>
              <a:gd name="connsiteX1" fmla="*/ 40361 w 10216091"/>
              <a:gd name="connsiteY1" fmla="*/ 0 h 1509373"/>
              <a:gd name="connsiteX2" fmla="*/ 614699 w 10216091"/>
              <a:gd name="connsiteY2" fmla="*/ 0 h 1509373"/>
              <a:gd name="connsiteX3" fmla="*/ 1087682 w 10216091"/>
              <a:gd name="connsiteY3" fmla="*/ 0 h 1509373"/>
              <a:gd name="connsiteX4" fmla="*/ 1662020 w 10216091"/>
              <a:gd name="connsiteY4" fmla="*/ 0 h 1509373"/>
              <a:gd name="connsiteX5" fmla="*/ 2033650 w 10216091"/>
              <a:gd name="connsiteY5" fmla="*/ 0 h 1509373"/>
              <a:gd name="connsiteX6" fmla="*/ 2912049 w 10216091"/>
              <a:gd name="connsiteY6" fmla="*/ 0 h 1509373"/>
              <a:gd name="connsiteX7" fmla="*/ 3385033 w 10216091"/>
              <a:gd name="connsiteY7" fmla="*/ 0 h 1509373"/>
              <a:gd name="connsiteX8" fmla="*/ 4060724 w 10216091"/>
              <a:gd name="connsiteY8" fmla="*/ 0 h 1509373"/>
              <a:gd name="connsiteX9" fmla="*/ 4939123 w 10216091"/>
              <a:gd name="connsiteY9" fmla="*/ 0 h 1509373"/>
              <a:gd name="connsiteX10" fmla="*/ 5310753 w 10216091"/>
              <a:gd name="connsiteY10" fmla="*/ 0 h 1509373"/>
              <a:gd name="connsiteX11" fmla="*/ 5783737 w 10216091"/>
              <a:gd name="connsiteY11" fmla="*/ 0 h 1509373"/>
              <a:gd name="connsiteX12" fmla="*/ 6459428 w 10216091"/>
              <a:gd name="connsiteY12" fmla="*/ 0 h 1509373"/>
              <a:gd name="connsiteX13" fmla="*/ 7337827 w 10216091"/>
              <a:gd name="connsiteY13" fmla="*/ 0 h 1509373"/>
              <a:gd name="connsiteX14" fmla="*/ 7810811 w 10216091"/>
              <a:gd name="connsiteY14" fmla="*/ 0 h 1509373"/>
              <a:gd name="connsiteX15" fmla="*/ 8283794 w 10216091"/>
              <a:gd name="connsiteY15" fmla="*/ 0 h 1509373"/>
              <a:gd name="connsiteX16" fmla="*/ 8858132 w 10216091"/>
              <a:gd name="connsiteY16" fmla="*/ 0 h 1509373"/>
              <a:gd name="connsiteX17" fmla="*/ 10175730 w 10216091"/>
              <a:gd name="connsiteY17" fmla="*/ 0 h 1509373"/>
              <a:gd name="connsiteX18" fmla="*/ 10216091 w 10216091"/>
              <a:gd name="connsiteY18" fmla="*/ 40361 h 1509373"/>
              <a:gd name="connsiteX19" fmla="*/ 10216091 w 10216091"/>
              <a:gd name="connsiteY19" fmla="*/ 473718 h 1509373"/>
              <a:gd name="connsiteX20" fmla="*/ 10216091 w 10216091"/>
              <a:gd name="connsiteY20" fmla="*/ 907076 h 1509373"/>
              <a:gd name="connsiteX21" fmla="*/ 10216091 w 10216091"/>
              <a:gd name="connsiteY21" fmla="*/ 1469012 h 1509373"/>
              <a:gd name="connsiteX22" fmla="*/ 10175730 w 10216091"/>
              <a:gd name="connsiteY22" fmla="*/ 1509373 h 1509373"/>
              <a:gd name="connsiteX23" fmla="*/ 9702746 w 10216091"/>
              <a:gd name="connsiteY23" fmla="*/ 1509373 h 1509373"/>
              <a:gd name="connsiteX24" fmla="*/ 9331116 w 10216091"/>
              <a:gd name="connsiteY24" fmla="*/ 1509373 h 1509373"/>
              <a:gd name="connsiteX25" fmla="*/ 8959486 w 10216091"/>
              <a:gd name="connsiteY25" fmla="*/ 1509373 h 1509373"/>
              <a:gd name="connsiteX26" fmla="*/ 8081087 w 10216091"/>
              <a:gd name="connsiteY26" fmla="*/ 1509373 h 1509373"/>
              <a:gd name="connsiteX27" fmla="*/ 7506749 w 10216091"/>
              <a:gd name="connsiteY27" fmla="*/ 1509373 h 1509373"/>
              <a:gd name="connsiteX28" fmla="*/ 6932412 w 10216091"/>
              <a:gd name="connsiteY28" fmla="*/ 1509373 h 1509373"/>
              <a:gd name="connsiteX29" fmla="*/ 6459428 w 10216091"/>
              <a:gd name="connsiteY29" fmla="*/ 1509373 h 1509373"/>
              <a:gd name="connsiteX30" fmla="*/ 5885090 w 10216091"/>
              <a:gd name="connsiteY30" fmla="*/ 1509373 h 1509373"/>
              <a:gd name="connsiteX31" fmla="*/ 5108046 w 10216091"/>
              <a:gd name="connsiteY31" fmla="*/ 1509373 h 1509373"/>
              <a:gd name="connsiteX32" fmla="*/ 4229647 w 10216091"/>
              <a:gd name="connsiteY32" fmla="*/ 1509373 h 1509373"/>
              <a:gd name="connsiteX33" fmla="*/ 3858017 w 10216091"/>
              <a:gd name="connsiteY33" fmla="*/ 1509373 h 1509373"/>
              <a:gd name="connsiteX34" fmla="*/ 3283679 w 10216091"/>
              <a:gd name="connsiteY34" fmla="*/ 1509373 h 1509373"/>
              <a:gd name="connsiteX35" fmla="*/ 2506634 w 10216091"/>
              <a:gd name="connsiteY35" fmla="*/ 1509373 h 1509373"/>
              <a:gd name="connsiteX36" fmla="*/ 1830943 w 10216091"/>
              <a:gd name="connsiteY36" fmla="*/ 1509373 h 1509373"/>
              <a:gd name="connsiteX37" fmla="*/ 952544 w 10216091"/>
              <a:gd name="connsiteY37" fmla="*/ 1509373 h 1509373"/>
              <a:gd name="connsiteX38" fmla="*/ 40361 w 10216091"/>
              <a:gd name="connsiteY38" fmla="*/ 1509373 h 1509373"/>
              <a:gd name="connsiteX39" fmla="*/ 0 w 10216091"/>
              <a:gd name="connsiteY39" fmla="*/ 1469012 h 1509373"/>
              <a:gd name="connsiteX40" fmla="*/ 0 w 10216091"/>
              <a:gd name="connsiteY40" fmla="*/ 1035655 h 1509373"/>
              <a:gd name="connsiteX41" fmla="*/ 0 w 10216091"/>
              <a:gd name="connsiteY41" fmla="*/ 573724 h 1509373"/>
              <a:gd name="connsiteX42" fmla="*/ 0 w 10216091"/>
              <a:gd name="connsiteY42" fmla="*/ 40361 h 150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216091" h="1509373" fill="none" extrusionOk="0">
                <a:moveTo>
                  <a:pt x="0" y="40361"/>
                </a:moveTo>
                <a:cubicBezTo>
                  <a:pt x="3615" y="15473"/>
                  <a:pt x="17484" y="-3766"/>
                  <a:pt x="40361" y="0"/>
                </a:cubicBezTo>
                <a:cubicBezTo>
                  <a:pt x="178783" y="11526"/>
                  <a:pt x="396467" y="4855"/>
                  <a:pt x="614699" y="0"/>
                </a:cubicBezTo>
                <a:cubicBezTo>
                  <a:pt x="832931" y="-4855"/>
                  <a:pt x="857702" y="-8289"/>
                  <a:pt x="1087682" y="0"/>
                </a:cubicBezTo>
                <a:cubicBezTo>
                  <a:pt x="1317662" y="8289"/>
                  <a:pt x="1471574" y="-7319"/>
                  <a:pt x="1662020" y="0"/>
                </a:cubicBezTo>
                <a:cubicBezTo>
                  <a:pt x="1852466" y="7319"/>
                  <a:pt x="1946757" y="-5030"/>
                  <a:pt x="2033650" y="0"/>
                </a:cubicBezTo>
                <a:cubicBezTo>
                  <a:pt x="2120543" y="5030"/>
                  <a:pt x="2722848" y="-37015"/>
                  <a:pt x="2912049" y="0"/>
                </a:cubicBezTo>
                <a:cubicBezTo>
                  <a:pt x="3101250" y="37015"/>
                  <a:pt x="3249117" y="13950"/>
                  <a:pt x="3385033" y="0"/>
                </a:cubicBezTo>
                <a:cubicBezTo>
                  <a:pt x="3520949" y="-13950"/>
                  <a:pt x="3790994" y="-31395"/>
                  <a:pt x="4060724" y="0"/>
                </a:cubicBezTo>
                <a:cubicBezTo>
                  <a:pt x="4330454" y="31395"/>
                  <a:pt x="4664315" y="-28913"/>
                  <a:pt x="4939123" y="0"/>
                </a:cubicBezTo>
                <a:cubicBezTo>
                  <a:pt x="5213931" y="28913"/>
                  <a:pt x="5222756" y="8835"/>
                  <a:pt x="5310753" y="0"/>
                </a:cubicBezTo>
                <a:cubicBezTo>
                  <a:pt x="5398750" y="-8835"/>
                  <a:pt x="5680612" y="17075"/>
                  <a:pt x="5783737" y="0"/>
                </a:cubicBezTo>
                <a:cubicBezTo>
                  <a:pt x="5886862" y="-17075"/>
                  <a:pt x="6312659" y="-24364"/>
                  <a:pt x="6459428" y="0"/>
                </a:cubicBezTo>
                <a:cubicBezTo>
                  <a:pt x="6606197" y="24364"/>
                  <a:pt x="6951615" y="17775"/>
                  <a:pt x="7337827" y="0"/>
                </a:cubicBezTo>
                <a:cubicBezTo>
                  <a:pt x="7724039" y="-17775"/>
                  <a:pt x="7625281" y="3873"/>
                  <a:pt x="7810811" y="0"/>
                </a:cubicBezTo>
                <a:cubicBezTo>
                  <a:pt x="7996341" y="-3873"/>
                  <a:pt x="8177611" y="9318"/>
                  <a:pt x="8283794" y="0"/>
                </a:cubicBezTo>
                <a:cubicBezTo>
                  <a:pt x="8389977" y="-9318"/>
                  <a:pt x="8606841" y="-10684"/>
                  <a:pt x="8858132" y="0"/>
                </a:cubicBezTo>
                <a:cubicBezTo>
                  <a:pt x="9109423" y="10684"/>
                  <a:pt x="9772857" y="8417"/>
                  <a:pt x="10175730" y="0"/>
                </a:cubicBezTo>
                <a:cubicBezTo>
                  <a:pt x="10199278" y="4866"/>
                  <a:pt x="10214721" y="16979"/>
                  <a:pt x="10216091" y="40361"/>
                </a:cubicBezTo>
                <a:cubicBezTo>
                  <a:pt x="10219724" y="135023"/>
                  <a:pt x="10235183" y="332800"/>
                  <a:pt x="10216091" y="473718"/>
                </a:cubicBezTo>
                <a:cubicBezTo>
                  <a:pt x="10196999" y="614636"/>
                  <a:pt x="10223053" y="724463"/>
                  <a:pt x="10216091" y="907076"/>
                </a:cubicBezTo>
                <a:cubicBezTo>
                  <a:pt x="10209129" y="1089689"/>
                  <a:pt x="10239490" y="1248766"/>
                  <a:pt x="10216091" y="1469012"/>
                </a:cubicBezTo>
                <a:cubicBezTo>
                  <a:pt x="10215223" y="1494783"/>
                  <a:pt x="10196788" y="1514234"/>
                  <a:pt x="10175730" y="1509373"/>
                </a:cubicBezTo>
                <a:cubicBezTo>
                  <a:pt x="10077370" y="1526594"/>
                  <a:pt x="9869827" y="1492519"/>
                  <a:pt x="9702746" y="1509373"/>
                </a:cubicBezTo>
                <a:cubicBezTo>
                  <a:pt x="9535665" y="1526227"/>
                  <a:pt x="9471949" y="1520467"/>
                  <a:pt x="9331116" y="1509373"/>
                </a:cubicBezTo>
                <a:cubicBezTo>
                  <a:pt x="9190283" y="1498280"/>
                  <a:pt x="9121359" y="1496426"/>
                  <a:pt x="8959486" y="1509373"/>
                </a:cubicBezTo>
                <a:cubicBezTo>
                  <a:pt x="8797613" y="1522321"/>
                  <a:pt x="8386361" y="1490170"/>
                  <a:pt x="8081087" y="1509373"/>
                </a:cubicBezTo>
                <a:cubicBezTo>
                  <a:pt x="7775813" y="1528576"/>
                  <a:pt x="7645628" y="1523666"/>
                  <a:pt x="7506749" y="1509373"/>
                </a:cubicBezTo>
                <a:cubicBezTo>
                  <a:pt x="7367870" y="1495080"/>
                  <a:pt x="7197594" y="1521518"/>
                  <a:pt x="6932412" y="1509373"/>
                </a:cubicBezTo>
                <a:cubicBezTo>
                  <a:pt x="6667230" y="1497228"/>
                  <a:pt x="6657204" y="1496357"/>
                  <a:pt x="6459428" y="1509373"/>
                </a:cubicBezTo>
                <a:cubicBezTo>
                  <a:pt x="6261652" y="1522389"/>
                  <a:pt x="6072808" y="1529949"/>
                  <a:pt x="5885090" y="1509373"/>
                </a:cubicBezTo>
                <a:cubicBezTo>
                  <a:pt x="5697372" y="1488797"/>
                  <a:pt x="5350621" y="1534473"/>
                  <a:pt x="5108046" y="1509373"/>
                </a:cubicBezTo>
                <a:cubicBezTo>
                  <a:pt x="4865471" y="1484273"/>
                  <a:pt x="4621780" y="1493154"/>
                  <a:pt x="4229647" y="1509373"/>
                </a:cubicBezTo>
                <a:cubicBezTo>
                  <a:pt x="3837514" y="1525592"/>
                  <a:pt x="3980402" y="1504629"/>
                  <a:pt x="3858017" y="1509373"/>
                </a:cubicBezTo>
                <a:cubicBezTo>
                  <a:pt x="3735632" y="1514118"/>
                  <a:pt x="3435733" y="1526885"/>
                  <a:pt x="3283679" y="1509373"/>
                </a:cubicBezTo>
                <a:cubicBezTo>
                  <a:pt x="3131625" y="1491861"/>
                  <a:pt x="2860827" y="1472854"/>
                  <a:pt x="2506634" y="1509373"/>
                </a:cubicBezTo>
                <a:cubicBezTo>
                  <a:pt x="2152442" y="1545892"/>
                  <a:pt x="1983911" y="1475604"/>
                  <a:pt x="1830943" y="1509373"/>
                </a:cubicBezTo>
                <a:cubicBezTo>
                  <a:pt x="1677975" y="1543142"/>
                  <a:pt x="1260856" y="1494055"/>
                  <a:pt x="952544" y="1509373"/>
                </a:cubicBezTo>
                <a:cubicBezTo>
                  <a:pt x="644232" y="1524691"/>
                  <a:pt x="290811" y="1548450"/>
                  <a:pt x="40361" y="1509373"/>
                </a:cubicBezTo>
                <a:cubicBezTo>
                  <a:pt x="16068" y="1509953"/>
                  <a:pt x="79" y="1488629"/>
                  <a:pt x="0" y="1469012"/>
                </a:cubicBezTo>
                <a:cubicBezTo>
                  <a:pt x="-20495" y="1360635"/>
                  <a:pt x="14771" y="1178180"/>
                  <a:pt x="0" y="1035655"/>
                </a:cubicBezTo>
                <a:cubicBezTo>
                  <a:pt x="-14771" y="893130"/>
                  <a:pt x="9308" y="782309"/>
                  <a:pt x="0" y="573724"/>
                </a:cubicBezTo>
                <a:cubicBezTo>
                  <a:pt x="-9308" y="365139"/>
                  <a:pt x="857" y="273250"/>
                  <a:pt x="0" y="40361"/>
                </a:cubicBezTo>
                <a:close/>
              </a:path>
              <a:path w="10216091" h="1509373" stroke="0" extrusionOk="0">
                <a:moveTo>
                  <a:pt x="0" y="40361"/>
                </a:moveTo>
                <a:cubicBezTo>
                  <a:pt x="-4157" y="19482"/>
                  <a:pt x="19779" y="-4036"/>
                  <a:pt x="40361" y="0"/>
                </a:cubicBezTo>
                <a:cubicBezTo>
                  <a:pt x="141266" y="-72"/>
                  <a:pt x="286389" y="-9562"/>
                  <a:pt x="411991" y="0"/>
                </a:cubicBezTo>
                <a:cubicBezTo>
                  <a:pt x="537593" y="9562"/>
                  <a:pt x="610164" y="15898"/>
                  <a:pt x="783621" y="0"/>
                </a:cubicBezTo>
                <a:cubicBezTo>
                  <a:pt x="957078" y="-15898"/>
                  <a:pt x="1345730" y="6144"/>
                  <a:pt x="1560666" y="0"/>
                </a:cubicBezTo>
                <a:cubicBezTo>
                  <a:pt x="1775602" y="-6144"/>
                  <a:pt x="2256501" y="34725"/>
                  <a:pt x="2439065" y="0"/>
                </a:cubicBezTo>
                <a:cubicBezTo>
                  <a:pt x="2621629" y="-34725"/>
                  <a:pt x="3018541" y="3659"/>
                  <a:pt x="3216110" y="0"/>
                </a:cubicBezTo>
                <a:cubicBezTo>
                  <a:pt x="3413680" y="-3659"/>
                  <a:pt x="3610855" y="-5144"/>
                  <a:pt x="3891801" y="0"/>
                </a:cubicBezTo>
                <a:cubicBezTo>
                  <a:pt x="4172747" y="5144"/>
                  <a:pt x="4417796" y="-23512"/>
                  <a:pt x="4770200" y="0"/>
                </a:cubicBezTo>
                <a:cubicBezTo>
                  <a:pt x="5122604" y="23512"/>
                  <a:pt x="5288504" y="-2808"/>
                  <a:pt x="5547245" y="0"/>
                </a:cubicBezTo>
                <a:cubicBezTo>
                  <a:pt x="5805986" y="2808"/>
                  <a:pt x="5989176" y="1543"/>
                  <a:pt x="6121582" y="0"/>
                </a:cubicBezTo>
                <a:cubicBezTo>
                  <a:pt x="6253988" y="-1543"/>
                  <a:pt x="6411230" y="11563"/>
                  <a:pt x="6695920" y="0"/>
                </a:cubicBezTo>
                <a:cubicBezTo>
                  <a:pt x="6980610" y="-11563"/>
                  <a:pt x="7305113" y="-10366"/>
                  <a:pt x="7574319" y="0"/>
                </a:cubicBezTo>
                <a:cubicBezTo>
                  <a:pt x="7843525" y="10366"/>
                  <a:pt x="8208750" y="27153"/>
                  <a:pt x="8452717" y="0"/>
                </a:cubicBezTo>
                <a:cubicBezTo>
                  <a:pt x="8696684" y="-27153"/>
                  <a:pt x="8977257" y="21328"/>
                  <a:pt x="9229762" y="0"/>
                </a:cubicBezTo>
                <a:cubicBezTo>
                  <a:pt x="9482268" y="-21328"/>
                  <a:pt x="9969662" y="-14070"/>
                  <a:pt x="10175730" y="0"/>
                </a:cubicBezTo>
                <a:cubicBezTo>
                  <a:pt x="10200258" y="1868"/>
                  <a:pt x="10218890" y="14987"/>
                  <a:pt x="10216091" y="40361"/>
                </a:cubicBezTo>
                <a:cubicBezTo>
                  <a:pt x="10207927" y="222233"/>
                  <a:pt x="10223735" y="292859"/>
                  <a:pt x="10216091" y="516578"/>
                </a:cubicBezTo>
                <a:cubicBezTo>
                  <a:pt x="10208447" y="740297"/>
                  <a:pt x="10200811" y="774553"/>
                  <a:pt x="10216091" y="978508"/>
                </a:cubicBezTo>
                <a:cubicBezTo>
                  <a:pt x="10231372" y="1182463"/>
                  <a:pt x="10225092" y="1267511"/>
                  <a:pt x="10216091" y="1469012"/>
                </a:cubicBezTo>
                <a:cubicBezTo>
                  <a:pt x="10214487" y="1490511"/>
                  <a:pt x="10202207" y="1506705"/>
                  <a:pt x="10175730" y="1509373"/>
                </a:cubicBezTo>
                <a:cubicBezTo>
                  <a:pt x="9987039" y="1533047"/>
                  <a:pt x="9742776" y="1493516"/>
                  <a:pt x="9601392" y="1509373"/>
                </a:cubicBezTo>
                <a:cubicBezTo>
                  <a:pt x="9460008" y="1525230"/>
                  <a:pt x="9249337" y="1521793"/>
                  <a:pt x="9128409" y="1509373"/>
                </a:cubicBezTo>
                <a:cubicBezTo>
                  <a:pt x="9007481" y="1496953"/>
                  <a:pt x="8845834" y="1520301"/>
                  <a:pt x="8756778" y="1509373"/>
                </a:cubicBezTo>
                <a:cubicBezTo>
                  <a:pt x="8667722" y="1498445"/>
                  <a:pt x="8356023" y="1527671"/>
                  <a:pt x="7979733" y="1509373"/>
                </a:cubicBezTo>
                <a:cubicBezTo>
                  <a:pt x="7603444" y="1491075"/>
                  <a:pt x="7391505" y="1489039"/>
                  <a:pt x="7202688" y="1509373"/>
                </a:cubicBezTo>
                <a:cubicBezTo>
                  <a:pt x="7013871" y="1529707"/>
                  <a:pt x="6973452" y="1521882"/>
                  <a:pt x="6831058" y="1509373"/>
                </a:cubicBezTo>
                <a:cubicBezTo>
                  <a:pt x="6688664" y="1496865"/>
                  <a:pt x="6459352" y="1476640"/>
                  <a:pt x="6155367" y="1509373"/>
                </a:cubicBezTo>
                <a:cubicBezTo>
                  <a:pt x="5851382" y="1542106"/>
                  <a:pt x="5900709" y="1510761"/>
                  <a:pt x="5783737" y="1509373"/>
                </a:cubicBezTo>
                <a:cubicBezTo>
                  <a:pt x="5666765" y="1507986"/>
                  <a:pt x="5476479" y="1496840"/>
                  <a:pt x="5209399" y="1509373"/>
                </a:cubicBezTo>
                <a:cubicBezTo>
                  <a:pt x="4942319" y="1521906"/>
                  <a:pt x="4747769" y="1544253"/>
                  <a:pt x="4331001" y="1509373"/>
                </a:cubicBezTo>
                <a:cubicBezTo>
                  <a:pt x="3914233" y="1474493"/>
                  <a:pt x="3717201" y="1495551"/>
                  <a:pt x="3452602" y="1509373"/>
                </a:cubicBezTo>
                <a:cubicBezTo>
                  <a:pt x="3188003" y="1523195"/>
                  <a:pt x="3057406" y="1537534"/>
                  <a:pt x="2675557" y="1509373"/>
                </a:cubicBezTo>
                <a:cubicBezTo>
                  <a:pt x="2293708" y="1481212"/>
                  <a:pt x="2101042" y="1493168"/>
                  <a:pt x="1898512" y="1509373"/>
                </a:cubicBezTo>
                <a:cubicBezTo>
                  <a:pt x="1695983" y="1525578"/>
                  <a:pt x="1699442" y="1495448"/>
                  <a:pt x="1526882" y="1509373"/>
                </a:cubicBezTo>
                <a:cubicBezTo>
                  <a:pt x="1354322" y="1523299"/>
                  <a:pt x="1141954" y="1492986"/>
                  <a:pt x="851191" y="1509373"/>
                </a:cubicBezTo>
                <a:cubicBezTo>
                  <a:pt x="560428" y="1525760"/>
                  <a:pt x="234849" y="1541760"/>
                  <a:pt x="40361" y="1509373"/>
                </a:cubicBezTo>
                <a:cubicBezTo>
                  <a:pt x="17888" y="1509915"/>
                  <a:pt x="-145" y="1489768"/>
                  <a:pt x="0" y="1469012"/>
                </a:cubicBezTo>
                <a:cubicBezTo>
                  <a:pt x="-20596" y="1358869"/>
                  <a:pt x="-6436" y="1113436"/>
                  <a:pt x="0" y="1007082"/>
                </a:cubicBezTo>
                <a:cubicBezTo>
                  <a:pt x="6436" y="900728"/>
                  <a:pt x="20354" y="648069"/>
                  <a:pt x="0" y="502291"/>
                </a:cubicBezTo>
                <a:cubicBezTo>
                  <a:pt x="-20354" y="356513"/>
                  <a:pt x="22430" y="208312"/>
                  <a:pt x="0" y="40361"/>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572659312">
                  <a:prstGeom prst="roundRect">
                    <a:avLst>
                      <a:gd name="adj" fmla="val 2674"/>
                    </a:avLst>
                  </a:prstGeom>
                  <ask:type>
                    <ask:lineSketchFreehan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6" name="Graphic 5" descr="Users">
            <a:extLst>
              <a:ext uri="{FF2B5EF4-FFF2-40B4-BE49-F238E27FC236}">
                <a16:creationId xmlns:a16="http://schemas.microsoft.com/office/drawing/2014/main" id="{CC8D0F8D-0CC8-4661-98C8-85DA24EF7F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81048" y="541187"/>
            <a:ext cx="914400" cy="914400"/>
          </a:xfrm>
          <a:prstGeom prst="rect">
            <a:avLst/>
          </a:prstGeom>
        </p:spPr>
      </p:pic>
      <p:sp>
        <p:nvSpPr>
          <p:cNvPr id="10" name="Rectangle: Rounded Corners 9">
            <a:extLst>
              <a:ext uri="{FF2B5EF4-FFF2-40B4-BE49-F238E27FC236}">
                <a16:creationId xmlns:a16="http://schemas.microsoft.com/office/drawing/2014/main" id="{278E4DA1-2F11-4F97-834B-4D591C8F646A}"/>
              </a:ext>
            </a:extLst>
          </p:cNvPr>
          <p:cNvSpPr/>
          <p:nvPr/>
        </p:nvSpPr>
        <p:spPr>
          <a:xfrm>
            <a:off x="706651" y="2269097"/>
            <a:ext cx="2120576" cy="698240"/>
          </a:xfrm>
          <a:solidFill>
            <a:schemeClr val="bg1">
              <a:lumMod val="9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4EF72201-9C97-4D36-B49E-4AC9B04ECF1D}"/>
              </a:ext>
            </a:extLst>
          </p:cNvPr>
          <p:cNvSpPr/>
          <p:nvPr/>
        </p:nvSpPr>
        <p:spPr>
          <a:xfrm>
            <a:off x="846477" y="2361720"/>
            <a:ext cx="2120576" cy="698240"/>
          </a:xfrm>
          <a:solidFill>
            <a:schemeClr val="bg1">
              <a:lumMod val="9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7500AD72-B715-4E46-A02C-60D5B801F0EF}"/>
              </a:ext>
            </a:extLst>
          </p:cNvPr>
          <p:cNvSpPr/>
          <p:nvPr/>
        </p:nvSpPr>
        <p:spPr>
          <a:xfrm flipH="1">
            <a:off x="3349288" y="3714516"/>
            <a:ext cx="1686390" cy="698241"/>
          </a:xfrm>
          <a:custGeom>
            <a:avLst/>
            <a:gdLst>
              <a:gd name="connsiteX0" fmla="*/ 0 w 1686390"/>
              <a:gd name="connsiteY0" fmla="*/ 18671 h 698241"/>
              <a:gd name="connsiteX1" fmla="*/ 18671 w 1686390"/>
              <a:gd name="connsiteY1" fmla="*/ 0 h 698241"/>
              <a:gd name="connsiteX2" fmla="*/ 1667719 w 1686390"/>
              <a:gd name="connsiteY2" fmla="*/ 0 h 698241"/>
              <a:gd name="connsiteX3" fmla="*/ 1686390 w 1686390"/>
              <a:gd name="connsiteY3" fmla="*/ 18671 h 698241"/>
              <a:gd name="connsiteX4" fmla="*/ 1686390 w 1686390"/>
              <a:gd name="connsiteY4" fmla="*/ 679570 h 698241"/>
              <a:gd name="connsiteX5" fmla="*/ 1667719 w 1686390"/>
              <a:gd name="connsiteY5" fmla="*/ 698241 h 698241"/>
              <a:gd name="connsiteX6" fmla="*/ 18671 w 1686390"/>
              <a:gd name="connsiteY6" fmla="*/ 698241 h 698241"/>
              <a:gd name="connsiteX7" fmla="*/ 0 w 1686390"/>
              <a:gd name="connsiteY7" fmla="*/ 679570 h 698241"/>
              <a:gd name="connsiteX8" fmla="*/ 0 w 1686390"/>
              <a:gd name="connsiteY8" fmla="*/ 18671 h 69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98241" fill="none" extrusionOk="0">
                <a:moveTo>
                  <a:pt x="0" y="18671"/>
                </a:moveTo>
                <a:cubicBezTo>
                  <a:pt x="1314" y="9039"/>
                  <a:pt x="9969" y="137"/>
                  <a:pt x="18671" y="0"/>
                </a:cubicBezTo>
                <a:cubicBezTo>
                  <a:pt x="633836" y="93468"/>
                  <a:pt x="1399995" y="-67478"/>
                  <a:pt x="1667719" y="0"/>
                </a:cubicBezTo>
                <a:cubicBezTo>
                  <a:pt x="1677944" y="-273"/>
                  <a:pt x="1687891" y="7476"/>
                  <a:pt x="1686390" y="18671"/>
                </a:cubicBezTo>
                <a:cubicBezTo>
                  <a:pt x="1653175" y="195542"/>
                  <a:pt x="1671427" y="527815"/>
                  <a:pt x="1686390" y="679570"/>
                </a:cubicBezTo>
                <a:cubicBezTo>
                  <a:pt x="1688389" y="689722"/>
                  <a:pt x="1678356" y="699834"/>
                  <a:pt x="1667719" y="698241"/>
                </a:cubicBezTo>
                <a:cubicBezTo>
                  <a:pt x="885616" y="627547"/>
                  <a:pt x="792662" y="673515"/>
                  <a:pt x="18671" y="698241"/>
                </a:cubicBezTo>
                <a:cubicBezTo>
                  <a:pt x="7589" y="699836"/>
                  <a:pt x="116" y="691823"/>
                  <a:pt x="0" y="679570"/>
                </a:cubicBezTo>
                <a:cubicBezTo>
                  <a:pt x="6681" y="452927"/>
                  <a:pt x="-33732" y="251979"/>
                  <a:pt x="0" y="18671"/>
                </a:cubicBezTo>
                <a:close/>
              </a:path>
              <a:path w="1686390" h="698241" stroke="0" extrusionOk="0">
                <a:moveTo>
                  <a:pt x="0" y="18671"/>
                </a:moveTo>
                <a:cubicBezTo>
                  <a:pt x="334" y="6389"/>
                  <a:pt x="8584" y="218"/>
                  <a:pt x="18671" y="0"/>
                </a:cubicBezTo>
                <a:cubicBezTo>
                  <a:pt x="186107" y="-95216"/>
                  <a:pt x="1350880" y="-75982"/>
                  <a:pt x="1667719" y="0"/>
                </a:cubicBezTo>
                <a:cubicBezTo>
                  <a:pt x="1677637" y="-1073"/>
                  <a:pt x="1686535" y="8408"/>
                  <a:pt x="1686390" y="18671"/>
                </a:cubicBezTo>
                <a:cubicBezTo>
                  <a:pt x="1667516" y="146961"/>
                  <a:pt x="1735949" y="508986"/>
                  <a:pt x="1686390" y="679570"/>
                </a:cubicBezTo>
                <a:cubicBezTo>
                  <a:pt x="1686828" y="688320"/>
                  <a:pt x="1677936" y="698011"/>
                  <a:pt x="1667719" y="698241"/>
                </a:cubicBezTo>
                <a:cubicBezTo>
                  <a:pt x="1246674" y="644330"/>
                  <a:pt x="546425" y="717505"/>
                  <a:pt x="18671" y="698241"/>
                </a:cubicBezTo>
                <a:cubicBezTo>
                  <a:pt x="9876" y="698489"/>
                  <a:pt x="354" y="689959"/>
                  <a:pt x="0" y="679570"/>
                </a:cubicBezTo>
                <a:cubicBezTo>
                  <a:pt x="-17920" y="588935"/>
                  <a:pt x="41704" y="344174"/>
                  <a:pt x="0" y="18671"/>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CF0815B8-8EF3-4A57-ADEE-26D010261966}"/>
              </a:ext>
            </a:extLst>
          </p:cNvPr>
          <p:cNvSpPr txBox="1"/>
          <p:nvPr/>
        </p:nvSpPr>
        <p:spPr>
          <a:xfrm>
            <a:off x="1422177" y="2488891"/>
            <a:ext cx="15448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de Repo</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89CEE07A-7E85-4D2C-BC9F-C55A83E1D005}"/>
              </a:ext>
            </a:extLst>
          </p:cNvPr>
          <p:cNvSpPr/>
          <p:nvPr/>
        </p:nvSpPr>
        <p:spPr>
          <a:xfrm>
            <a:off x="1853790" y="4713208"/>
            <a:ext cx="1370004" cy="694038"/>
          </a:xfrm>
          <a:custGeom>
            <a:avLst/>
            <a:gdLst>
              <a:gd name="connsiteX0" fmla="*/ 0 w 1370004"/>
              <a:gd name="connsiteY0" fmla="*/ 18559 h 694038"/>
              <a:gd name="connsiteX1" fmla="*/ 18559 w 1370004"/>
              <a:gd name="connsiteY1" fmla="*/ 0 h 694038"/>
              <a:gd name="connsiteX2" fmla="*/ 1351445 w 1370004"/>
              <a:gd name="connsiteY2" fmla="*/ 0 h 694038"/>
              <a:gd name="connsiteX3" fmla="*/ 1370004 w 1370004"/>
              <a:gd name="connsiteY3" fmla="*/ 18559 h 694038"/>
              <a:gd name="connsiteX4" fmla="*/ 1370004 w 1370004"/>
              <a:gd name="connsiteY4" fmla="*/ 675479 h 694038"/>
              <a:gd name="connsiteX5" fmla="*/ 1351445 w 1370004"/>
              <a:gd name="connsiteY5" fmla="*/ 694038 h 694038"/>
              <a:gd name="connsiteX6" fmla="*/ 18559 w 1370004"/>
              <a:gd name="connsiteY6" fmla="*/ 694038 h 694038"/>
              <a:gd name="connsiteX7" fmla="*/ 0 w 1370004"/>
              <a:gd name="connsiteY7" fmla="*/ 675479 h 694038"/>
              <a:gd name="connsiteX8" fmla="*/ 0 w 1370004"/>
              <a:gd name="connsiteY8" fmla="*/ 18559 h 69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004" h="694038" fill="none" extrusionOk="0">
                <a:moveTo>
                  <a:pt x="0" y="18559"/>
                </a:moveTo>
                <a:cubicBezTo>
                  <a:pt x="-1356" y="8425"/>
                  <a:pt x="9699" y="649"/>
                  <a:pt x="18559" y="0"/>
                </a:cubicBezTo>
                <a:cubicBezTo>
                  <a:pt x="242336" y="40505"/>
                  <a:pt x="1139499" y="-39924"/>
                  <a:pt x="1351445" y="0"/>
                </a:cubicBezTo>
                <a:cubicBezTo>
                  <a:pt x="1362240" y="-631"/>
                  <a:pt x="1371391" y="7953"/>
                  <a:pt x="1370004" y="18559"/>
                </a:cubicBezTo>
                <a:cubicBezTo>
                  <a:pt x="1392356" y="175156"/>
                  <a:pt x="1344433" y="581511"/>
                  <a:pt x="1370004" y="675479"/>
                </a:cubicBezTo>
                <a:cubicBezTo>
                  <a:pt x="1369307" y="685704"/>
                  <a:pt x="1360915" y="694525"/>
                  <a:pt x="1351445" y="694038"/>
                </a:cubicBezTo>
                <a:cubicBezTo>
                  <a:pt x="701697" y="775449"/>
                  <a:pt x="581902" y="713654"/>
                  <a:pt x="18559" y="694038"/>
                </a:cubicBezTo>
                <a:cubicBezTo>
                  <a:pt x="7339" y="693702"/>
                  <a:pt x="1194" y="686466"/>
                  <a:pt x="0" y="675479"/>
                </a:cubicBezTo>
                <a:cubicBezTo>
                  <a:pt x="-43536" y="490100"/>
                  <a:pt x="-52567" y="235239"/>
                  <a:pt x="0" y="18559"/>
                </a:cubicBezTo>
                <a:close/>
              </a:path>
              <a:path w="1370004" h="694038" stroke="0" extrusionOk="0">
                <a:moveTo>
                  <a:pt x="0" y="18559"/>
                </a:moveTo>
                <a:cubicBezTo>
                  <a:pt x="1234" y="9736"/>
                  <a:pt x="7074" y="-537"/>
                  <a:pt x="18559" y="0"/>
                </a:cubicBezTo>
                <a:cubicBezTo>
                  <a:pt x="536466" y="-97460"/>
                  <a:pt x="1122941" y="19608"/>
                  <a:pt x="1351445" y="0"/>
                </a:cubicBezTo>
                <a:cubicBezTo>
                  <a:pt x="1361478" y="777"/>
                  <a:pt x="1370221" y="10127"/>
                  <a:pt x="1370004" y="18559"/>
                </a:cubicBezTo>
                <a:cubicBezTo>
                  <a:pt x="1335044" y="280867"/>
                  <a:pt x="1318358" y="532776"/>
                  <a:pt x="1370004" y="675479"/>
                </a:cubicBezTo>
                <a:cubicBezTo>
                  <a:pt x="1370110" y="685575"/>
                  <a:pt x="1360800" y="693979"/>
                  <a:pt x="1351445" y="694038"/>
                </a:cubicBezTo>
                <a:cubicBezTo>
                  <a:pt x="865063" y="751577"/>
                  <a:pt x="607007" y="685319"/>
                  <a:pt x="18559" y="694038"/>
                </a:cubicBezTo>
                <a:cubicBezTo>
                  <a:pt x="6852" y="693580"/>
                  <a:pt x="-1210" y="685732"/>
                  <a:pt x="0" y="675479"/>
                </a:cubicBezTo>
                <a:cubicBezTo>
                  <a:pt x="47538" y="390071"/>
                  <a:pt x="-1446" y="172615"/>
                  <a:pt x="0" y="18559"/>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Model Training Services</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17" name="Picture 8" descr="Apache Airflow - Wikipedia">
            <a:extLst>
              <a:ext uri="{FF2B5EF4-FFF2-40B4-BE49-F238E27FC236}">
                <a16:creationId xmlns:a16="http://schemas.microsoft.com/office/drawing/2014/main" id="{BA188259-F94E-4791-AB02-BA29DC4886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9284" y="3791176"/>
            <a:ext cx="1370004" cy="52927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010D84F0-2165-456C-AE56-44967FD7D4DB}"/>
              </a:ext>
            </a:extLst>
          </p:cNvPr>
          <p:cNvSpPr/>
          <p:nvPr/>
        </p:nvSpPr>
        <p:spPr>
          <a:xfrm flipH="1">
            <a:off x="5600968" y="4745698"/>
            <a:ext cx="1686390" cy="644115"/>
          </a:xfrm>
          <a:custGeom>
            <a:avLst/>
            <a:gdLst>
              <a:gd name="connsiteX0" fmla="*/ 0 w 1686390"/>
              <a:gd name="connsiteY0" fmla="*/ 17224 h 644115"/>
              <a:gd name="connsiteX1" fmla="*/ 17224 w 1686390"/>
              <a:gd name="connsiteY1" fmla="*/ 0 h 644115"/>
              <a:gd name="connsiteX2" fmla="*/ 1669166 w 1686390"/>
              <a:gd name="connsiteY2" fmla="*/ 0 h 644115"/>
              <a:gd name="connsiteX3" fmla="*/ 1686390 w 1686390"/>
              <a:gd name="connsiteY3" fmla="*/ 17224 h 644115"/>
              <a:gd name="connsiteX4" fmla="*/ 1686390 w 1686390"/>
              <a:gd name="connsiteY4" fmla="*/ 626891 h 644115"/>
              <a:gd name="connsiteX5" fmla="*/ 1669166 w 1686390"/>
              <a:gd name="connsiteY5" fmla="*/ 644115 h 644115"/>
              <a:gd name="connsiteX6" fmla="*/ 17224 w 1686390"/>
              <a:gd name="connsiteY6" fmla="*/ 644115 h 644115"/>
              <a:gd name="connsiteX7" fmla="*/ 0 w 1686390"/>
              <a:gd name="connsiteY7" fmla="*/ 626891 h 644115"/>
              <a:gd name="connsiteX8" fmla="*/ 0 w 1686390"/>
              <a:gd name="connsiteY8" fmla="*/ 17224 h 6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44115" fill="none" extrusionOk="0">
                <a:moveTo>
                  <a:pt x="0" y="17224"/>
                </a:moveTo>
                <a:cubicBezTo>
                  <a:pt x="1356" y="8413"/>
                  <a:pt x="8335" y="53"/>
                  <a:pt x="17224" y="0"/>
                </a:cubicBezTo>
                <a:cubicBezTo>
                  <a:pt x="421360" y="-140038"/>
                  <a:pt x="989146" y="129901"/>
                  <a:pt x="1669166" y="0"/>
                </a:cubicBezTo>
                <a:cubicBezTo>
                  <a:pt x="1678516" y="-511"/>
                  <a:pt x="1687437" y="7095"/>
                  <a:pt x="1686390" y="17224"/>
                </a:cubicBezTo>
                <a:cubicBezTo>
                  <a:pt x="1710610" y="286466"/>
                  <a:pt x="1666865" y="538258"/>
                  <a:pt x="1686390" y="626891"/>
                </a:cubicBezTo>
                <a:cubicBezTo>
                  <a:pt x="1687941" y="636280"/>
                  <a:pt x="1678721" y="644320"/>
                  <a:pt x="1669166" y="644115"/>
                </a:cubicBezTo>
                <a:cubicBezTo>
                  <a:pt x="1200695" y="658465"/>
                  <a:pt x="468548" y="671753"/>
                  <a:pt x="17224" y="644115"/>
                </a:cubicBezTo>
                <a:cubicBezTo>
                  <a:pt x="7542" y="644464"/>
                  <a:pt x="60" y="637411"/>
                  <a:pt x="0" y="626891"/>
                </a:cubicBezTo>
                <a:cubicBezTo>
                  <a:pt x="7619" y="383807"/>
                  <a:pt x="21136" y="258805"/>
                  <a:pt x="0" y="17224"/>
                </a:cubicBezTo>
                <a:close/>
              </a:path>
              <a:path w="1686390" h="644115" stroke="0" extrusionOk="0">
                <a:moveTo>
                  <a:pt x="0" y="17224"/>
                </a:moveTo>
                <a:cubicBezTo>
                  <a:pt x="316" y="5847"/>
                  <a:pt x="8323" y="596"/>
                  <a:pt x="17224" y="0"/>
                </a:cubicBezTo>
                <a:cubicBezTo>
                  <a:pt x="828038" y="-16787"/>
                  <a:pt x="1115774" y="12154"/>
                  <a:pt x="1669166" y="0"/>
                </a:cubicBezTo>
                <a:cubicBezTo>
                  <a:pt x="1678086" y="-1616"/>
                  <a:pt x="1687341" y="8033"/>
                  <a:pt x="1686390" y="17224"/>
                </a:cubicBezTo>
                <a:cubicBezTo>
                  <a:pt x="1646872" y="217122"/>
                  <a:pt x="1731394" y="539685"/>
                  <a:pt x="1686390" y="626891"/>
                </a:cubicBezTo>
                <a:cubicBezTo>
                  <a:pt x="1686475" y="636102"/>
                  <a:pt x="1678471" y="643611"/>
                  <a:pt x="1669166" y="644115"/>
                </a:cubicBezTo>
                <a:cubicBezTo>
                  <a:pt x="1221532" y="719867"/>
                  <a:pt x="387213" y="611314"/>
                  <a:pt x="17224" y="644115"/>
                </a:cubicBezTo>
                <a:cubicBezTo>
                  <a:pt x="8657" y="644270"/>
                  <a:pt x="939" y="636608"/>
                  <a:pt x="0" y="626891"/>
                </a:cubicBezTo>
                <a:cubicBezTo>
                  <a:pt x="20006" y="562471"/>
                  <a:pt x="-22603" y="140039"/>
                  <a:pt x="0" y="1722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19" name="Picture 12" descr="Introducing MLflow: an Open Source Platform for the Complete Machine  Learning Lifecycle">
            <a:extLst>
              <a:ext uri="{FF2B5EF4-FFF2-40B4-BE49-F238E27FC236}">
                <a16:creationId xmlns:a16="http://schemas.microsoft.com/office/drawing/2014/main" id="{4A7C7958-3DDB-4D53-A212-1E9BAA1FC70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539" r="27841" b="65037"/>
          <a:stretch/>
        </p:blipFill>
        <p:spPr bwMode="auto">
          <a:xfrm>
            <a:off x="5923929" y="4861720"/>
            <a:ext cx="1145893" cy="429343"/>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F0F27FB9-3583-49AF-A4D2-D1BD854E64C5}"/>
              </a:ext>
            </a:extLst>
          </p:cNvPr>
          <p:cNvCxnSpPr>
            <a:cxnSpLocks/>
            <a:endCxn id="10" idx="0"/>
          </p:cNvCxnSpPr>
          <p:nvPr/>
        </p:nvCxnSpPr>
        <p:spPr>
          <a:xfrm>
            <a:off x="1766939" y="1797513"/>
            <a:ext cx="0" cy="47158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D2DFAF0A-9433-4174-9795-1581EA7DCE74}"/>
              </a:ext>
            </a:extLst>
          </p:cNvPr>
          <p:cNvSpPr/>
          <p:nvPr/>
        </p:nvSpPr>
        <p:spPr>
          <a:xfrm>
            <a:off x="10009605" y="4836201"/>
            <a:ext cx="1269195" cy="774883"/>
          </a:xfrm>
          <a:custGeom>
            <a:avLst/>
            <a:gdLst>
              <a:gd name="connsiteX0" fmla="*/ 0 w 1269195"/>
              <a:gd name="connsiteY0" fmla="*/ 20720 h 774883"/>
              <a:gd name="connsiteX1" fmla="*/ 20720 w 1269195"/>
              <a:gd name="connsiteY1" fmla="*/ 0 h 774883"/>
              <a:gd name="connsiteX2" fmla="*/ 1248475 w 1269195"/>
              <a:gd name="connsiteY2" fmla="*/ 0 h 774883"/>
              <a:gd name="connsiteX3" fmla="*/ 1269195 w 1269195"/>
              <a:gd name="connsiteY3" fmla="*/ 20720 h 774883"/>
              <a:gd name="connsiteX4" fmla="*/ 1269195 w 1269195"/>
              <a:gd name="connsiteY4" fmla="*/ 754163 h 774883"/>
              <a:gd name="connsiteX5" fmla="*/ 1248475 w 1269195"/>
              <a:gd name="connsiteY5" fmla="*/ 774883 h 774883"/>
              <a:gd name="connsiteX6" fmla="*/ 20720 w 1269195"/>
              <a:gd name="connsiteY6" fmla="*/ 774883 h 774883"/>
              <a:gd name="connsiteX7" fmla="*/ 0 w 1269195"/>
              <a:gd name="connsiteY7" fmla="*/ 754163 h 774883"/>
              <a:gd name="connsiteX8" fmla="*/ 0 w 1269195"/>
              <a:gd name="connsiteY8" fmla="*/ 20720 h 77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195" h="774883" fill="none" extrusionOk="0">
                <a:moveTo>
                  <a:pt x="0" y="20720"/>
                </a:moveTo>
                <a:cubicBezTo>
                  <a:pt x="1344" y="9973"/>
                  <a:pt x="9509" y="20"/>
                  <a:pt x="20720" y="0"/>
                </a:cubicBezTo>
                <a:cubicBezTo>
                  <a:pt x="225797" y="65049"/>
                  <a:pt x="767587" y="96571"/>
                  <a:pt x="1248475" y="0"/>
                </a:cubicBezTo>
                <a:cubicBezTo>
                  <a:pt x="1259662" y="-800"/>
                  <a:pt x="1271026" y="8200"/>
                  <a:pt x="1269195" y="20720"/>
                </a:cubicBezTo>
                <a:cubicBezTo>
                  <a:pt x="1246582" y="205700"/>
                  <a:pt x="1213123" y="504802"/>
                  <a:pt x="1269195" y="754163"/>
                </a:cubicBezTo>
                <a:cubicBezTo>
                  <a:pt x="1271132" y="765451"/>
                  <a:pt x="1260035" y="775456"/>
                  <a:pt x="1248475" y="774883"/>
                </a:cubicBezTo>
                <a:cubicBezTo>
                  <a:pt x="1036889" y="687341"/>
                  <a:pt x="339356" y="735217"/>
                  <a:pt x="20720" y="774883"/>
                </a:cubicBezTo>
                <a:cubicBezTo>
                  <a:pt x="8699" y="776079"/>
                  <a:pt x="74" y="766845"/>
                  <a:pt x="0" y="754163"/>
                </a:cubicBezTo>
                <a:cubicBezTo>
                  <a:pt x="9234" y="475954"/>
                  <a:pt x="31780" y="304034"/>
                  <a:pt x="0" y="20720"/>
                </a:cubicBezTo>
                <a:close/>
              </a:path>
              <a:path w="1269195" h="774883" stroke="0" extrusionOk="0">
                <a:moveTo>
                  <a:pt x="0" y="20720"/>
                </a:moveTo>
                <a:cubicBezTo>
                  <a:pt x="249" y="7807"/>
                  <a:pt x="10816" y="1497"/>
                  <a:pt x="20720" y="0"/>
                </a:cubicBezTo>
                <a:cubicBezTo>
                  <a:pt x="310788" y="-36993"/>
                  <a:pt x="1099450" y="58987"/>
                  <a:pt x="1248475" y="0"/>
                </a:cubicBezTo>
                <a:cubicBezTo>
                  <a:pt x="1259272" y="-1760"/>
                  <a:pt x="1269410" y="9350"/>
                  <a:pt x="1269195" y="20720"/>
                </a:cubicBezTo>
                <a:cubicBezTo>
                  <a:pt x="1329562" y="321864"/>
                  <a:pt x="1305581" y="525239"/>
                  <a:pt x="1269195" y="754163"/>
                </a:cubicBezTo>
                <a:cubicBezTo>
                  <a:pt x="1269759" y="763598"/>
                  <a:pt x="1259749" y="774473"/>
                  <a:pt x="1248475" y="774883"/>
                </a:cubicBezTo>
                <a:cubicBezTo>
                  <a:pt x="724113" y="875371"/>
                  <a:pt x="451709" y="724586"/>
                  <a:pt x="20720" y="774883"/>
                </a:cubicBezTo>
                <a:cubicBezTo>
                  <a:pt x="9855" y="774977"/>
                  <a:pt x="1710" y="765977"/>
                  <a:pt x="0" y="754163"/>
                </a:cubicBezTo>
                <a:cubicBezTo>
                  <a:pt x="55361" y="543775"/>
                  <a:pt x="-36026" y="355194"/>
                  <a:pt x="0" y="20720"/>
                </a:cubicBezTo>
                <a:close/>
              </a:path>
            </a:pathLst>
          </a:custGeom>
          <a:solidFill>
            <a:schemeClr val="accent2">
              <a:lumMod val="20000"/>
              <a:lumOff val="80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cxnSp>
        <p:nvCxnSpPr>
          <p:cNvPr id="27" name="Straight Arrow Connector 26">
            <a:extLst>
              <a:ext uri="{FF2B5EF4-FFF2-40B4-BE49-F238E27FC236}">
                <a16:creationId xmlns:a16="http://schemas.microsoft.com/office/drawing/2014/main" id="{87AE0643-2E54-41E5-ABDA-66AC95226E1C}"/>
              </a:ext>
            </a:extLst>
          </p:cNvPr>
          <p:cNvCxnSpPr>
            <a:cxnSpLocks/>
            <a:stCxn id="12" idx="2"/>
            <a:endCxn id="16" idx="0"/>
          </p:cNvCxnSpPr>
          <p:nvPr/>
        </p:nvCxnSpPr>
        <p:spPr>
          <a:xfrm flipH="1">
            <a:off x="2538792" y="4412757"/>
            <a:ext cx="1653691" cy="300451"/>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0CE40A-DFEC-4003-923F-2528E23158F2}"/>
              </a:ext>
            </a:extLst>
          </p:cNvPr>
          <p:cNvCxnSpPr>
            <a:cxnSpLocks/>
            <a:stCxn id="16" idx="3"/>
            <a:endCxn id="18" idx="3"/>
          </p:cNvCxnSpPr>
          <p:nvPr/>
        </p:nvCxnSpPr>
        <p:spPr>
          <a:xfrm>
            <a:off x="3223794" y="5060227"/>
            <a:ext cx="2377174" cy="752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CE220120-09C1-4E13-A3F2-0C0CBB7C966A}"/>
              </a:ext>
            </a:extLst>
          </p:cNvPr>
          <p:cNvSpPr/>
          <p:nvPr/>
        </p:nvSpPr>
        <p:spPr>
          <a:xfrm flipH="1">
            <a:off x="7432812" y="6077360"/>
            <a:ext cx="1686390" cy="644115"/>
          </a:xfrm>
          <a:custGeom>
            <a:avLst/>
            <a:gdLst>
              <a:gd name="connsiteX0" fmla="*/ 0 w 1686390"/>
              <a:gd name="connsiteY0" fmla="*/ 17224 h 644115"/>
              <a:gd name="connsiteX1" fmla="*/ 17224 w 1686390"/>
              <a:gd name="connsiteY1" fmla="*/ 0 h 644115"/>
              <a:gd name="connsiteX2" fmla="*/ 1669166 w 1686390"/>
              <a:gd name="connsiteY2" fmla="*/ 0 h 644115"/>
              <a:gd name="connsiteX3" fmla="*/ 1686390 w 1686390"/>
              <a:gd name="connsiteY3" fmla="*/ 17224 h 644115"/>
              <a:gd name="connsiteX4" fmla="*/ 1686390 w 1686390"/>
              <a:gd name="connsiteY4" fmla="*/ 626891 h 644115"/>
              <a:gd name="connsiteX5" fmla="*/ 1669166 w 1686390"/>
              <a:gd name="connsiteY5" fmla="*/ 644115 h 644115"/>
              <a:gd name="connsiteX6" fmla="*/ 17224 w 1686390"/>
              <a:gd name="connsiteY6" fmla="*/ 644115 h 644115"/>
              <a:gd name="connsiteX7" fmla="*/ 0 w 1686390"/>
              <a:gd name="connsiteY7" fmla="*/ 626891 h 644115"/>
              <a:gd name="connsiteX8" fmla="*/ 0 w 1686390"/>
              <a:gd name="connsiteY8" fmla="*/ 17224 h 6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44115" fill="none" extrusionOk="0">
                <a:moveTo>
                  <a:pt x="0" y="17224"/>
                </a:moveTo>
                <a:cubicBezTo>
                  <a:pt x="1356" y="8413"/>
                  <a:pt x="8335" y="53"/>
                  <a:pt x="17224" y="0"/>
                </a:cubicBezTo>
                <a:cubicBezTo>
                  <a:pt x="421360" y="-140038"/>
                  <a:pt x="989146" y="129901"/>
                  <a:pt x="1669166" y="0"/>
                </a:cubicBezTo>
                <a:cubicBezTo>
                  <a:pt x="1678516" y="-511"/>
                  <a:pt x="1687437" y="7095"/>
                  <a:pt x="1686390" y="17224"/>
                </a:cubicBezTo>
                <a:cubicBezTo>
                  <a:pt x="1710610" y="286466"/>
                  <a:pt x="1666865" y="538258"/>
                  <a:pt x="1686390" y="626891"/>
                </a:cubicBezTo>
                <a:cubicBezTo>
                  <a:pt x="1687941" y="636280"/>
                  <a:pt x="1678721" y="644320"/>
                  <a:pt x="1669166" y="644115"/>
                </a:cubicBezTo>
                <a:cubicBezTo>
                  <a:pt x="1200695" y="658465"/>
                  <a:pt x="468548" y="671753"/>
                  <a:pt x="17224" y="644115"/>
                </a:cubicBezTo>
                <a:cubicBezTo>
                  <a:pt x="7542" y="644464"/>
                  <a:pt x="60" y="637411"/>
                  <a:pt x="0" y="626891"/>
                </a:cubicBezTo>
                <a:cubicBezTo>
                  <a:pt x="7619" y="383807"/>
                  <a:pt x="21136" y="258805"/>
                  <a:pt x="0" y="17224"/>
                </a:cubicBezTo>
                <a:close/>
              </a:path>
              <a:path w="1686390" h="644115" stroke="0" extrusionOk="0">
                <a:moveTo>
                  <a:pt x="0" y="17224"/>
                </a:moveTo>
                <a:cubicBezTo>
                  <a:pt x="316" y="5847"/>
                  <a:pt x="8323" y="596"/>
                  <a:pt x="17224" y="0"/>
                </a:cubicBezTo>
                <a:cubicBezTo>
                  <a:pt x="828038" y="-16787"/>
                  <a:pt x="1115774" y="12154"/>
                  <a:pt x="1669166" y="0"/>
                </a:cubicBezTo>
                <a:cubicBezTo>
                  <a:pt x="1678086" y="-1616"/>
                  <a:pt x="1687341" y="8033"/>
                  <a:pt x="1686390" y="17224"/>
                </a:cubicBezTo>
                <a:cubicBezTo>
                  <a:pt x="1646872" y="217122"/>
                  <a:pt x="1731394" y="539685"/>
                  <a:pt x="1686390" y="626891"/>
                </a:cubicBezTo>
                <a:cubicBezTo>
                  <a:pt x="1686475" y="636102"/>
                  <a:pt x="1678471" y="643611"/>
                  <a:pt x="1669166" y="644115"/>
                </a:cubicBezTo>
                <a:cubicBezTo>
                  <a:pt x="1221532" y="719867"/>
                  <a:pt x="387213" y="611314"/>
                  <a:pt x="17224" y="644115"/>
                </a:cubicBezTo>
                <a:cubicBezTo>
                  <a:pt x="8657" y="644270"/>
                  <a:pt x="939" y="636608"/>
                  <a:pt x="0" y="626891"/>
                </a:cubicBezTo>
                <a:cubicBezTo>
                  <a:pt x="20006" y="562471"/>
                  <a:pt x="-22603" y="140039"/>
                  <a:pt x="0" y="1722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Model Repository</a:t>
            </a:r>
          </a:p>
        </p:txBody>
      </p:sp>
      <p:cxnSp>
        <p:nvCxnSpPr>
          <p:cNvPr id="38" name="Straight Arrow Connector 37">
            <a:extLst>
              <a:ext uri="{FF2B5EF4-FFF2-40B4-BE49-F238E27FC236}">
                <a16:creationId xmlns:a16="http://schemas.microsoft.com/office/drawing/2014/main" id="{645C0545-8494-41AA-9ABE-016EB86967C2}"/>
              </a:ext>
            </a:extLst>
          </p:cNvPr>
          <p:cNvCxnSpPr>
            <a:cxnSpLocks/>
            <a:stCxn id="18" idx="2"/>
            <a:endCxn id="35" idx="0"/>
          </p:cNvCxnSpPr>
          <p:nvPr/>
        </p:nvCxnSpPr>
        <p:spPr>
          <a:xfrm>
            <a:off x="6444163" y="5389813"/>
            <a:ext cx="1831844" cy="68754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7CCB7B1D-96AB-49F3-AFB3-E9748F7B6DDB}"/>
              </a:ext>
            </a:extLst>
          </p:cNvPr>
          <p:cNvSpPr/>
          <p:nvPr/>
        </p:nvSpPr>
        <p:spPr>
          <a:xfrm>
            <a:off x="7627487" y="3748799"/>
            <a:ext cx="1680528" cy="663958"/>
          </a:xfrm>
          <a:custGeom>
            <a:avLst/>
            <a:gdLst>
              <a:gd name="connsiteX0" fmla="*/ 0 w 1680528"/>
              <a:gd name="connsiteY0" fmla="*/ 17754 h 663958"/>
              <a:gd name="connsiteX1" fmla="*/ 17754 w 1680528"/>
              <a:gd name="connsiteY1" fmla="*/ 0 h 663958"/>
              <a:gd name="connsiteX2" fmla="*/ 1662774 w 1680528"/>
              <a:gd name="connsiteY2" fmla="*/ 0 h 663958"/>
              <a:gd name="connsiteX3" fmla="*/ 1680528 w 1680528"/>
              <a:gd name="connsiteY3" fmla="*/ 17754 h 663958"/>
              <a:gd name="connsiteX4" fmla="*/ 1680528 w 1680528"/>
              <a:gd name="connsiteY4" fmla="*/ 646204 h 663958"/>
              <a:gd name="connsiteX5" fmla="*/ 1662774 w 1680528"/>
              <a:gd name="connsiteY5" fmla="*/ 663958 h 663958"/>
              <a:gd name="connsiteX6" fmla="*/ 17754 w 1680528"/>
              <a:gd name="connsiteY6" fmla="*/ 663958 h 663958"/>
              <a:gd name="connsiteX7" fmla="*/ 0 w 1680528"/>
              <a:gd name="connsiteY7" fmla="*/ 646204 h 663958"/>
              <a:gd name="connsiteX8" fmla="*/ 0 w 1680528"/>
              <a:gd name="connsiteY8" fmla="*/ 17754 h 66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0528" h="663958" fill="none" extrusionOk="0">
                <a:moveTo>
                  <a:pt x="0" y="17754"/>
                </a:moveTo>
                <a:cubicBezTo>
                  <a:pt x="-719" y="8010"/>
                  <a:pt x="9640" y="790"/>
                  <a:pt x="17754" y="0"/>
                </a:cubicBezTo>
                <a:cubicBezTo>
                  <a:pt x="723785" y="-109342"/>
                  <a:pt x="1253605" y="-101531"/>
                  <a:pt x="1662774" y="0"/>
                </a:cubicBezTo>
                <a:cubicBezTo>
                  <a:pt x="1673579" y="-1159"/>
                  <a:pt x="1681138" y="7793"/>
                  <a:pt x="1680528" y="17754"/>
                </a:cubicBezTo>
                <a:cubicBezTo>
                  <a:pt x="1731876" y="107973"/>
                  <a:pt x="1651133" y="434378"/>
                  <a:pt x="1680528" y="646204"/>
                </a:cubicBezTo>
                <a:cubicBezTo>
                  <a:pt x="1679172" y="655961"/>
                  <a:pt x="1671415" y="664685"/>
                  <a:pt x="1662774" y="663958"/>
                </a:cubicBezTo>
                <a:cubicBezTo>
                  <a:pt x="1101394" y="562163"/>
                  <a:pt x="530040" y="807397"/>
                  <a:pt x="17754" y="663958"/>
                </a:cubicBezTo>
                <a:cubicBezTo>
                  <a:pt x="7412" y="663772"/>
                  <a:pt x="774" y="656486"/>
                  <a:pt x="0" y="646204"/>
                </a:cubicBezTo>
                <a:cubicBezTo>
                  <a:pt x="-42340" y="482002"/>
                  <a:pt x="-51222" y="164741"/>
                  <a:pt x="0" y="17754"/>
                </a:cubicBezTo>
                <a:close/>
              </a:path>
              <a:path w="1680528" h="663958" stroke="0" extrusionOk="0">
                <a:moveTo>
                  <a:pt x="0" y="17754"/>
                </a:moveTo>
                <a:cubicBezTo>
                  <a:pt x="798" y="8872"/>
                  <a:pt x="7304" y="-280"/>
                  <a:pt x="17754" y="0"/>
                </a:cubicBezTo>
                <a:cubicBezTo>
                  <a:pt x="324779" y="-79035"/>
                  <a:pt x="1072663" y="-82524"/>
                  <a:pt x="1662774" y="0"/>
                </a:cubicBezTo>
                <a:cubicBezTo>
                  <a:pt x="1672256" y="1160"/>
                  <a:pt x="1680755" y="9849"/>
                  <a:pt x="1680528" y="17754"/>
                </a:cubicBezTo>
                <a:cubicBezTo>
                  <a:pt x="1668401" y="191116"/>
                  <a:pt x="1735526" y="472496"/>
                  <a:pt x="1680528" y="646204"/>
                </a:cubicBezTo>
                <a:cubicBezTo>
                  <a:pt x="1681413" y="654725"/>
                  <a:pt x="1671988" y="663919"/>
                  <a:pt x="1662774" y="663958"/>
                </a:cubicBezTo>
                <a:cubicBezTo>
                  <a:pt x="1249139" y="727426"/>
                  <a:pt x="560299" y="520254"/>
                  <a:pt x="17754" y="663958"/>
                </a:cubicBezTo>
                <a:cubicBezTo>
                  <a:pt x="7233" y="663733"/>
                  <a:pt x="-1055" y="656011"/>
                  <a:pt x="0" y="646204"/>
                </a:cubicBezTo>
                <a:cubicBezTo>
                  <a:pt x="-41958" y="386367"/>
                  <a:pt x="41566" y="282141"/>
                  <a:pt x="0" y="1775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ediction Service</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33DEBB4E-6695-4DCF-B6FB-3043B4549F89}"/>
              </a:ext>
            </a:extLst>
          </p:cNvPr>
          <p:cNvSpPr/>
          <p:nvPr/>
        </p:nvSpPr>
        <p:spPr>
          <a:xfrm>
            <a:off x="9547472" y="2432114"/>
            <a:ext cx="2365530" cy="773954"/>
          </a:xfrm>
          <a:custGeom>
            <a:avLst/>
            <a:gdLst>
              <a:gd name="connsiteX0" fmla="*/ 0 w 2365530"/>
              <a:gd name="connsiteY0" fmla="*/ 20696 h 773954"/>
              <a:gd name="connsiteX1" fmla="*/ 20696 w 2365530"/>
              <a:gd name="connsiteY1" fmla="*/ 0 h 773954"/>
              <a:gd name="connsiteX2" fmla="*/ 2344834 w 2365530"/>
              <a:gd name="connsiteY2" fmla="*/ 0 h 773954"/>
              <a:gd name="connsiteX3" fmla="*/ 2365530 w 2365530"/>
              <a:gd name="connsiteY3" fmla="*/ 20696 h 773954"/>
              <a:gd name="connsiteX4" fmla="*/ 2365530 w 2365530"/>
              <a:gd name="connsiteY4" fmla="*/ 753258 h 773954"/>
              <a:gd name="connsiteX5" fmla="*/ 2344834 w 2365530"/>
              <a:gd name="connsiteY5" fmla="*/ 773954 h 773954"/>
              <a:gd name="connsiteX6" fmla="*/ 20696 w 2365530"/>
              <a:gd name="connsiteY6" fmla="*/ 773954 h 773954"/>
              <a:gd name="connsiteX7" fmla="*/ 0 w 2365530"/>
              <a:gd name="connsiteY7" fmla="*/ 753258 h 773954"/>
              <a:gd name="connsiteX8" fmla="*/ 0 w 2365530"/>
              <a:gd name="connsiteY8" fmla="*/ 20696 h 7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5530" h="773954" fill="none" extrusionOk="0">
                <a:moveTo>
                  <a:pt x="0" y="20696"/>
                </a:moveTo>
                <a:cubicBezTo>
                  <a:pt x="-710" y="9327"/>
                  <a:pt x="10983" y="802"/>
                  <a:pt x="20696" y="0"/>
                </a:cubicBezTo>
                <a:cubicBezTo>
                  <a:pt x="725411" y="-90641"/>
                  <a:pt x="1468213" y="45799"/>
                  <a:pt x="2344834" y="0"/>
                </a:cubicBezTo>
                <a:cubicBezTo>
                  <a:pt x="2356443" y="-207"/>
                  <a:pt x="2367141" y="8853"/>
                  <a:pt x="2365530" y="20696"/>
                </a:cubicBezTo>
                <a:cubicBezTo>
                  <a:pt x="2310892" y="320685"/>
                  <a:pt x="2387948" y="574015"/>
                  <a:pt x="2365530" y="753258"/>
                </a:cubicBezTo>
                <a:cubicBezTo>
                  <a:pt x="2363575" y="764619"/>
                  <a:pt x="2354933" y="774785"/>
                  <a:pt x="2344834" y="773954"/>
                </a:cubicBezTo>
                <a:cubicBezTo>
                  <a:pt x="1722699" y="833667"/>
                  <a:pt x="470696" y="677487"/>
                  <a:pt x="20696" y="773954"/>
                </a:cubicBezTo>
                <a:cubicBezTo>
                  <a:pt x="7413" y="773311"/>
                  <a:pt x="1374" y="765536"/>
                  <a:pt x="0" y="753258"/>
                </a:cubicBezTo>
                <a:cubicBezTo>
                  <a:pt x="10458" y="506697"/>
                  <a:pt x="-54221" y="98896"/>
                  <a:pt x="0" y="20696"/>
                </a:cubicBezTo>
                <a:close/>
              </a:path>
              <a:path w="2365530" h="773954" stroke="0" extrusionOk="0">
                <a:moveTo>
                  <a:pt x="0" y="20696"/>
                </a:moveTo>
                <a:cubicBezTo>
                  <a:pt x="1299" y="10768"/>
                  <a:pt x="9103" y="-71"/>
                  <a:pt x="20696" y="0"/>
                </a:cubicBezTo>
                <a:cubicBezTo>
                  <a:pt x="323721" y="-131170"/>
                  <a:pt x="2017502" y="72476"/>
                  <a:pt x="2344834" y="0"/>
                </a:cubicBezTo>
                <a:cubicBezTo>
                  <a:pt x="2355831" y="1553"/>
                  <a:pt x="2365605" y="9895"/>
                  <a:pt x="2365530" y="20696"/>
                </a:cubicBezTo>
                <a:cubicBezTo>
                  <a:pt x="2385028" y="94612"/>
                  <a:pt x="2314337" y="593245"/>
                  <a:pt x="2365530" y="753258"/>
                </a:cubicBezTo>
                <a:cubicBezTo>
                  <a:pt x="2365723" y="764408"/>
                  <a:pt x="2355032" y="773873"/>
                  <a:pt x="2344834" y="773954"/>
                </a:cubicBezTo>
                <a:cubicBezTo>
                  <a:pt x="1263530" y="617881"/>
                  <a:pt x="609373" y="899743"/>
                  <a:pt x="20696" y="773954"/>
                </a:cubicBezTo>
                <a:cubicBezTo>
                  <a:pt x="8333" y="773661"/>
                  <a:pt x="-1889" y="764692"/>
                  <a:pt x="0" y="753258"/>
                </a:cubicBezTo>
                <a:cubicBezTo>
                  <a:pt x="-5078" y="546908"/>
                  <a:pt x="8869" y="153629"/>
                  <a:pt x="0" y="20696"/>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41" name="Picture 18" descr="Getting Started with Apache Kafka and Apache Flume (Import data to HDFS) |  by Hadi Fadlallah | Towards Data Science">
            <a:extLst>
              <a:ext uri="{FF2B5EF4-FFF2-40B4-BE49-F238E27FC236}">
                <a16:creationId xmlns:a16="http://schemas.microsoft.com/office/drawing/2014/main" id="{28B9DAA9-1166-4224-9EE7-61D1888592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87425" y="2469036"/>
            <a:ext cx="1977183" cy="590113"/>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B10749E2-C2B4-4396-943B-1549CCDF0CE1}"/>
              </a:ext>
            </a:extLst>
          </p:cNvPr>
          <p:cNvCxnSpPr>
            <a:cxnSpLocks/>
            <a:endCxn id="42" idx="1"/>
          </p:cNvCxnSpPr>
          <p:nvPr/>
        </p:nvCxnSpPr>
        <p:spPr>
          <a:xfrm>
            <a:off x="5008767" y="4063636"/>
            <a:ext cx="2618720" cy="17142"/>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EB102E9-2668-4390-86C4-7DD95A4EE600}"/>
              </a:ext>
            </a:extLst>
          </p:cNvPr>
          <p:cNvCxnSpPr>
            <a:cxnSpLocks/>
            <a:stCxn id="43" idx="1"/>
            <a:endCxn id="42" idx="0"/>
          </p:cNvCxnSpPr>
          <p:nvPr/>
        </p:nvCxnSpPr>
        <p:spPr>
          <a:xfrm flipH="1">
            <a:off x="8467751" y="2819091"/>
            <a:ext cx="1079721" cy="92970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B6FBC8D-9C86-4510-9D77-557468A1ACD4}"/>
              </a:ext>
            </a:extLst>
          </p:cNvPr>
          <p:cNvCxnSpPr>
            <a:cxnSpLocks/>
            <a:stCxn id="18" idx="1"/>
            <a:endCxn id="42" idx="2"/>
          </p:cNvCxnSpPr>
          <p:nvPr/>
        </p:nvCxnSpPr>
        <p:spPr>
          <a:xfrm flipV="1">
            <a:off x="7287358" y="4412757"/>
            <a:ext cx="1180393" cy="65499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0B75596-AFA6-4A2C-8B60-42795B3B568A}"/>
              </a:ext>
            </a:extLst>
          </p:cNvPr>
          <p:cNvSpPr txBox="1"/>
          <p:nvPr/>
        </p:nvSpPr>
        <p:spPr>
          <a:xfrm>
            <a:off x="6126315" y="5656935"/>
            <a:ext cx="119135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ined Model</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4" name="Straight Arrow Connector 63">
            <a:extLst>
              <a:ext uri="{FF2B5EF4-FFF2-40B4-BE49-F238E27FC236}">
                <a16:creationId xmlns:a16="http://schemas.microsoft.com/office/drawing/2014/main" id="{C102A07D-D039-4F08-8AA6-68DD00EF2441}"/>
              </a:ext>
            </a:extLst>
          </p:cNvPr>
          <p:cNvCxnSpPr>
            <a:cxnSpLocks/>
            <a:stCxn id="42" idx="3"/>
          </p:cNvCxnSpPr>
          <p:nvPr/>
        </p:nvCxnSpPr>
        <p:spPr>
          <a:xfrm>
            <a:off x="9308015" y="4080778"/>
            <a:ext cx="1422222" cy="84184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B89C11C3-1560-4C0A-BB8C-52F087BF0D33}"/>
              </a:ext>
            </a:extLst>
          </p:cNvPr>
          <p:cNvSpPr txBox="1"/>
          <p:nvPr/>
        </p:nvSpPr>
        <p:spPr>
          <a:xfrm>
            <a:off x="4822023" y="5481437"/>
            <a:ext cx="11913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cking</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32D15B19-F3C1-4364-878A-6EE072E70906}"/>
              </a:ext>
            </a:extLst>
          </p:cNvPr>
          <p:cNvSpPr txBox="1"/>
          <p:nvPr/>
        </p:nvSpPr>
        <p:spPr>
          <a:xfrm>
            <a:off x="8131191" y="2743022"/>
            <a:ext cx="107972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diction Data</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2" name="Straight Arrow Connector 71">
            <a:extLst>
              <a:ext uri="{FF2B5EF4-FFF2-40B4-BE49-F238E27FC236}">
                <a16:creationId xmlns:a16="http://schemas.microsoft.com/office/drawing/2014/main" id="{FF11ACCB-9AE7-41FD-8AF4-36994D88FA96}"/>
              </a:ext>
            </a:extLst>
          </p:cNvPr>
          <p:cNvCxnSpPr>
            <a:cxnSpLocks/>
            <a:stCxn id="18" idx="0"/>
          </p:cNvCxnSpPr>
          <p:nvPr/>
        </p:nvCxnSpPr>
        <p:spPr>
          <a:xfrm flipH="1" flipV="1">
            <a:off x="6419372" y="1772341"/>
            <a:ext cx="24791" cy="2973357"/>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E091A8E-1B99-45B2-A8C5-B1B674F3F5B6}"/>
              </a:ext>
            </a:extLst>
          </p:cNvPr>
          <p:cNvCxnSpPr>
            <a:cxnSpLocks/>
          </p:cNvCxnSpPr>
          <p:nvPr/>
        </p:nvCxnSpPr>
        <p:spPr>
          <a:xfrm flipH="1" flipV="1">
            <a:off x="8002498" y="1719390"/>
            <a:ext cx="31260" cy="2029409"/>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A50D17E-148D-41E0-84D1-618F3CB9F7FC}"/>
              </a:ext>
            </a:extLst>
          </p:cNvPr>
          <p:cNvSpPr txBox="1"/>
          <p:nvPr/>
        </p:nvSpPr>
        <p:spPr>
          <a:xfrm>
            <a:off x="5425914" y="2404588"/>
            <a:ext cx="1001995"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racking and Model Repo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E945DC97-99E3-4638-9AC7-FE220B5F1234}"/>
              </a:ext>
            </a:extLst>
          </p:cNvPr>
          <p:cNvSpPr txBox="1"/>
          <p:nvPr/>
        </p:nvSpPr>
        <p:spPr>
          <a:xfrm>
            <a:off x="6802920" y="2509025"/>
            <a:ext cx="114468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ediction Pipeline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4B23C4F-1F36-4655-A243-41637B516357}"/>
              </a:ext>
            </a:extLst>
          </p:cNvPr>
          <p:cNvSpPr txBox="1"/>
          <p:nvPr/>
        </p:nvSpPr>
        <p:spPr>
          <a:xfrm>
            <a:off x="91098" y="190713"/>
            <a:ext cx="615553" cy="1581628"/>
          </a:xfrm>
          <a:prstGeom prst="rect">
            <a:avLst/>
          </a:prstGeom>
          <a:noFill/>
        </p:spPr>
        <p:txBody>
          <a:bodyPr vert="vert270"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I Studio</a:t>
            </a:r>
            <a:endParaRPr kumimoji="0" lang="en-IN"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30F8B636-6B95-473F-A7C9-4297D4F94FC4}"/>
              </a:ext>
            </a:extLst>
          </p:cNvPr>
          <p:cNvSpPr/>
          <p:nvPr/>
        </p:nvSpPr>
        <p:spPr>
          <a:xfrm>
            <a:off x="916994" y="411858"/>
            <a:ext cx="1315758" cy="1195854"/>
          </a:xfrm>
          <a:custGeom>
            <a:avLst/>
            <a:gdLst>
              <a:gd name="connsiteX0" fmla="*/ 0 w 1315758"/>
              <a:gd name="connsiteY0" fmla="*/ 0 h 1195854"/>
              <a:gd name="connsiteX1" fmla="*/ 1315758 w 1315758"/>
              <a:gd name="connsiteY1" fmla="*/ 0 h 1195854"/>
              <a:gd name="connsiteX2" fmla="*/ 1315758 w 1315758"/>
              <a:gd name="connsiteY2" fmla="*/ 1195854 h 1195854"/>
              <a:gd name="connsiteX3" fmla="*/ 0 w 1315758"/>
              <a:gd name="connsiteY3" fmla="*/ 1195854 h 1195854"/>
              <a:gd name="connsiteX4" fmla="*/ 0 w 1315758"/>
              <a:gd name="connsiteY4" fmla="*/ 0 h 119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5758" h="1195854" fill="none" extrusionOk="0">
                <a:moveTo>
                  <a:pt x="0" y="0"/>
                </a:moveTo>
                <a:cubicBezTo>
                  <a:pt x="588547" y="-117768"/>
                  <a:pt x="821023" y="-78696"/>
                  <a:pt x="1315758" y="0"/>
                </a:cubicBezTo>
                <a:cubicBezTo>
                  <a:pt x="1374148" y="563448"/>
                  <a:pt x="1360753" y="1026457"/>
                  <a:pt x="1315758" y="1195854"/>
                </a:cubicBezTo>
                <a:cubicBezTo>
                  <a:pt x="839331" y="1179420"/>
                  <a:pt x="497073" y="1265493"/>
                  <a:pt x="0" y="1195854"/>
                </a:cubicBezTo>
                <a:cubicBezTo>
                  <a:pt x="-53860" y="777771"/>
                  <a:pt x="-96599" y="465102"/>
                  <a:pt x="0" y="0"/>
                </a:cubicBezTo>
                <a:close/>
              </a:path>
              <a:path w="1315758" h="1195854" stroke="0" extrusionOk="0">
                <a:moveTo>
                  <a:pt x="0" y="0"/>
                </a:moveTo>
                <a:cubicBezTo>
                  <a:pt x="349544" y="-116378"/>
                  <a:pt x="889976" y="46060"/>
                  <a:pt x="1315758" y="0"/>
                </a:cubicBezTo>
                <a:cubicBezTo>
                  <a:pt x="1213074" y="318444"/>
                  <a:pt x="1364113" y="899458"/>
                  <a:pt x="1315758" y="1195854"/>
                </a:cubicBezTo>
                <a:cubicBezTo>
                  <a:pt x="814030" y="1267227"/>
                  <a:pt x="561664" y="1218351"/>
                  <a:pt x="0" y="1195854"/>
                </a:cubicBezTo>
                <a:cubicBezTo>
                  <a:pt x="-31479" y="812401"/>
                  <a:pt x="49935" y="58589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o Code UI</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081CFEF2-4F2B-4497-83A4-ADFF3B76B497}"/>
              </a:ext>
            </a:extLst>
          </p:cNvPr>
          <p:cNvSpPr/>
          <p:nvPr/>
        </p:nvSpPr>
        <p:spPr>
          <a:xfrm>
            <a:off x="2417631" y="1118216"/>
            <a:ext cx="1257386" cy="555794"/>
          </a:xfrm>
          <a:custGeom>
            <a:avLst/>
            <a:gdLst>
              <a:gd name="connsiteX0" fmla="*/ 0 w 1257386"/>
              <a:gd name="connsiteY0" fmla="*/ 0 h 555794"/>
              <a:gd name="connsiteX1" fmla="*/ 1257386 w 1257386"/>
              <a:gd name="connsiteY1" fmla="*/ 0 h 555794"/>
              <a:gd name="connsiteX2" fmla="*/ 1257386 w 1257386"/>
              <a:gd name="connsiteY2" fmla="*/ 555794 h 555794"/>
              <a:gd name="connsiteX3" fmla="*/ 0 w 1257386"/>
              <a:gd name="connsiteY3" fmla="*/ 555794 h 555794"/>
              <a:gd name="connsiteX4" fmla="*/ 0 w 1257386"/>
              <a:gd name="connsiteY4" fmla="*/ 0 h 55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86" h="555794" fill="none" extrusionOk="0">
                <a:moveTo>
                  <a:pt x="0" y="0"/>
                </a:moveTo>
                <a:cubicBezTo>
                  <a:pt x="596715" y="-53868"/>
                  <a:pt x="901419" y="54930"/>
                  <a:pt x="1257386" y="0"/>
                </a:cubicBezTo>
                <a:cubicBezTo>
                  <a:pt x="1259305" y="269234"/>
                  <a:pt x="1256266" y="489544"/>
                  <a:pt x="1257386" y="555794"/>
                </a:cubicBezTo>
                <a:cubicBezTo>
                  <a:pt x="651821" y="483102"/>
                  <a:pt x="322369" y="475088"/>
                  <a:pt x="0" y="555794"/>
                </a:cubicBezTo>
                <a:cubicBezTo>
                  <a:pt x="-35491" y="404217"/>
                  <a:pt x="-20065" y="155480"/>
                  <a:pt x="0" y="0"/>
                </a:cubicBezTo>
                <a:close/>
              </a:path>
              <a:path w="1257386" h="555794" stroke="0" extrusionOk="0">
                <a:moveTo>
                  <a:pt x="0" y="0"/>
                </a:moveTo>
                <a:cubicBezTo>
                  <a:pt x="556378" y="32342"/>
                  <a:pt x="1003195" y="-100326"/>
                  <a:pt x="1257386" y="0"/>
                </a:cubicBezTo>
                <a:cubicBezTo>
                  <a:pt x="1233403" y="197383"/>
                  <a:pt x="1244758" y="377998"/>
                  <a:pt x="1257386" y="555794"/>
                </a:cubicBezTo>
                <a:cubicBezTo>
                  <a:pt x="795918" y="458776"/>
                  <a:pt x="403416" y="544861"/>
                  <a:pt x="0" y="555794"/>
                </a:cubicBezTo>
                <a:cubicBezTo>
                  <a:pt x="-46107" y="310917"/>
                  <a:pt x="-17030" y="10256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Feature Engineer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ECC597BF-526E-48CC-B498-76EF027B67C1}"/>
              </a:ext>
            </a:extLst>
          </p:cNvPr>
          <p:cNvSpPr/>
          <p:nvPr/>
        </p:nvSpPr>
        <p:spPr>
          <a:xfrm>
            <a:off x="3822356" y="440377"/>
            <a:ext cx="1366252" cy="572713"/>
          </a:xfrm>
          <a:custGeom>
            <a:avLst/>
            <a:gdLst>
              <a:gd name="connsiteX0" fmla="*/ 0 w 1366252"/>
              <a:gd name="connsiteY0" fmla="*/ 0 h 572713"/>
              <a:gd name="connsiteX1" fmla="*/ 1366252 w 1366252"/>
              <a:gd name="connsiteY1" fmla="*/ 0 h 572713"/>
              <a:gd name="connsiteX2" fmla="*/ 1366252 w 1366252"/>
              <a:gd name="connsiteY2" fmla="*/ 572713 h 572713"/>
              <a:gd name="connsiteX3" fmla="*/ 0 w 1366252"/>
              <a:gd name="connsiteY3" fmla="*/ 572713 h 572713"/>
              <a:gd name="connsiteX4" fmla="*/ 0 w 1366252"/>
              <a:gd name="connsiteY4" fmla="*/ 0 h 572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72713" fill="none" extrusionOk="0">
                <a:moveTo>
                  <a:pt x="0" y="0"/>
                </a:moveTo>
                <a:cubicBezTo>
                  <a:pt x="158132" y="77832"/>
                  <a:pt x="969564" y="-17135"/>
                  <a:pt x="1366252" y="0"/>
                </a:cubicBezTo>
                <a:cubicBezTo>
                  <a:pt x="1365195" y="79431"/>
                  <a:pt x="1398199" y="490694"/>
                  <a:pt x="1366252" y="572713"/>
                </a:cubicBezTo>
                <a:cubicBezTo>
                  <a:pt x="835862" y="466057"/>
                  <a:pt x="234015" y="550229"/>
                  <a:pt x="0" y="572713"/>
                </a:cubicBezTo>
                <a:cubicBezTo>
                  <a:pt x="-21326" y="426331"/>
                  <a:pt x="19928" y="222271"/>
                  <a:pt x="0" y="0"/>
                </a:cubicBezTo>
                <a:close/>
              </a:path>
              <a:path w="1366252" h="572713" stroke="0" extrusionOk="0">
                <a:moveTo>
                  <a:pt x="0" y="0"/>
                </a:moveTo>
                <a:cubicBezTo>
                  <a:pt x="537891" y="-99048"/>
                  <a:pt x="1057407" y="-5428"/>
                  <a:pt x="1366252" y="0"/>
                </a:cubicBezTo>
                <a:cubicBezTo>
                  <a:pt x="1354466" y="244588"/>
                  <a:pt x="1352263" y="402651"/>
                  <a:pt x="1366252" y="572713"/>
                </a:cubicBezTo>
                <a:cubicBezTo>
                  <a:pt x="1190367" y="566567"/>
                  <a:pt x="273743" y="499759"/>
                  <a:pt x="0" y="572713"/>
                </a:cubicBezTo>
                <a:cubicBezTo>
                  <a:pt x="5855" y="455118"/>
                  <a:pt x="2873" y="11882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uto Model</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8C71522B-B798-49B5-81DA-CC1D8A37C703}"/>
              </a:ext>
            </a:extLst>
          </p:cNvPr>
          <p:cNvSpPr/>
          <p:nvPr/>
        </p:nvSpPr>
        <p:spPr>
          <a:xfrm>
            <a:off x="5317556" y="445275"/>
            <a:ext cx="1366252" cy="535158"/>
          </a:xfrm>
          <a:custGeom>
            <a:avLst/>
            <a:gdLst>
              <a:gd name="connsiteX0" fmla="*/ 0 w 1366252"/>
              <a:gd name="connsiteY0" fmla="*/ 0 h 535158"/>
              <a:gd name="connsiteX1" fmla="*/ 1366252 w 1366252"/>
              <a:gd name="connsiteY1" fmla="*/ 0 h 535158"/>
              <a:gd name="connsiteX2" fmla="*/ 1366252 w 1366252"/>
              <a:gd name="connsiteY2" fmla="*/ 535158 h 535158"/>
              <a:gd name="connsiteX3" fmla="*/ 0 w 1366252"/>
              <a:gd name="connsiteY3" fmla="*/ 535158 h 535158"/>
              <a:gd name="connsiteX4" fmla="*/ 0 w 1366252"/>
              <a:gd name="connsiteY4" fmla="*/ 0 h 535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35158" fill="none" extrusionOk="0">
                <a:moveTo>
                  <a:pt x="0" y="0"/>
                </a:moveTo>
                <a:cubicBezTo>
                  <a:pt x="158132" y="77832"/>
                  <a:pt x="969564" y="-17135"/>
                  <a:pt x="1366252" y="0"/>
                </a:cubicBezTo>
                <a:cubicBezTo>
                  <a:pt x="1403872" y="176314"/>
                  <a:pt x="1357377" y="306415"/>
                  <a:pt x="1366252" y="535158"/>
                </a:cubicBezTo>
                <a:cubicBezTo>
                  <a:pt x="835862" y="428502"/>
                  <a:pt x="234015" y="512674"/>
                  <a:pt x="0" y="535158"/>
                </a:cubicBezTo>
                <a:cubicBezTo>
                  <a:pt x="21033" y="307018"/>
                  <a:pt x="-18581" y="143520"/>
                  <a:pt x="0" y="0"/>
                </a:cubicBezTo>
                <a:close/>
              </a:path>
              <a:path w="1366252" h="535158" stroke="0" extrusionOk="0">
                <a:moveTo>
                  <a:pt x="0" y="0"/>
                </a:moveTo>
                <a:cubicBezTo>
                  <a:pt x="537891" y="-99048"/>
                  <a:pt x="1057407" y="-5428"/>
                  <a:pt x="1366252" y="0"/>
                </a:cubicBezTo>
                <a:cubicBezTo>
                  <a:pt x="1334137" y="146295"/>
                  <a:pt x="1340165" y="274062"/>
                  <a:pt x="1366252" y="535158"/>
                </a:cubicBezTo>
                <a:cubicBezTo>
                  <a:pt x="1190367" y="529012"/>
                  <a:pt x="273743" y="462204"/>
                  <a:pt x="0" y="535158"/>
                </a:cubicBezTo>
                <a:cubicBezTo>
                  <a:pt x="-892" y="320449"/>
                  <a:pt x="31912" y="88959"/>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lgorithm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3607A5D4-2F76-4264-B554-471D5A69C718}"/>
              </a:ext>
            </a:extLst>
          </p:cNvPr>
          <p:cNvSpPr/>
          <p:nvPr/>
        </p:nvSpPr>
        <p:spPr>
          <a:xfrm>
            <a:off x="6831134" y="445761"/>
            <a:ext cx="1366252" cy="539611"/>
          </a:xfrm>
          <a:custGeom>
            <a:avLst/>
            <a:gdLst>
              <a:gd name="connsiteX0" fmla="*/ 0 w 1366252"/>
              <a:gd name="connsiteY0" fmla="*/ 0 h 539611"/>
              <a:gd name="connsiteX1" fmla="*/ 1366252 w 1366252"/>
              <a:gd name="connsiteY1" fmla="*/ 0 h 539611"/>
              <a:gd name="connsiteX2" fmla="*/ 1366252 w 1366252"/>
              <a:gd name="connsiteY2" fmla="*/ 539611 h 539611"/>
              <a:gd name="connsiteX3" fmla="*/ 0 w 1366252"/>
              <a:gd name="connsiteY3" fmla="*/ 539611 h 539611"/>
              <a:gd name="connsiteX4" fmla="*/ 0 w 1366252"/>
              <a:gd name="connsiteY4" fmla="*/ 0 h 539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39611" fill="none" extrusionOk="0">
                <a:moveTo>
                  <a:pt x="0" y="0"/>
                </a:moveTo>
                <a:cubicBezTo>
                  <a:pt x="158132" y="77832"/>
                  <a:pt x="969564" y="-17135"/>
                  <a:pt x="1366252" y="0"/>
                </a:cubicBezTo>
                <a:cubicBezTo>
                  <a:pt x="1334333" y="263376"/>
                  <a:pt x="1352243" y="368221"/>
                  <a:pt x="1366252" y="539611"/>
                </a:cubicBezTo>
                <a:cubicBezTo>
                  <a:pt x="835862" y="432955"/>
                  <a:pt x="234015" y="517127"/>
                  <a:pt x="0" y="539611"/>
                </a:cubicBezTo>
                <a:cubicBezTo>
                  <a:pt x="-14412" y="357579"/>
                  <a:pt x="-2781" y="74899"/>
                  <a:pt x="0" y="0"/>
                </a:cubicBezTo>
                <a:close/>
              </a:path>
              <a:path w="1366252" h="539611" stroke="0" extrusionOk="0">
                <a:moveTo>
                  <a:pt x="0" y="0"/>
                </a:moveTo>
                <a:cubicBezTo>
                  <a:pt x="537891" y="-99048"/>
                  <a:pt x="1057407" y="-5428"/>
                  <a:pt x="1366252" y="0"/>
                </a:cubicBezTo>
                <a:cubicBezTo>
                  <a:pt x="1390594" y="177079"/>
                  <a:pt x="1347137" y="458509"/>
                  <a:pt x="1366252" y="539611"/>
                </a:cubicBezTo>
                <a:cubicBezTo>
                  <a:pt x="1190367" y="533465"/>
                  <a:pt x="273743" y="466657"/>
                  <a:pt x="0" y="539611"/>
                </a:cubicBezTo>
                <a:cubicBezTo>
                  <a:pt x="-32432" y="393785"/>
                  <a:pt x="-26511" y="16497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rained Model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70AB8F09-0246-45D7-A196-B6A632852015}"/>
              </a:ext>
            </a:extLst>
          </p:cNvPr>
          <p:cNvSpPr/>
          <p:nvPr/>
        </p:nvSpPr>
        <p:spPr>
          <a:xfrm>
            <a:off x="8276007" y="456731"/>
            <a:ext cx="1271465" cy="541655"/>
          </a:xfrm>
          <a:custGeom>
            <a:avLst/>
            <a:gdLst>
              <a:gd name="connsiteX0" fmla="*/ 0 w 1271465"/>
              <a:gd name="connsiteY0" fmla="*/ 0 h 541655"/>
              <a:gd name="connsiteX1" fmla="*/ 1271465 w 1271465"/>
              <a:gd name="connsiteY1" fmla="*/ 0 h 541655"/>
              <a:gd name="connsiteX2" fmla="*/ 1271465 w 1271465"/>
              <a:gd name="connsiteY2" fmla="*/ 541655 h 541655"/>
              <a:gd name="connsiteX3" fmla="*/ 0 w 1271465"/>
              <a:gd name="connsiteY3" fmla="*/ 541655 h 541655"/>
              <a:gd name="connsiteX4" fmla="*/ 0 w 1271465"/>
              <a:gd name="connsiteY4" fmla="*/ 0 h 54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65" h="541655" fill="none" extrusionOk="0">
                <a:moveTo>
                  <a:pt x="0" y="0"/>
                </a:moveTo>
                <a:cubicBezTo>
                  <a:pt x="277918" y="-59312"/>
                  <a:pt x="659323" y="49283"/>
                  <a:pt x="1271465" y="0"/>
                </a:cubicBezTo>
                <a:cubicBezTo>
                  <a:pt x="1269237" y="58302"/>
                  <a:pt x="1265834" y="328342"/>
                  <a:pt x="1271465" y="541655"/>
                </a:cubicBezTo>
                <a:cubicBezTo>
                  <a:pt x="1009773" y="459642"/>
                  <a:pt x="345636" y="604444"/>
                  <a:pt x="0" y="541655"/>
                </a:cubicBezTo>
                <a:cubicBezTo>
                  <a:pt x="41654" y="444520"/>
                  <a:pt x="-32535" y="156873"/>
                  <a:pt x="0" y="0"/>
                </a:cubicBezTo>
                <a:close/>
              </a:path>
              <a:path w="1271465" h="541655" stroke="0" extrusionOk="0">
                <a:moveTo>
                  <a:pt x="0" y="0"/>
                </a:moveTo>
                <a:cubicBezTo>
                  <a:pt x="192125" y="15300"/>
                  <a:pt x="726107" y="-68239"/>
                  <a:pt x="1271465" y="0"/>
                </a:cubicBezTo>
                <a:cubicBezTo>
                  <a:pt x="1264001" y="178048"/>
                  <a:pt x="1292371" y="343359"/>
                  <a:pt x="1271465" y="541655"/>
                </a:cubicBezTo>
                <a:cubicBezTo>
                  <a:pt x="792903" y="649875"/>
                  <a:pt x="548835" y="641218"/>
                  <a:pt x="0" y="541655"/>
                </a:cubicBezTo>
                <a:cubicBezTo>
                  <a:pt x="7482" y="445542"/>
                  <a:pt x="-15408" y="21261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erformance monitor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CF708400-AEC5-48A5-BD26-B6DADDBB0ECD}"/>
              </a:ext>
            </a:extLst>
          </p:cNvPr>
          <p:cNvSpPr/>
          <p:nvPr/>
        </p:nvSpPr>
        <p:spPr>
          <a:xfrm>
            <a:off x="6866725" y="1130011"/>
            <a:ext cx="1330661" cy="523602"/>
          </a:xfrm>
          <a:custGeom>
            <a:avLst/>
            <a:gdLst>
              <a:gd name="connsiteX0" fmla="*/ 0 w 1330661"/>
              <a:gd name="connsiteY0" fmla="*/ 0 h 523602"/>
              <a:gd name="connsiteX1" fmla="*/ 1330661 w 1330661"/>
              <a:gd name="connsiteY1" fmla="*/ 0 h 523602"/>
              <a:gd name="connsiteX2" fmla="*/ 1330661 w 1330661"/>
              <a:gd name="connsiteY2" fmla="*/ 523602 h 523602"/>
              <a:gd name="connsiteX3" fmla="*/ 0 w 1330661"/>
              <a:gd name="connsiteY3" fmla="*/ 523602 h 523602"/>
              <a:gd name="connsiteX4" fmla="*/ 0 w 1330661"/>
              <a:gd name="connsiteY4" fmla="*/ 0 h 523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661" h="523602" fill="none" extrusionOk="0">
                <a:moveTo>
                  <a:pt x="0" y="0"/>
                </a:moveTo>
                <a:cubicBezTo>
                  <a:pt x="589504" y="92220"/>
                  <a:pt x="719187" y="11622"/>
                  <a:pt x="1330661" y="0"/>
                </a:cubicBezTo>
                <a:cubicBezTo>
                  <a:pt x="1322468" y="243489"/>
                  <a:pt x="1312488" y="292440"/>
                  <a:pt x="1330661" y="523602"/>
                </a:cubicBezTo>
                <a:cubicBezTo>
                  <a:pt x="791032" y="480912"/>
                  <a:pt x="645551" y="587944"/>
                  <a:pt x="0" y="523602"/>
                </a:cubicBezTo>
                <a:cubicBezTo>
                  <a:pt x="-665" y="272243"/>
                  <a:pt x="-1633" y="77929"/>
                  <a:pt x="0" y="0"/>
                </a:cubicBezTo>
                <a:close/>
              </a:path>
              <a:path w="1330661" h="523602" stroke="0" extrusionOk="0">
                <a:moveTo>
                  <a:pt x="0" y="0"/>
                </a:moveTo>
                <a:cubicBezTo>
                  <a:pt x="355657" y="33594"/>
                  <a:pt x="697378" y="51764"/>
                  <a:pt x="1330661" y="0"/>
                </a:cubicBezTo>
                <a:cubicBezTo>
                  <a:pt x="1307524" y="257104"/>
                  <a:pt x="1323022" y="410145"/>
                  <a:pt x="1330661" y="523602"/>
                </a:cubicBezTo>
                <a:cubicBezTo>
                  <a:pt x="1183288" y="616688"/>
                  <a:pt x="283460" y="641511"/>
                  <a:pt x="0" y="523602"/>
                </a:cubicBezTo>
                <a:cubicBezTo>
                  <a:pt x="-4489" y="324366"/>
                  <a:pt x="17776" y="120417"/>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rediction Pipeline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cxnSp>
        <p:nvCxnSpPr>
          <p:cNvPr id="90" name="Straight Arrow Connector 89">
            <a:extLst>
              <a:ext uri="{FF2B5EF4-FFF2-40B4-BE49-F238E27FC236}">
                <a16:creationId xmlns:a16="http://schemas.microsoft.com/office/drawing/2014/main" id="{6BB9D140-528A-4727-90AF-EC268BA88DFD}"/>
              </a:ext>
            </a:extLst>
          </p:cNvPr>
          <p:cNvCxnSpPr>
            <a:cxnSpLocks/>
          </p:cNvCxnSpPr>
          <p:nvPr/>
        </p:nvCxnSpPr>
        <p:spPr>
          <a:xfrm flipH="1" flipV="1">
            <a:off x="4612778" y="1763006"/>
            <a:ext cx="18197" cy="1942175"/>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89927B4-2E42-44F9-BBE9-DB65A6BCA02D}"/>
              </a:ext>
            </a:extLst>
          </p:cNvPr>
          <p:cNvSpPr txBox="1"/>
          <p:nvPr/>
        </p:nvSpPr>
        <p:spPr>
          <a:xfrm>
            <a:off x="3232443" y="5606759"/>
            <a:ext cx="1339854"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ockerize &amp; Schedule Deployments</a:t>
            </a:r>
          </a:p>
        </p:txBody>
      </p:sp>
      <p:sp>
        <p:nvSpPr>
          <p:cNvPr id="96" name="TextBox 95">
            <a:extLst>
              <a:ext uri="{FF2B5EF4-FFF2-40B4-BE49-F238E27FC236}">
                <a16:creationId xmlns:a16="http://schemas.microsoft.com/office/drawing/2014/main" id="{0BF8D290-372D-4F90-B997-58122FD9D970}"/>
              </a:ext>
            </a:extLst>
          </p:cNvPr>
          <p:cNvSpPr txBox="1"/>
          <p:nvPr/>
        </p:nvSpPr>
        <p:spPr>
          <a:xfrm>
            <a:off x="3475307" y="2509024"/>
            <a:ext cx="1122885"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cheduling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A30F2527-D125-4F42-B141-C3444C3A6E19}"/>
              </a:ext>
            </a:extLst>
          </p:cNvPr>
          <p:cNvSpPr/>
          <p:nvPr/>
        </p:nvSpPr>
        <p:spPr>
          <a:xfrm>
            <a:off x="8277883" y="1118216"/>
            <a:ext cx="1164697" cy="539611"/>
          </a:xfrm>
          <a:custGeom>
            <a:avLst/>
            <a:gdLst>
              <a:gd name="connsiteX0" fmla="*/ 0 w 1164697"/>
              <a:gd name="connsiteY0" fmla="*/ 0 h 539611"/>
              <a:gd name="connsiteX1" fmla="*/ 1164697 w 1164697"/>
              <a:gd name="connsiteY1" fmla="*/ 0 h 539611"/>
              <a:gd name="connsiteX2" fmla="*/ 1164697 w 1164697"/>
              <a:gd name="connsiteY2" fmla="*/ 539611 h 539611"/>
              <a:gd name="connsiteX3" fmla="*/ 0 w 1164697"/>
              <a:gd name="connsiteY3" fmla="*/ 539611 h 539611"/>
              <a:gd name="connsiteX4" fmla="*/ 0 w 1164697"/>
              <a:gd name="connsiteY4" fmla="*/ 0 h 539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4697" h="539611" fill="none" extrusionOk="0">
                <a:moveTo>
                  <a:pt x="0" y="0"/>
                </a:moveTo>
                <a:cubicBezTo>
                  <a:pt x="173315" y="-7736"/>
                  <a:pt x="681155" y="-20210"/>
                  <a:pt x="1164697" y="0"/>
                </a:cubicBezTo>
                <a:cubicBezTo>
                  <a:pt x="1132778" y="263376"/>
                  <a:pt x="1150688" y="368221"/>
                  <a:pt x="1164697" y="539611"/>
                </a:cubicBezTo>
                <a:cubicBezTo>
                  <a:pt x="847731" y="613361"/>
                  <a:pt x="494823" y="446490"/>
                  <a:pt x="0" y="539611"/>
                </a:cubicBezTo>
                <a:cubicBezTo>
                  <a:pt x="-14412" y="357579"/>
                  <a:pt x="-2781" y="74899"/>
                  <a:pt x="0" y="0"/>
                </a:cubicBezTo>
                <a:close/>
              </a:path>
              <a:path w="1164697" h="539611" stroke="0" extrusionOk="0">
                <a:moveTo>
                  <a:pt x="0" y="0"/>
                </a:moveTo>
                <a:cubicBezTo>
                  <a:pt x="227714" y="47500"/>
                  <a:pt x="933610" y="-38515"/>
                  <a:pt x="1164697" y="0"/>
                </a:cubicBezTo>
                <a:cubicBezTo>
                  <a:pt x="1189039" y="177079"/>
                  <a:pt x="1145582" y="458509"/>
                  <a:pt x="1164697" y="539611"/>
                </a:cubicBezTo>
                <a:cubicBezTo>
                  <a:pt x="963449" y="485226"/>
                  <a:pt x="150441" y="643143"/>
                  <a:pt x="0" y="539611"/>
                </a:cubicBezTo>
                <a:cubicBezTo>
                  <a:pt x="-32432" y="393785"/>
                  <a:pt x="-26511" y="16497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chedul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98" name="Rectangle: Rounded Corners 97">
            <a:extLst>
              <a:ext uri="{FF2B5EF4-FFF2-40B4-BE49-F238E27FC236}">
                <a16:creationId xmlns:a16="http://schemas.microsoft.com/office/drawing/2014/main" id="{57EAB26D-E556-48EE-B36F-45142CC5DC7B}"/>
              </a:ext>
            </a:extLst>
          </p:cNvPr>
          <p:cNvSpPr/>
          <p:nvPr/>
        </p:nvSpPr>
        <p:spPr>
          <a:xfrm>
            <a:off x="211683" y="5169341"/>
            <a:ext cx="2120576" cy="698240"/>
          </a:xfrm>
          <a:solidFill>
            <a:schemeClr val="accent1">
              <a:lumMod val="40000"/>
              <a:lumOff val="60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99" name="Rectangle: Rounded Corners 98">
            <a:extLst>
              <a:ext uri="{FF2B5EF4-FFF2-40B4-BE49-F238E27FC236}">
                <a16:creationId xmlns:a16="http://schemas.microsoft.com/office/drawing/2014/main" id="{37A8805E-FD07-44FB-BE89-2C9B37350A93}"/>
              </a:ext>
            </a:extLst>
          </p:cNvPr>
          <p:cNvSpPr/>
          <p:nvPr/>
        </p:nvSpPr>
        <p:spPr>
          <a:xfrm>
            <a:off x="351509" y="5261964"/>
            <a:ext cx="2120576" cy="698240"/>
          </a:xfrm>
          <a:solidFill>
            <a:schemeClr val="accent1">
              <a:lumMod val="40000"/>
              <a:lumOff val="60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A83494A8-2837-4D76-9567-83109D98B4A0}"/>
              </a:ext>
            </a:extLst>
          </p:cNvPr>
          <p:cNvSpPr/>
          <p:nvPr/>
        </p:nvSpPr>
        <p:spPr>
          <a:xfrm>
            <a:off x="5337226" y="1125779"/>
            <a:ext cx="1366252" cy="558500"/>
          </a:xfrm>
          <a:custGeom>
            <a:avLst/>
            <a:gdLst>
              <a:gd name="connsiteX0" fmla="*/ 0 w 1366252"/>
              <a:gd name="connsiteY0" fmla="*/ 0 h 558500"/>
              <a:gd name="connsiteX1" fmla="*/ 1366252 w 1366252"/>
              <a:gd name="connsiteY1" fmla="*/ 0 h 558500"/>
              <a:gd name="connsiteX2" fmla="*/ 1366252 w 1366252"/>
              <a:gd name="connsiteY2" fmla="*/ 558500 h 558500"/>
              <a:gd name="connsiteX3" fmla="*/ 0 w 1366252"/>
              <a:gd name="connsiteY3" fmla="*/ 558500 h 558500"/>
              <a:gd name="connsiteX4" fmla="*/ 0 w 1366252"/>
              <a:gd name="connsiteY4" fmla="*/ 0 h 558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58500" fill="none" extrusionOk="0">
                <a:moveTo>
                  <a:pt x="0" y="0"/>
                </a:moveTo>
                <a:cubicBezTo>
                  <a:pt x="158132" y="77832"/>
                  <a:pt x="969564" y="-17135"/>
                  <a:pt x="1366252" y="0"/>
                </a:cubicBezTo>
                <a:cubicBezTo>
                  <a:pt x="1403624" y="220090"/>
                  <a:pt x="1412982" y="399161"/>
                  <a:pt x="1366252" y="558500"/>
                </a:cubicBezTo>
                <a:cubicBezTo>
                  <a:pt x="835862" y="451844"/>
                  <a:pt x="234015" y="536016"/>
                  <a:pt x="0" y="558500"/>
                </a:cubicBezTo>
                <a:cubicBezTo>
                  <a:pt x="-22678" y="350711"/>
                  <a:pt x="-5838" y="86770"/>
                  <a:pt x="0" y="0"/>
                </a:cubicBezTo>
                <a:close/>
              </a:path>
              <a:path w="1366252" h="558500" stroke="0" extrusionOk="0">
                <a:moveTo>
                  <a:pt x="0" y="0"/>
                </a:moveTo>
                <a:cubicBezTo>
                  <a:pt x="537891" y="-99048"/>
                  <a:pt x="1057407" y="-5428"/>
                  <a:pt x="1366252" y="0"/>
                </a:cubicBezTo>
                <a:cubicBezTo>
                  <a:pt x="1319024" y="183596"/>
                  <a:pt x="1391158" y="453235"/>
                  <a:pt x="1366252" y="558500"/>
                </a:cubicBezTo>
                <a:cubicBezTo>
                  <a:pt x="1190367" y="552354"/>
                  <a:pt x="273743" y="485546"/>
                  <a:pt x="0" y="558500"/>
                </a:cubicBezTo>
                <a:cubicBezTo>
                  <a:pt x="-43062" y="288151"/>
                  <a:pt x="-32815" y="26443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Code Generator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51DCEAEC-D27E-4E0E-8000-DAE1B5BB1927}"/>
              </a:ext>
            </a:extLst>
          </p:cNvPr>
          <p:cNvSpPr/>
          <p:nvPr/>
        </p:nvSpPr>
        <p:spPr>
          <a:xfrm>
            <a:off x="2422787" y="423346"/>
            <a:ext cx="1270621" cy="575041"/>
          </a:xfrm>
          <a:custGeom>
            <a:avLst/>
            <a:gdLst>
              <a:gd name="connsiteX0" fmla="*/ 0 w 1270621"/>
              <a:gd name="connsiteY0" fmla="*/ 0 h 575041"/>
              <a:gd name="connsiteX1" fmla="*/ 1270621 w 1270621"/>
              <a:gd name="connsiteY1" fmla="*/ 0 h 575041"/>
              <a:gd name="connsiteX2" fmla="*/ 1270621 w 1270621"/>
              <a:gd name="connsiteY2" fmla="*/ 575041 h 575041"/>
              <a:gd name="connsiteX3" fmla="*/ 0 w 1270621"/>
              <a:gd name="connsiteY3" fmla="*/ 575041 h 575041"/>
              <a:gd name="connsiteX4" fmla="*/ 0 w 1270621"/>
              <a:gd name="connsiteY4" fmla="*/ 0 h 57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21" h="575041" fill="none" extrusionOk="0">
                <a:moveTo>
                  <a:pt x="0" y="0"/>
                </a:moveTo>
                <a:cubicBezTo>
                  <a:pt x="615800" y="78635"/>
                  <a:pt x="803070" y="111661"/>
                  <a:pt x="1270621" y="0"/>
                </a:cubicBezTo>
                <a:cubicBezTo>
                  <a:pt x="1288681" y="166958"/>
                  <a:pt x="1228937" y="396176"/>
                  <a:pt x="1270621" y="575041"/>
                </a:cubicBezTo>
                <a:cubicBezTo>
                  <a:pt x="1027038" y="567226"/>
                  <a:pt x="159020" y="600150"/>
                  <a:pt x="0" y="575041"/>
                </a:cubicBezTo>
                <a:cubicBezTo>
                  <a:pt x="-13781" y="463962"/>
                  <a:pt x="25021" y="103200"/>
                  <a:pt x="0" y="0"/>
                </a:cubicBezTo>
                <a:close/>
              </a:path>
              <a:path w="1270621" h="575041" stroke="0" extrusionOk="0">
                <a:moveTo>
                  <a:pt x="0" y="0"/>
                </a:moveTo>
                <a:cubicBezTo>
                  <a:pt x="623185" y="22148"/>
                  <a:pt x="893472" y="81053"/>
                  <a:pt x="1270621" y="0"/>
                </a:cubicBezTo>
                <a:cubicBezTo>
                  <a:pt x="1248055" y="114105"/>
                  <a:pt x="1219029" y="327340"/>
                  <a:pt x="1270621" y="575041"/>
                </a:cubicBezTo>
                <a:cubicBezTo>
                  <a:pt x="1029975" y="610833"/>
                  <a:pt x="324745" y="462519"/>
                  <a:pt x="0" y="575041"/>
                </a:cubicBezTo>
                <a:cubicBezTo>
                  <a:pt x="42128" y="387820"/>
                  <a:pt x="-28171" y="204577"/>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ata Prep Operator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BC9CBB0C-CDFA-4432-B24C-7FB1A5A54499}"/>
              </a:ext>
            </a:extLst>
          </p:cNvPr>
          <p:cNvSpPr/>
          <p:nvPr/>
        </p:nvSpPr>
        <p:spPr>
          <a:xfrm>
            <a:off x="3811125" y="1121105"/>
            <a:ext cx="1366252" cy="572713"/>
          </a:xfrm>
          <a:custGeom>
            <a:avLst/>
            <a:gdLst>
              <a:gd name="connsiteX0" fmla="*/ 0 w 1366252"/>
              <a:gd name="connsiteY0" fmla="*/ 0 h 572713"/>
              <a:gd name="connsiteX1" fmla="*/ 1366252 w 1366252"/>
              <a:gd name="connsiteY1" fmla="*/ 0 h 572713"/>
              <a:gd name="connsiteX2" fmla="*/ 1366252 w 1366252"/>
              <a:gd name="connsiteY2" fmla="*/ 572713 h 572713"/>
              <a:gd name="connsiteX3" fmla="*/ 0 w 1366252"/>
              <a:gd name="connsiteY3" fmla="*/ 572713 h 572713"/>
              <a:gd name="connsiteX4" fmla="*/ 0 w 1366252"/>
              <a:gd name="connsiteY4" fmla="*/ 0 h 572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72713" fill="none" extrusionOk="0">
                <a:moveTo>
                  <a:pt x="0" y="0"/>
                </a:moveTo>
                <a:cubicBezTo>
                  <a:pt x="158132" y="77832"/>
                  <a:pt x="969564" y="-17135"/>
                  <a:pt x="1366252" y="0"/>
                </a:cubicBezTo>
                <a:cubicBezTo>
                  <a:pt x="1365195" y="79431"/>
                  <a:pt x="1398199" y="490694"/>
                  <a:pt x="1366252" y="572713"/>
                </a:cubicBezTo>
                <a:cubicBezTo>
                  <a:pt x="835862" y="466057"/>
                  <a:pt x="234015" y="550229"/>
                  <a:pt x="0" y="572713"/>
                </a:cubicBezTo>
                <a:cubicBezTo>
                  <a:pt x="-21326" y="426331"/>
                  <a:pt x="19928" y="222271"/>
                  <a:pt x="0" y="0"/>
                </a:cubicBezTo>
                <a:close/>
              </a:path>
              <a:path w="1366252" h="572713" stroke="0" extrusionOk="0">
                <a:moveTo>
                  <a:pt x="0" y="0"/>
                </a:moveTo>
                <a:cubicBezTo>
                  <a:pt x="537891" y="-99048"/>
                  <a:pt x="1057407" y="-5428"/>
                  <a:pt x="1366252" y="0"/>
                </a:cubicBezTo>
                <a:cubicBezTo>
                  <a:pt x="1354466" y="244588"/>
                  <a:pt x="1352263" y="402651"/>
                  <a:pt x="1366252" y="572713"/>
                </a:cubicBezTo>
                <a:cubicBezTo>
                  <a:pt x="1190367" y="566567"/>
                  <a:pt x="273743" y="499759"/>
                  <a:pt x="0" y="572713"/>
                </a:cubicBezTo>
                <a:cubicBezTo>
                  <a:pt x="5855" y="455118"/>
                  <a:pt x="2873" y="11882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ata Analysi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56C482EC-8EB3-4A97-8922-5999E3D15F6B}"/>
              </a:ext>
            </a:extLst>
          </p:cNvPr>
          <p:cNvSpPr/>
          <p:nvPr/>
        </p:nvSpPr>
        <p:spPr>
          <a:xfrm>
            <a:off x="9687425" y="454979"/>
            <a:ext cx="1042812" cy="1195854"/>
          </a:xfrm>
          <a:custGeom>
            <a:avLst/>
            <a:gdLst>
              <a:gd name="connsiteX0" fmla="*/ 0 w 1042812"/>
              <a:gd name="connsiteY0" fmla="*/ 0 h 1195854"/>
              <a:gd name="connsiteX1" fmla="*/ 1042812 w 1042812"/>
              <a:gd name="connsiteY1" fmla="*/ 0 h 1195854"/>
              <a:gd name="connsiteX2" fmla="*/ 1042812 w 1042812"/>
              <a:gd name="connsiteY2" fmla="*/ 1195854 h 1195854"/>
              <a:gd name="connsiteX3" fmla="*/ 0 w 1042812"/>
              <a:gd name="connsiteY3" fmla="*/ 1195854 h 1195854"/>
              <a:gd name="connsiteX4" fmla="*/ 0 w 1042812"/>
              <a:gd name="connsiteY4" fmla="*/ 0 h 119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812" h="1195854" fill="none" extrusionOk="0">
                <a:moveTo>
                  <a:pt x="0" y="0"/>
                </a:moveTo>
                <a:cubicBezTo>
                  <a:pt x="213328" y="-22148"/>
                  <a:pt x="892874" y="-58233"/>
                  <a:pt x="1042812" y="0"/>
                </a:cubicBezTo>
                <a:cubicBezTo>
                  <a:pt x="1101202" y="563448"/>
                  <a:pt x="1087807" y="1026457"/>
                  <a:pt x="1042812" y="1195854"/>
                </a:cubicBezTo>
                <a:cubicBezTo>
                  <a:pt x="892162" y="1243872"/>
                  <a:pt x="219356" y="1168062"/>
                  <a:pt x="0" y="1195854"/>
                </a:cubicBezTo>
                <a:cubicBezTo>
                  <a:pt x="-53860" y="777771"/>
                  <a:pt x="-96599" y="465102"/>
                  <a:pt x="0" y="0"/>
                </a:cubicBezTo>
                <a:close/>
              </a:path>
              <a:path w="1042812" h="1195854" stroke="0" extrusionOk="0">
                <a:moveTo>
                  <a:pt x="0" y="0"/>
                </a:moveTo>
                <a:cubicBezTo>
                  <a:pt x="343278" y="49259"/>
                  <a:pt x="601284" y="-18337"/>
                  <a:pt x="1042812" y="0"/>
                </a:cubicBezTo>
                <a:cubicBezTo>
                  <a:pt x="940128" y="318444"/>
                  <a:pt x="1091167" y="899458"/>
                  <a:pt x="1042812" y="1195854"/>
                </a:cubicBezTo>
                <a:cubicBezTo>
                  <a:pt x="740834" y="1205216"/>
                  <a:pt x="281381" y="1257932"/>
                  <a:pt x="0" y="1195854"/>
                </a:cubicBezTo>
                <a:cubicBezTo>
                  <a:pt x="-31479" y="812401"/>
                  <a:pt x="49935" y="58589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eveloper Console</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28" name="TextBox 127">
            <a:extLst>
              <a:ext uri="{FF2B5EF4-FFF2-40B4-BE49-F238E27FC236}">
                <a16:creationId xmlns:a16="http://schemas.microsoft.com/office/drawing/2014/main" id="{FC2F62C7-B1BE-4724-B394-A5A9E03FE82D}"/>
              </a:ext>
            </a:extLst>
          </p:cNvPr>
          <p:cNvSpPr txBox="1"/>
          <p:nvPr/>
        </p:nvSpPr>
        <p:spPr>
          <a:xfrm>
            <a:off x="9166410" y="4373247"/>
            <a:ext cx="77529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odel Output</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9" name="Straight Arrow Connector 128">
            <a:extLst>
              <a:ext uri="{FF2B5EF4-FFF2-40B4-BE49-F238E27FC236}">
                <a16:creationId xmlns:a16="http://schemas.microsoft.com/office/drawing/2014/main" id="{19EACF1F-F832-4132-82C7-B001E454A08D}"/>
              </a:ext>
            </a:extLst>
          </p:cNvPr>
          <p:cNvCxnSpPr>
            <a:cxnSpLocks/>
            <a:endCxn id="43" idx="2"/>
          </p:cNvCxnSpPr>
          <p:nvPr/>
        </p:nvCxnSpPr>
        <p:spPr>
          <a:xfrm flipV="1">
            <a:off x="9308015" y="3206068"/>
            <a:ext cx="1422222" cy="65977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F4AAD2CC-0B1B-4BA7-8484-9F4F399EA347}"/>
              </a:ext>
            </a:extLst>
          </p:cNvPr>
          <p:cNvSpPr txBox="1"/>
          <p:nvPr/>
        </p:nvSpPr>
        <p:spPr>
          <a:xfrm>
            <a:off x="9941708" y="3459627"/>
            <a:ext cx="77529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odel Output</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57DD0C-7C09-FA2E-ED2B-7FD2FEA69BEE}"/>
              </a:ext>
            </a:extLst>
          </p:cNvPr>
          <p:cNvPicPr>
            <a:picLocks noChangeAspect="1"/>
          </p:cNvPicPr>
          <p:nvPr/>
        </p:nvPicPr>
        <p:blipFill>
          <a:blip r:embed="rId7"/>
          <a:stretch>
            <a:fillRect/>
          </a:stretch>
        </p:blipFill>
        <p:spPr>
          <a:xfrm>
            <a:off x="1890553" y="5548061"/>
            <a:ext cx="1033055" cy="565846"/>
          </a:xfrm>
          <a:prstGeom prst="rect">
            <a:avLst/>
          </a:prstGeom>
        </p:spPr>
      </p:pic>
      <p:pic>
        <p:nvPicPr>
          <p:cNvPr id="21" name="Picture 20">
            <a:extLst>
              <a:ext uri="{FF2B5EF4-FFF2-40B4-BE49-F238E27FC236}">
                <a16:creationId xmlns:a16="http://schemas.microsoft.com/office/drawing/2014/main" id="{EA242A0C-00B3-CC7E-D7BE-7C8936CCC484}"/>
              </a:ext>
            </a:extLst>
          </p:cNvPr>
          <p:cNvPicPr>
            <a:picLocks noChangeAspect="1"/>
          </p:cNvPicPr>
          <p:nvPr/>
        </p:nvPicPr>
        <p:blipFill>
          <a:blip r:embed="rId8"/>
          <a:stretch>
            <a:fillRect/>
          </a:stretch>
        </p:blipFill>
        <p:spPr>
          <a:xfrm>
            <a:off x="159148" y="2437575"/>
            <a:ext cx="1508132" cy="498301"/>
          </a:xfrm>
          <a:prstGeom prst="rect">
            <a:avLst/>
          </a:prstGeom>
        </p:spPr>
      </p:pic>
      <p:pic>
        <p:nvPicPr>
          <p:cNvPr id="28" name="Picture 27">
            <a:extLst>
              <a:ext uri="{FF2B5EF4-FFF2-40B4-BE49-F238E27FC236}">
                <a16:creationId xmlns:a16="http://schemas.microsoft.com/office/drawing/2014/main" id="{BEE61893-5B99-337B-CE2B-95B3731B5F2B}"/>
              </a:ext>
            </a:extLst>
          </p:cNvPr>
          <p:cNvPicPr>
            <a:picLocks noChangeAspect="1"/>
          </p:cNvPicPr>
          <p:nvPr/>
        </p:nvPicPr>
        <p:blipFill>
          <a:blip r:embed="rId9"/>
          <a:stretch>
            <a:fillRect/>
          </a:stretch>
        </p:blipFill>
        <p:spPr>
          <a:xfrm>
            <a:off x="10145102" y="4924900"/>
            <a:ext cx="998200" cy="640355"/>
          </a:xfrm>
          <a:prstGeom prst="rect">
            <a:avLst/>
          </a:prstGeom>
        </p:spPr>
      </p:pic>
      <p:pic>
        <p:nvPicPr>
          <p:cNvPr id="30" name="Picture 29">
            <a:extLst>
              <a:ext uri="{FF2B5EF4-FFF2-40B4-BE49-F238E27FC236}">
                <a16:creationId xmlns:a16="http://schemas.microsoft.com/office/drawing/2014/main" id="{40826388-35E3-F0AF-34D6-14DA211DBEDA}"/>
              </a:ext>
            </a:extLst>
          </p:cNvPr>
          <p:cNvPicPr>
            <a:picLocks noChangeAspect="1"/>
          </p:cNvPicPr>
          <p:nvPr/>
        </p:nvPicPr>
        <p:blipFill>
          <a:blip r:embed="rId10"/>
          <a:stretch>
            <a:fillRect/>
          </a:stretch>
        </p:blipFill>
        <p:spPr>
          <a:xfrm>
            <a:off x="9792017" y="6045928"/>
            <a:ext cx="706170" cy="687547"/>
          </a:xfrm>
          <a:prstGeom prst="rect">
            <a:avLst/>
          </a:prstGeom>
        </p:spPr>
      </p:pic>
      <p:cxnSp>
        <p:nvCxnSpPr>
          <p:cNvPr id="31" name="Straight Arrow Connector 30">
            <a:extLst>
              <a:ext uri="{FF2B5EF4-FFF2-40B4-BE49-F238E27FC236}">
                <a16:creationId xmlns:a16="http://schemas.microsoft.com/office/drawing/2014/main" id="{3C9AB058-9115-9F38-1178-14D12C4CA42F}"/>
              </a:ext>
            </a:extLst>
          </p:cNvPr>
          <p:cNvCxnSpPr>
            <a:cxnSpLocks/>
            <a:stCxn id="35" idx="1"/>
            <a:endCxn id="30" idx="1"/>
          </p:cNvCxnSpPr>
          <p:nvPr/>
        </p:nvCxnSpPr>
        <p:spPr>
          <a:xfrm flipV="1">
            <a:off x="9119202" y="6389702"/>
            <a:ext cx="672815" cy="971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39372CCE-B671-1D81-42D5-802051E0ECC2}"/>
              </a:ext>
            </a:extLst>
          </p:cNvPr>
          <p:cNvPicPr>
            <a:picLocks noChangeAspect="1"/>
          </p:cNvPicPr>
          <p:nvPr/>
        </p:nvPicPr>
        <p:blipFill>
          <a:blip r:embed="rId11"/>
          <a:stretch>
            <a:fillRect/>
          </a:stretch>
        </p:blipFill>
        <p:spPr>
          <a:xfrm>
            <a:off x="1769806" y="6184538"/>
            <a:ext cx="1412549" cy="587831"/>
          </a:xfrm>
          <a:prstGeom prst="rect">
            <a:avLst/>
          </a:prstGeom>
        </p:spPr>
      </p:pic>
      <p:pic>
        <p:nvPicPr>
          <p:cNvPr id="51" name="Picture 50">
            <a:extLst>
              <a:ext uri="{FF2B5EF4-FFF2-40B4-BE49-F238E27FC236}">
                <a16:creationId xmlns:a16="http://schemas.microsoft.com/office/drawing/2014/main" id="{C1812E15-7178-9E10-D9D0-CFD9745F92D6}"/>
              </a:ext>
            </a:extLst>
          </p:cNvPr>
          <p:cNvPicPr>
            <a:picLocks noChangeAspect="1"/>
          </p:cNvPicPr>
          <p:nvPr/>
        </p:nvPicPr>
        <p:blipFill>
          <a:blip r:embed="rId12"/>
          <a:stretch>
            <a:fillRect/>
          </a:stretch>
        </p:blipFill>
        <p:spPr>
          <a:xfrm>
            <a:off x="413337" y="3809716"/>
            <a:ext cx="999753" cy="809376"/>
          </a:xfrm>
          <a:prstGeom prst="rect">
            <a:avLst/>
          </a:prstGeom>
        </p:spPr>
      </p:pic>
      <p:cxnSp>
        <p:nvCxnSpPr>
          <p:cNvPr id="56" name="Straight Arrow Connector 55">
            <a:extLst>
              <a:ext uri="{FF2B5EF4-FFF2-40B4-BE49-F238E27FC236}">
                <a16:creationId xmlns:a16="http://schemas.microsoft.com/office/drawing/2014/main" id="{7AC01202-F330-32DA-6D12-60CD49DBB37D}"/>
              </a:ext>
            </a:extLst>
          </p:cNvPr>
          <p:cNvCxnSpPr>
            <a:cxnSpLocks/>
            <a:stCxn id="21" idx="2"/>
            <a:endCxn id="51" idx="0"/>
          </p:cNvCxnSpPr>
          <p:nvPr/>
        </p:nvCxnSpPr>
        <p:spPr>
          <a:xfrm>
            <a:off x="913214" y="2935876"/>
            <a:ext cx="0" cy="87384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E170FDE-7F6D-C15A-C0DA-2BF63A8FAFD4}"/>
              </a:ext>
            </a:extLst>
          </p:cNvPr>
          <p:cNvCxnSpPr>
            <a:stCxn id="51" idx="2"/>
            <a:endCxn id="3" idx="1"/>
          </p:cNvCxnSpPr>
          <p:nvPr/>
        </p:nvCxnSpPr>
        <p:spPr>
          <a:xfrm rot="16200000" flipH="1">
            <a:off x="795937" y="4736368"/>
            <a:ext cx="1211892" cy="977339"/>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E61954F3-D8D2-3A32-7300-DC74921F9F24}"/>
              </a:ext>
            </a:extLst>
          </p:cNvPr>
          <p:cNvCxnSpPr>
            <a:cxnSpLocks/>
            <a:stCxn id="21" idx="2"/>
            <a:endCxn id="16" idx="0"/>
          </p:cNvCxnSpPr>
          <p:nvPr/>
        </p:nvCxnSpPr>
        <p:spPr>
          <a:xfrm>
            <a:off x="913214" y="2935876"/>
            <a:ext cx="1625578" cy="1777332"/>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9E017C8-F6A1-4D96-D1A9-7AF1000DDFFD}"/>
              </a:ext>
            </a:extLst>
          </p:cNvPr>
          <p:cNvPicPr>
            <a:picLocks noChangeAspect="1"/>
          </p:cNvPicPr>
          <p:nvPr/>
        </p:nvPicPr>
        <p:blipFill>
          <a:blip r:embed="rId13"/>
          <a:stretch>
            <a:fillRect/>
          </a:stretch>
        </p:blipFill>
        <p:spPr>
          <a:xfrm>
            <a:off x="5008767" y="6241411"/>
            <a:ext cx="1201191" cy="474084"/>
          </a:xfrm>
          <a:prstGeom prst="rect">
            <a:avLst/>
          </a:prstGeom>
        </p:spPr>
      </p:pic>
    </p:spTree>
    <p:extLst>
      <p:ext uri="{BB962C8B-B14F-4D97-AF65-F5344CB8AC3E}">
        <p14:creationId xmlns:p14="http://schemas.microsoft.com/office/powerpoint/2010/main" val="1882398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770F7DA2-4EEF-D9E1-95E0-1AAE0BB2F32E}"/>
              </a:ext>
            </a:extLst>
          </p:cNvPr>
          <p:cNvSpPr/>
          <p:nvPr/>
        </p:nvSpPr>
        <p:spPr bwMode="gray">
          <a:xfrm>
            <a:off x="8201134" y="747634"/>
            <a:ext cx="3990866" cy="2075696"/>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I/CD Build ,test, package pipeline components</a:t>
            </a:r>
          </a:p>
        </p:txBody>
      </p:sp>
      <p:sp>
        <p:nvSpPr>
          <p:cNvPr id="2" name="Text Placeholder 1">
            <a:extLst>
              <a:ext uri="{FF2B5EF4-FFF2-40B4-BE49-F238E27FC236}">
                <a16:creationId xmlns:a16="http://schemas.microsoft.com/office/drawing/2014/main" id="{37BFA118-F11F-7DF1-7578-F520E15BA3F5}"/>
              </a:ext>
            </a:extLst>
          </p:cNvPr>
          <p:cNvSpPr>
            <a:spLocks noGrp="1"/>
          </p:cNvSpPr>
          <p:nvPr>
            <p:ph type="body" sz="quarter" idx="13"/>
          </p:nvPr>
        </p:nvSpPr>
        <p:spPr>
          <a:xfrm>
            <a:off x="527882" y="237811"/>
            <a:ext cx="9784080" cy="334100"/>
          </a:xfrm>
        </p:spPr>
        <p:txBody>
          <a:bodyPr/>
          <a:lstStyle/>
          <a:p>
            <a:r>
              <a:rPr lang="en-US" sz="1600" dirty="0"/>
              <a:t>Key components &amp; roles for implementing AIOps </a:t>
            </a:r>
          </a:p>
        </p:txBody>
      </p:sp>
      <p:sp>
        <p:nvSpPr>
          <p:cNvPr id="3" name="Title 2">
            <a:extLst>
              <a:ext uri="{FF2B5EF4-FFF2-40B4-BE49-F238E27FC236}">
                <a16:creationId xmlns:a16="http://schemas.microsoft.com/office/drawing/2014/main" id="{FB6A9D2F-20F6-E0BB-DE74-9560790E75C2}"/>
              </a:ext>
            </a:extLst>
          </p:cNvPr>
          <p:cNvSpPr>
            <a:spLocks noGrp="1"/>
          </p:cNvSpPr>
          <p:nvPr>
            <p:ph type="title"/>
          </p:nvPr>
        </p:nvSpPr>
        <p:spPr>
          <a:xfrm>
            <a:off x="501650" y="19554"/>
            <a:ext cx="11256264" cy="334099"/>
          </a:xfrm>
        </p:spPr>
        <p:txBody>
          <a:bodyPr/>
          <a:lstStyle/>
          <a:p>
            <a:r>
              <a:rPr lang="en-US" sz="2000" b="1" dirty="0"/>
              <a:t>Deloitte’s Framework to Implement </a:t>
            </a:r>
            <a:r>
              <a:rPr lang="en-US" dirty="0"/>
              <a:t>AI</a:t>
            </a:r>
            <a:r>
              <a:rPr lang="en-US" sz="2000" b="1" dirty="0"/>
              <a:t>Ops </a:t>
            </a:r>
          </a:p>
        </p:txBody>
      </p:sp>
      <p:grpSp>
        <p:nvGrpSpPr>
          <p:cNvPr id="4" name="Group 3">
            <a:extLst>
              <a:ext uri="{FF2B5EF4-FFF2-40B4-BE49-F238E27FC236}">
                <a16:creationId xmlns:a16="http://schemas.microsoft.com/office/drawing/2014/main" id="{EB040B45-0A76-9CBF-0DDB-60A8DA6F5EEC}"/>
              </a:ext>
            </a:extLst>
          </p:cNvPr>
          <p:cNvGrpSpPr/>
          <p:nvPr/>
        </p:nvGrpSpPr>
        <p:grpSpPr>
          <a:xfrm>
            <a:off x="5231827" y="6493806"/>
            <a:ext cx="4628410" cy="291830"/>
            <a:chOff x="2402733" y="6459166"/>
            <a:chExt cx="4628410" cy="291830"/>
          </a:xfrm>
        </p:grpSpPr>
        <p:sp>
          <p:nvSpPr>
            <p:cNvPr id="5" name="Rectangle 4">
              <a:extLst>
                <a:ext uri="{FF2B5EF4-FFF2-40B4-BE49-F238E27FC236}">
                  <a16:creationId xmlns:a16="http://schemas.microsoft.com/office/drawing/2014/main" id="{9B6539E8-7A1B-7D02-595F-FAA6AA164BC9}"/>
                </a:ext>
              </a:extLst>
            </p:cNvPr>
            <p:cNvSpPr/>
            <p:nvPr/>
          </p:nvSpPr>
          <p:spPr bwMode="gray">
            <a:xfrm>
              <a:off x="2402733" y="6459166"/>
              <a:ext cx="4562272" cy="291830"/>
            </a:xfrm>
            <a:prstGeom prst="rect">
              <a:avLst/>
            </a:prstGeom>
            <a:solidFill>
              <a:schemeClr val="bg1">
                <a:alpha val="2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9925F83D-0A9C-44CB-5BC9-A785A2C3147B}"/>
                </a:ext>
              </a:extLst>
            </p:cNvPr>
            <p:cNvSpPr/>
            <p:nvPr/>
          </p:nvSpPr>
          <p:spPr bwMode="gray">
            <a:xfrm>
              <a:off x="2489305" y="6569852"/>
              <a:ext cx="274357" cy="89352"/>
            </a:xfrm>
            <a:prstGeom prst="rect">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E2B4CEB1-A0A3-8CD6-756E-F74CDD211E71}"/>
                </a:ext>
              </a:extLst>
            </p:cNvPr>
            <p:cNvSpPr/>
            <p:nvPr/>
          </p:nvSpPr>
          <p:spPr bwMode="gray">
            <a:xfrm>
              <a:off x="3740737" y="6564174"/>
              <a:ext cx="274357" cy="89351"/>
            </a:xfrm>
            <a:prstGeom prst="rect">
              <a:avLst/>
            </a:prstGeom>
            <a:solidFill>
              <a:schemeClr val="accent1">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48BD287-24C8-7682-5FCD-00B68D59F42C}"/>
                </a:ext>
              </a:extLst>
            </p:cNvPr>
            <p:cNvSpPr/>
            <p:nvPr/>
          </p:nvSpPr>
          <p:spPr bwMode="gray">
            <a:xfrm>
              <a:off x="5761462" y="6564174"/>
              <a:ext cx="274357" cy="89351"/>
            </a:xfrm>
            <a:prstGeom prst="rect">
              <a:avLst/>
            </a:prstGeom>
            <a:solidFill>
              <a:schemeClr val="accent3">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13DBAFE-80F9-E3A5-D3E9-C9C3388CF79B}"/>
                </a:ext>
              </a:extLst>
            </p:cNvPr>
            <p:cNvSpPr/>
            <p:nvPr/>
          </p:nvSpPr>
          <p:spPr bwMode="gray">
            <a:xfrm>
              <a:off x="2733897" y="6516417"/>
              <a:ext cx="838160" cy="15625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I, CD, CT</a:t>
              </a:r>
            </a:p>
          </p:txBody>
        </p:sp>
        <p:sp>
          <p:nvSpPr>
            <p:cNvPr id="10" name="Rectangle 9">
              <a:extLst>
                <a:ext uri="{FF2B5EF4-FFF2-40B4-BE49-F238E27FC236}">
                  <a16:creationId xmlns:a16="http://schemas.microsoft.com/office/drawing/2014/main" id="{7654661B-E893-2623-D235-316ADAEA2491}"/>
                </a:ext>
              </a:extLst>
            </p:cNvPr>
            <p:cNvSpPr/>
            <p:nvPr/>
          </p:nvSpPr>
          <p:spPr bwMode="gray">
            <a:xfrm>
              <a:off x="3821747" y="6536899"/>
              <a:ext cx="1886246" cy="149133"/>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Management &amp; Reports</a:t>
              </a:r>
            </a:p>
          </p:txBody>
        </p:sp>
        <p:sp>
          <p:nvSpPr>
            <p:cNvPr id="11" name="Rectangle 10">
              <a:extLst>
                <a:ext uri="{FF2B5EF4-FFF2-40B4-BE49-F238E27FC236}">
                  <a16:creationId xmlns:a16="http://schemas.microsoft.com/office/drawing/2014/main" id="{6EDF7A1B-A0E0-9FDD-9FAD-F9271315331D}"/>
                </a:ext>
              </a:extLst>
            </p:cNvPr>
            <p:cNvSpPr/>
            <p:nvPr/>
          </p:nvSpPr>
          <p:spPr bwMode="gray">
            <a:xfrm>
              <a:off x="5901033" y="6536900"/>
              <a:ext cx="1130110" cy="143900"/>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Building</a:t>
              </a:r>
            </a:p>
          </p:txBody>
        </p:sp>
        <p:cxnSp>
          <p:nvCxnSpPr>
            <p:cNvPr id="12" name="Elbow Connector 97">
              <a:extLst>
                <a:ext uri="{FF2B5EF4-FFF2-40B4-BE49-F238E27FC236}">
                  <a16:creationId xmlns:a16="http://schemas.microsoft.com/office/drawing/2014/main" id="{07C75BD7-14FE-9088-F5F1-33332C59A7CF}"/>
                </a:ext>
              </a:extLst>
            </p:cNvPr>
            <p:cNvCxnSpPr/>
            <p:nvPr/>
          </p:nvCxnSpPr>
          <p:spPr>
            <a:xfrm rot="10800000" flipH="1" flipV="1">
              <a:off x="2518930" y="6692950"/>
              <a:ext cx="860087" cy="419"/>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0504E59-C5D3-EF5A-2BE7-3756FF7D566B}"/>
              </a:ext>
            </a:extLst>
          </p:cNvPr>
          <p:cNvGrpSpPr/>
          <p:nvPr/>
        </p:nvGrpSpPr>
        <p:grpSpPr>
          <a:xfrm>
            <a:off x="474410" y="808831"/>
            <a:ext cx="11489734" cy="5184185"/>
            <a:chOff x="315909" y="971321"/>
            <a:chExt cx="11731126" cy="5293100"/>
          </a:xfrm>
        </p:grpSpPr>
        <p:grpSp>
          <p:nvGrpSpPr>
            <p:cNvPr id="14" name="Group 13">
              <a:extLst>
                <a:ext uri="{FF2B5EF4-FFF2-40B4-BE49-F238E27FC236}">
                  <a16:creationId xmlns:a16="http://schemas.microsoft.com/office/drawing/2014/main" id="{B0BD7CE2-9506-3C36-0EC5-B1E776F19DA5}"/>
                </a:ext>
              </a:extLst>
            </p:cNvPr>
            <p:cNvGrpSpPr/>
            <p:nvPr/>
          </p:nvGrpSpPr>
          <p:grpSpPr>
            <a:xfrm>
              <a:off x="315909" y="971321"/>
              <a:ext cx="11731126" cy="5293100"/>
              <a:chOff x="315909" y="844368"/>
              <a:chExt cx="11731126" cy="5293100"/>
            </a:xfrm>
          </p:grpSpPr>
          <p:sp>
            <p:nvSpPr>
              <p:cNvPr id="17" name="Rectangle 16">
                <a:extLst>
                  <a:ext uri="{FF2B5EF4-FFF2-40B4-BE49-F238E27FC236}">
                    <a16:creationId xmlns:a16="http://schemas.microsoft.com/office/drawing/2014/main" id="{F181B19B-5382-0EC0-C52B-081CF49B9153}"/>
                  </a:ext>
                </a:extLst>
              </p:cNvPr>
              <p:cNvSpPr/>
              <p:nvPr/>
            </p:nvSpPr>
            <p:spPr bwMode="gray">
              <a:xfrm>
                <a:off x="1532327" y="1161431"/>
                <a:ext cx="5489217" cy="977774"/>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Use Cases/Models(</a:t>
                </a:r>
                <a:r>
                  <a:rPr kumimoji="0" lang="en-US" sz="1000" b="1" i="0" u="none" strike="noStrike" kern="1200" cap="none" spc="0" normalizeH="0" baseline="0" noProof="0" dirty="0" err="1">
                    <a:ln>
                      <a:noFill/>
                    </a:ln>
                    <a:solidFill>
                      <a:prstClr val="black"/>
                    </a:solidFill>
                    <a:effectLst/>
                    <a:uLnTx/>
                    <a:uFillTx/>
                    <a:latin typeface="Calibri"/>
                    <a:ea typeface="+mn-ea"/>
                    <a:cs typeface="+mn-cs"/>
                  </a:rPr>
                  <a:t>Development,UAT</a:t>
                </a:r>
                <a:r>
                  <a:rPr kumimoji="0" lang="en-US" sz="1000" b="1" i="0" u="none" strike="noStrike" kern="1200" cap="none" spc="0" normalizeH="0" baseline="0" noProof="0" dirty="0">
                    <a:ln>
                      <a:noFill/>
                    </a:ln>
                    <a:solidFill>
                      <a:prstClr val="black"/>
                    </a:solidFill>
                    <a:effectLst/>
                    <a:uLnTx/>
                    <a:uFillTx/>
                    <a:latin typeface="Calibri"/>
                    <a:ea typeface="+mn-ea"/>
                    <a:cs typeface="+mn-cs"/>
                  </a:rPr>
                  <a:t>)</a:t>
                </a:r>
              </a:p>
            </p:txBody>
          </p:sp>
          <p:sp>
            <p:nvSpPr>
              <p:cNvPr id="18" name="Rectangle 17">
                <a:extLst>
                  <a:ext uri="{FF2B5EF4-FFF2-40B4-BE49-F238E27FC236}">
                    <a16:creationId xmlns:a16="http://schemas.microsoft.com/office/drawing/2014/main" id="{44DA6F56-341C-393D-8BAB-3A6DEB8F0ED9}"/>
                  </a:ext>
                </a:extLst>
              </p:cNvPr>
              <p:cNvSpPr/>
              <p:nvPr/>
            </p:nvSpPr>
            <p:spPr bwMode="gray">
              <a:xfrm>
                <a:off x="1603711"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9" name="Rectangle 18">
                <a:extLst>
                  <a:ext uri="{FF2B5EF4-FFF2-40B4-BE49-F238E27FC236}">
                    <a16:creationId xmlns:a16="http://schemas.microsoft.com/office/drawing/2014/main" id="{84A70906-8745-E87E-BF58-4A81EBE1E786}"/>
                  </a:ext>
                </a:extLst>
              </p:cNvPr>
              <p:cNvSpPr/>
              <p:nvPr/>
            </p:nvSpPr>
            <p:spPr bwMode="gray">
              <a:xfrm>
                <a:off x="2718242" y="1450557"/>
                <a:ext cx="804049"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20" name="Rectangle 19">
                <a:extLst>
                  <a:ext uri="{FF2B5EF4-FFF2-40B4-BE49-F238E27FC236}">
                    <a16:creationId xmlns:a16="http://schemas.microsoft.com/office/drawing/2014/main" id="{3FDC9D51-4B39-7DB2-E8FD-94B19505599C}"/>
                  </a:ext>
                </a:extLst>
              </p:cNvPr>
              <p:cNvSpPr/>
              <p:nvPr/>
            </p:nvSpPr>
            <p:spPr bwMode="gray">
              <a:xfrm>
                <a:off x="3856418"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21" name="Rectangle 20">
                <a:extLst>
                  <a:ext uri="{FF2B5EF4-FFF2-40B4-BE49-F238E27FC236}">
                    <a16:creationId xmlns:a16="http://schemas.microsoft.com/office/drawing/2014/main" id="{09E98C58-89C2-3CA8-9A6F-EAAADD47CD2A}"/>
                  </a:ext>
                </a:extLst>
              </p:cNvPr>
              <p:cNvSpPr/>
              <p:nvPr/>
            </p:nvSpPr>
            <p:spPr bwMode="gray">
              <a:xfrm>
                <a:off x="4982772"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22" name="Rectangle 21">
                <a:extLst>
                  <a:ext uri="{FF2B5EF4-FFF2-40B4-BE49-F238E27FC236}">
                    <a16:creationId xmlns:a16="http://schemas.microsoft.com/office/drawing/2014/main" id="{FD4AD23A-E19E-DBD0-E270-5E9C868C453E}"/>
                  </a:ext>
                </a:extLst>
              </p:cNvPr>
              <p:cNvSpPr/>
              <p:nvPr/>
            </p:nvSpPr>
            <p:spPr bwMode="gray">
              <a:xfrm>
                <a:off x="6109124"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23" name="Straight Arrow Connector 22">
                <a:extLst>
                  <a:ext uri="{FF2B5EF4-FFF2-40B4-BE49-F238E27FC236}">
                    <a16:creationId xmlns:a16="http://schemas.microsoft.com/office/drawing/2014/main" id="{D568F0DA-046A-BD2A-B4F3-A313AF28AE7F}"/>
                  </a:ext>
                </a:extLst>
              </p:cNvPr>
              <p:cNvCxnSpPr>
                <a:stCxn id="18" idx="3"/>
                <a:endCxn id="19" idx="1"/>
              </p:cNvCxnSpPr>
              <p:nvPr/>
            </p:nvCxnSpPr>
            <p:spPr>
              <a:xfrm>
                <a:off x="2384113" y="1712913"/>
                <a:ext cx="334129"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0C2A27-CB2D-7CE6-E0E3-57DD1CA203CD}"/>
                  </a:ext>
                </a:extLst>
              </p:cNvPr>
              <p:cNvCxnSpPr>
                <a:stCxn id="19" idx="3"/>
                <a:endCxn id="20" idx="1"/>
              </p:cNvCxnSpPr>
              <p:nvPr/>
            </p:nvCxnSpPr>
            <p:spPr>
              <a:xfrm>
                <a:off x="3522291" y="1712913"/>
                <a:ext cx="334127"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EEC5DBC-55C2-B860-143A-45F93009E6CC}"/>
                  </a:ext>
                </a:extLst>
              </p:cNvPr>
              <p:cNvCxnSpPr>
                <a:stCxn id="20" idx="3"/>
                <a:endCxn id="21" idx="1"/>
              </p:cNvCxnSpPr>
              <p:nvPr/>
            </p:nvCxnSpPr>
            <p:spPr>
              <a:xfrm>
                <a:off x="4636820"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6FCAE96-A81D-24CD-7D3A-BDCD444FC759}"/>
                  </a:ext>
                </a:extLst>
              </p:cNvPr>
              <p:cNvCxnSpPr>
                <a:stCxn id="21" idx="3"/>
                <a:endCxn id="22" idx="1"/>
              </p:cNvCxnSpPr>
              <p:nvPr/>
            </p:nvCxnSpPr>
            <p:spPr>
              <a:xfrm>
                <a:off x="5763174"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Can 33">
                <a:extLst>
                  <a:ext uri="{FF2B5EF4-FFF2-40B4-BE49-F238E27FC236}">
                    <a16:creationId xmlns:a16="http://schemas.microsoft.com/office/drawing/2014/main" id="{52621B74-533B-8C30-3F09-30703899E089}"/>
                  </a:ext>
                </a:extLst>
              </p:cNvPr>
              <p:cNvSpPr/>
              <p:nvPr/>
            </p:nvSpPr>
            <p:spPr bwMode="gray">
              <a:xfrm>
                <a:off x="405241" y="2190813"/>
                <a:ext cx="992454" cy="1785467"/>
              </a:xfrm>
              <a:prstGeom prst="can">
                <a:avLst>
                  <a:gd name="adj" fmla="val 21037"/>
                </a:avLst>
              </a:prstGeom>
              <a:solidFill>
                <a:schemeClr val="accent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Aurigene Data</a:t>
                </a:r>
                <a:endParaRPr kumimoji="0" lang="en-US"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A42228E-3383-78AF-C8BE-DA264CED4F9F}"/>
                  </a:ext>
                </a:extLst>
              </p:cNvPr>
              <p:cNvSpPr/>
              <p:nvPr/>
            </p:nvSpPr>
            <p:spPr bwMode="gray">
              <a:xfrm>
                <a:off x="5543821" y="844368"/>
                <a:ext cx="944286" cy="264498"/>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29" name="Elbow Connector 36">
                <a:extLst>
                  <a:ext uri="{FF2B5EF4-FFF2-40B4-BE49-F238E27FC236}">
                    <a16:creationId xmlns:a16="http://schemas.microsoft.com/office/drawing/2014/main" id="{0AA20A93-1927-F81E-E77C-17AA79CFE4F8}"/>
                  </a:ext>
                </a:extLst>
              </p:cNvPr>
              <p:cNvCxnSpPr>
                <a:cxnSpLocks/>
                <a:stCxn id="22" idx="0"/>
                <a:endCxn id="28" idx="2"/>
              </p:cNvCxnSpPr>
              <p:nvPr/>
            </p:nvCxnSpPr>
            <p:spPr>
              <a:xfrm rot="16200000" flipV="1">
                <a:off x="6086800" y="1038031"/>
                <a:ext cx="341691" cy="483361"/>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7">
                <a:extLst>
                  <a:ext uri="{FF2B5EF4-FFF2-40B4-BE49-F238E27FC236}">
                    <a16:creationId xmlns:a16="http://schemas.microsoft.com/office/drawing/2014/main" id="{4EC7CE42-03D9-00BD-2D80-9D2DB676EC14}"/>
                  </a:ext>
                </a:extLst>
              </p:cNvPr>
              <p:cNvCxnSpPr>
                <a:cxnSpLocks/>
                <a:stCxn id="28" idx="1"/>
                <a:endCxn id="17" idx="0"/>
              </p:cNvCxnSpPr>
              <p:nvPr/>
            </p:nvCxnSpPr>
            <p:spPr>
              <a:xfrm rot="10800000" flipV="1">
                <a:off x="4276937" y="976617"/>
                <a:ext cx="1266885" cy="184814"/>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D3E2E09-07FB-D9DB-76C1-322B7C94DE8A}"/>
                  </a:ext>
                </a:extLst>
              </p:cNvPr>
              <p:cNvCxnSpPr>
                <a:cxnSpLocks/>
                <a:stCxn id="17" idx="3"/>
              </p:cNvCxnSpPr>
              <p:nvPr/>
            </p:nvCxnSpPr>
            <p:spPr>
              <a:xfrm>
                <a:off x="7021544" y="1650318"/>
                <a:ext cx="1261670" cy="41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B499AC0E-F43A-F81E-F16B-AEB922862BAA}"/>
                  </a:ext>
                </a:extLst>
              </p:cNvPr>
              <p:cNvSpPr/>
              <p:nvPr/>
            </p:nvSpPr>
            <p:spPr bwMode="gray">
              <a:xfrm>
                <a:off x="7187873" y="1177074"/>
                <a:ext cx="973767" cy="54109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ource </a:t>
                </a:r>
                <a:br>
                  <a:rPr kumimoji="0" lang="en-US" sz="800" b="1" i="0" u="none" strike="noStrike" kern="1200" cap="none" spc="0" normalizeH="0" baseline="0" noProof="0">
                    <a:ln>
                      <a:noFill/>
                    </a:ln>
                    <a:solidFill>
                      <a:prstClr val="white"/>
                    </a:solidFill>
                    <a:effectLst/>
                    <a:uLnTx/>
                    <a:uFillTx/>
                    <a:latin typeface="Calibri"/>
                    <a:ea typeface="+mn-ea"/>
                    <a:cs typeface="+mn-cs"/>
                  </a:rPr>
                </a:br>
                <a:r>
                  <a:rPr kumimoji="0" lang="en-US" sz="800" b="1" i="0" u="none" strike="noStrike" kern="1200" cap="none" spc="0" normalizeH="0" baseline="0" noProof="0">
                    <a:ln>
                      <a:noFill/>
                    </a:ln>
                    <a:solidFill>
                      <a:prstClr val="white"/>
                    </a:solidFill>
                    <a:effectLst/>
                    <a:uLnTx/>
                    <a:uFillTx/>
                    <a:latin typeface="Calibri"/>
                    <a:ea typeface="+mn-ea"/>
                    <a:cs typeface="+mn-cs"/>
                  </a:rPr>
                  <a:t>Code</a:t>
                </a:r>
              </a:p>
            </p:txBody>
          </p:sp>
          <p:sp>
            <p:nvSpPr>
              <p:cNvPr id="37" name="Rounded Rectangle 102">
                <a:extLst>
                  <a:ext uri="{FF2B5EF4-FFF2-40B4-BE49-F238E27FC236}">
                    <a16:creationId xmlns:a16="http://schemas.microsoft.com/office/drawing/2014/main" id="{5628D48F-4C44-AC58-E2F0-CBAE966C6F1D}"/>
                  </a:ext>
                </a:extLst>
              </p:cNvPr>
              <p:cNvSpPr/>
              <p:nvPr/>
            </p:nvSpPr>
            <p:spPr bwMode="gray">
              <a:xfrm>
                <a:off x="11169357" y="5592244"/>
                <a:ext cx="877678" cy="545224"/>
              </a:xfrm>
              <a:prstGeom prst="roundRect">
                <a:avLst>
                  <a:gd name="adj" fmla="val 50000"/>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Model Scoring</a:t>
                </a:r>
              </a:p>
            </p:txBody>
          </p:sp>
          <p:sp>
            <p:nvSpPr>
              <p:cNvPr id="39" name="Oval 38">
                <a:extLst>
                  <a:ext uri="{FF2B5EF4-FFF2-40B4-BE49-F238E27FC236}">
                    <a16:creationId xmlns:a16="http://schemas.microsoft.com/office/drawing/2014/main" id="{5CA25ED9-88E1-9B13-692E-D4450EF2B03E}"/>
                  </a:ext>
                </a:extLst>
              </p:cNvPr>
              <p:cNvSpPr/>
              <p:nvPr/>
            </p:nvSpPr>
            <p:spPr bwMode="gray">
              <a:xfrm>
                <a:off x="1543874" y="5619431"/>
                <a:ext cx="1286434" cy="495975"/>
              </a:xfrm>
              <a:prstGeom prst="ellipse">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riggers</a:t>
                </a:r>
              </a:p>
            </p:txBody>
          </p:sp>
          <p:sp>
            <p:nvSpPr>
              <p:cNvPr id="40" name="Flowchart: Magnetic Disk 39">
                <a:extLst>
                  <a:ext uri="{FF2B5EF4-FFF2-40B4-BE49-F238E27FC236}">
                    <a16:creationId xmlns:a16="http://schemas.microsoft.com/office/drawing/2014/main" id="{D0231D0B-9216-B5A7-51D8-2BC299FC3F8F}"/>
                  </a:ext>
                </a:extLst>
              </p:cNvPr>
              <p:cNvSpPr/>
              <p:nvPr/>
            </p:nvSpPr>
            <p:spPr bwMode="gray">
              <a:xfrm>
                <a:off x="3090664" y="5351988"/>
                <a:ext cx="3833392" cy="378997"/>
              </a:xfrm>
              <a:prstGeom prst="flowChartMagneticDisk">
                <a:avLst/>
              </a:prstGeom>
              <a:solidFill>
                <a:schemeClr val="accent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Machine Learning Metadata</a:t>
                </a:r>
              </a:p>
            </p:txBody>
          </p:sp>
          <p:cxnSp>
            <p:nvCxnSpPr>
              <p:cNvPr id="41" name="Straight Arrow Connector 40">
                <a:extLst>
                  <a:ext uri="{FF2B5EF4-FFF2-40B4-BE49-F238E27FC236}">
                    <a16:creationId xmlns:a16="http://schemas.microsoft.com/office/drawing/2014/main" id="{AE54E743-84CB-65C9-6CEE-B467EDC38D53}"/>
                  </a:ext>
                </a:extLst>
              </p:cNvPr>
              <p:cNvCxnSpPr>
                <a:cxnSpLocks/>
                <a:stCxn id="40" idx="1"/>
                <a:endCxn id="144" idx="2"/>
              </p:cNvCxnSpPr>
              <p:nvPr/>
            </p:nvCxnSpPr>
            <p:spPr>
              <a:xfrm flipH="1" flipV="1">
                <a:off x="4985816" y="5163760"/>
                <a:ext cx="21544" cy="188228"/>
              </a:xfrm>
              <a:prstGeom prst="straightConnector1">
                <a:avLst/>
              </a:prstGeom>
              <a:ln w="15875">
                <a:solidFill>
                  <a:schemeClr val="tx1">
                    <a:lumMod val="65000"/>
                    <a:lumOff val="3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36159AA-7214-C0F2-9140-6F3CC6B73107}"/>
                  </a:ext>
                </a:extLst>
              </p:cNvPr>
              <p:cNvCxnSpPr>
                <a:cxnSpLocks/>
              </p:cNvCxnSpPr>
              <p:nvPr/>
            </p:nvCxnSpPr>
            <p:spPr>
              <a:xfrm>
                <a:off x="9292665" y="1654506"/>
                <a:ext cx="285834" cy="67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119">
                <a:extLst>
                  <a:ext uri="{FF2B5EF4-FFF2-40B4-BE49-F238E27FC236}">
                    <a16:creationId xmlns:a16="http://schemas.microsoft.com/office/drawing/2014/main" id="{7700A1E2-1337-7BF9-ED51-5637949A29AB}"/>
                  </a:ext>
                </a:extLst>
              </p:cNvPr>
              <p:cNvCxnSpPr>
                <a:cxnSpLocks/>
              </p:cNvCxnSpPr>
              <p:nvPr/>
            </p:nvCxnSpPr>
            <p:spPr>
              <a:xfrm>
                <a:off x="10773112" y="1655185"/>
                <a:ext cx="707171" cy="58070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Flowchart: Multidocument 44">
                <a:extLst>
                  <a:ext uri="{FF2B5EF4-FFF2-40B4-BE49-F238E27FC236}">
                    <a16:creationId xmlns:a16="http://schemas.microsoft.com/office/drawing/2014/main" id="{CEBE13B8-93C1-5A62-D413-71DFADC27123}"/>
                  </a:ext>
                </a:extLst>
              </p:cNvPr>
              <p:cNvSpPr/>
              <p:nvPr/>
            </p:nvSpPr>
            <p:spPr bwMode="gray">
              <a:xfrm>
                <a:off x="11040808" y="1386759"/>
                <a:ext cx="897531" cy="545224"/>
              </a:xfrm>
              <a:prstGeom prst="flowChartMulti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Packages/API</a:t>
                </a:r>
              </a:p>
            </p:txBody>
          </p:sp>
          <p:grpSp>
            <p:nvGrpSpPr>
              <p:cNvPr id="47" name="Group 46">
                <a:extLst>
                  <a:ext uri="{FF2B5EF4-FFF2-40B4-BE49-F238E27FC236}">
                    <a16:creationId xmlns:a16="http://schemas.microsoft.com/office/drawing/2014/main" id="{FFA5947A-8615-2FA3-916E-6F136311A6F3}"/>
                  </a:ext>
                </a:extLst>
              </p:cNvPr>
              <p:cNvGrpSpPr/>
              <p:nvPr/>
            </p:nvGrpSpPr>
            <p:grpSpPr>
              <a:xfrm>
                <a:off x="1799825" y="4088210"/>
                <a:ext cx="6371983" cy="1075550"/>
                <a:chOff x="-121346" y="2943017"/>
                <a:chExt cx="6435703" cy="987551"/>
              </a:xfrm>
            </p:grpSpPr>
            <p:sp>
              <p:nvSpPr>
                <p:cNvPr id="144" name="Rectangle 143">
                  <a:extLst>
                    <a:ext uri="{FF2B5EF4-FFF2-40B4-BE49-F238E27FC236}">
                      <a16:creationId xmlns:a16="http://schemas.microsoft.com/office/drawing/2014/main" id="{91B9887E-A1A1-0FB7-4928-11595548B566}"/>
                    </a:ext>
                  </a:extLst>
                </p:cNvPr>
                <p:cNvSpPr/>
                <p:nvPr/>
              </p:nvSpPr>
              <p:spPr bwMode="gray">
                <a:xfrm>
                  <a:off x="-121346" y="2943017"/>
                  <a:ext cx="6435703" cy="987551"/>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Automated pipeline to refresh models in Prod (If Triggered )</a:t>
                  </a:r>
                </a:p>
              </p:txBody>
            </p:sp>
            <p:sp>
              <p:nvSpPr>
                <p:cNvPr id="145" name="Rectangle 144">
                  <a:extLst>
                    <a:ext uri="{FF2B5EF4-FFF2-40B4-BE49-F238E27FC236}">
                      <a16:creationId xmlns:a16="http://schemas.microsoft.com/office/drawing/2014/main" id="{DD98D1A7-832A-E864-F911-68E694FE167A}"/>
                    </a:ext>
                  </a:extLst>
                </p:cNvPr>
                <p:cNvSpPr/>
                <p:nvPr/>
              </p:nvSpPr>
              <p:spPr bwMode="gray">
                <a:xfrm>
                  <a:off x="105314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46" name="Rectangle 145">
                  <a:extLst>
                    <a:ext uri="{FF2B5EF4-FFF2-40B4-BE49-F238E27FC236}">
                      <a16:creationId xmlns:a16="http://schemas.microsoft.com/office/drawing/2014/main" id="{71E5ADEA-D05F-9623-DE44-44756A63577A}"/>
                    </a:ext>
                  </a:extLst>
                </p:cNvPr>
                <p:cNvSpPr/>
                <p:nvPr/>
              </p:nvSpPr>
              <p:spPr bwMode="gray">
                <a:xfrm>
                  <a:off x="2130083" y="3264977"/>
                  <a:ext cx="812090"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147" name="Rectangle 146">
                  <a:extLst>
                    <a:ext uri="{FF2B5EF4-FFF2-40B4-BE49-F238E27FC236}">
                      <a16:creationId xmlns:a16="http://schemas.microsoft.com/office/drawing/2014/main" id="{492E4D9C-089B-28E8-FC16-9B012100CE26}"/>
                    </a:ext>
                  </a:extLst>
                </p:cNvPr>
                <p:cNvSpPr/>
                <p:nvPr/>
              </p:nvSpPr>
              <p:spPr bwMode="gray">
                <a:xfrm>
                  <a:off x="3230903"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148" name="Rectangle 147">
                  <a:extLst>
                    <a:ext uri="{FF2B5EF4-FFF2-40B4-BE49-F238E27FC236}">
                      <a16:creationId xmlns:a16="http://schemas.microsoft.com/office/drawing/2014/main" id="{B1FAA321-B46E-14A1-59D5-4163FB58EB01}"/>
                    </a:ext>
                  </a:extLst>
                </p:cNvPr>
                <p:cNvSpPr/>
                <p:nvPr/>
              </p:nvSpPr>
              <p:spPr bwMode="gray">
                <a:xfrm>
                  <a:off x="431185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149" name="Rectangle 148">
                  <a:extLst>
                    <a:ext uri="{FF2B5EF4-FFF2-40B4-BE49-F238E27FC236}">
                      <a16:creationId xmlns:a16="http://schemas.microsoft.com/office/drawing/2014/main" id="{45220B92-248F-630C-603E-E1C590455EB6}"/>
                    </a:ext>
                  </a:extLst>
                </p:cNvPr>
                <p:cNvSpPr/>
                <p:nvPr/>
              </p:nvSpPr>
              <p:spPr bwMode="gray">
                <a:xfrm>
                  <a:off x="5392814"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150" name="Straight Arrow Connector 149">
                  <a:extLst>
                    <a:ext uri="{FF2B5EF4-FFF2-40B4-BE49-F238E27FC236}">
                      <a16:creationId xmlns:a16="http://schemas.microsoft.com/office/drawing/2014/main" id="{F6D80C52-3F70-EAB0-DE15-8012D5EFCD6A}"/>
                    </a:ext>
                  </a:extLst>
                </p:cNvPr>
                <p:cNvCxnSpPr>
                  <a:stCxn id="145" idx="3"/>
                  <a:endCxn id="146" idx="1"/>
                </p:cNvCxnSpPr>
                <p:nvPr/>
              </p:nvCxnSpPr>
              <p:spPr>
                <a:xfrm>
                  <a:off x="1841355" y="3529956"/>
                  <a:ext cx="28872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49282984-5782-FDD9-6EA3-1B24E32A26DB}"/>
                    </a:ext>
                  </a:extLst>
                </p:cNvPr>
                <p:cNvCxnSpPr>
                  <a:stCxn id="146" idx="3"/>
                  <a:endCxn id="147" idx="1"/>
                </p:cNvCxnSpPr>
                <p:nvPr/>
              </p:nvCxnSpPr>
              <p:spPr>
                <a:xfrm>
                  <a:off x="2942172" y="3529956"/>
                  <a:ext cx="28873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2D112E19-BE21-69F0-B6A6-F376960A42F6}"/>
                    </a:ext>
                  </a:extLst>
                </p:cNvPr>
                <p:cNvCxnSpPr>
                  <a:stCxn id="147" idx="3"/>
                  <a:endCxn id="148" idx="1"/>
                </p:cNvCxnSpPr>
                <p:nvPr/>
              </p:nvCxnSpPr>
              <p:spPr>
                <a:xfrm>
                  <a:off x="4019110" y="3529956"/>
                  <a:ext cx="29274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619822CE-DFF4-15B4-D0F4-C3ED92AC80AC}"/>
                    </a:ext>
                  </a:extLst>
                </p:cNvPr>
                <p:cNvCxnSpPr>
                  <a:stCxn id="148" idx="3"/>
                  <a:endCxn id="149" idx="1"/>
                </p:cNvCxnSpPr>
                <p:nvPr/>
              </p:nvCxnSpPr>
              <p:spPr>
                <a:xfrm>
                  <a:off x="5100064"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9A276DCC-BA74-B3CD-6940-6339E56BFC66}"/>
                    </a:ext>
                  </a:extLst>
                </p:cNvPr>
                <p:cNvSpPr/>
                <p:nvPr/>
              </p:nvSpPr>
              <p:spPr bwMode="gray">
                <a:xfrm>
                  <a:off x="-2780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Extraction</a:t>
                  </a:r>
                </a:p>
              </p:txBody>
            </p:sp>
            <p:cxnSp>
              <p:nvCxnSpPr>
                <p:cNvPr id="155" name="Straight Arrow Connector 154">
                  <a:extLst>
                    <a:ext uri="{FF2B5EF4-FFF2-40B4-BE49-F238E27FC236}">
                      <a16:creationId xmlns:a16="http://schemas.microsoft.com/office/drawing/2014/main" id="{F9706F91-D0D0-7CFE-D9AA-B401392BB38D}"/>
                    </a:ext>
                  </a:extLst>
                </p:cNvPr>
                <p:cNvCxnSpPr>
                  <a:stCxn id="154" idx="3"/>
                  <a:endCxn id="145" idx="1"/>
                </p:cNvCxnSpPr>
                <p:nvPr/>
              </p:nvCxnSpPr>
              <p:spPr>
                <a:xfrm>
                  <a:off x="760398"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Flowchart: Document 47">
                <a:extLst>
                  <a:ext uri="{FF2B5EF4-FFF2-40B4-BE49-F238E27FC236}">
                    <a16:creationId xmlns:a16="http://schemas.microsoft.com/office/drawing/2014/main" id="{682BD861-E5FE-AD5A-D227-76B94784831A}"/>
                  </a:ext>
                </a:extLst>
              </p:cNvPr>
              <p:cNvSpPr/>
              <p:nvPr/>
            </p:nvSpPr>
            <p:spPr bwMode="gray">
              <a:xfrm>
                <a:off x="10308093" y="4070136"/>
                <a:ext cx="830287" cy="545224"/>
              </a:xfrm>
              <a:prstGeom prst="flowChart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Trained model</a:t>
                </a:r>
              </a:p>
            </p:txBody>
          </p:sp>
          <p:cxnSp>
            <p:nvCxnSpPr>
              <p:cNvPr id="49" name="Elbow Connector 153">
                <a:extLst>
                  <a:ext uri="{FF2B5EF4-FFF2-40B4-BE49-F238E27FC236}">
                    <a16:creationId xmlns:a16="http://schemas.microsoft.com/office/drawing/2014/main" id="{4A8FCB1E-3634-5FEB-3778-11434684FF34}"/>
                  </a:ext>
                </a:extLst>
              </p:cNvPr>
              <p:cNvCxnSpPr>
                <a:cxnSpLocks/>
                <a:stCxn id="37" idx="1"/>
                <a:endCxn id="2205" idx="3"/>
              </p:cNvCxnSpPr>
              <p:nvPr/>
            </p:nvCxnSpPr>
            <p:spPr>
              <a:xfrm rot="10800000">
                <a:off x="8126951" y="5859749"/>
                <a:ext cx="3042406" cy="5108"/>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56">
                <a:extLst>
                  <a:ext uri="{FF2B5EF4-FFF2-40B4-BE49-F238E27FC236}">
                    <a16:creationId xmlns:a16="http://schemas.microsoft.com/office/drawing/2014/main" id="{D8AF2BBD-0958-49A5-89FE-9F64882E139B}"/>
                  </a:ext>
                </a:extLst>
              </p:cNvPr>
              <p:cNvCxnSpPr>
                <a:cxnSpLocks/>
                <a:stCxn id="2205" idx="1"/>
                <a:endCxn id="39" idx="6"/>
              </p:cNvCxnSpPr>
              <p:nvPr/>
            </p:nvCxnSpPr>
            <p:spPr>
              <a:xfrm rot="10800000" flipV="1">
                <a:off x="2830309" y="5859747"/>
                <a:ext cx="4070216" cy="7671"/>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A9D54D1F-77AA-1B3B-C060-AB7568EA8A01}"/>
                  </a:ext>
                </a:extLst>
              </p:cNvPr>
              <p:cNvSpPr/>
              <p:nvPr/>
            </p:nvSpPr>
            <p:spPr bwMode="gray">
              <a:xfrm>
                <a:off x="3034001" y="5805556"/>
                <a:ext cx="424909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Model Performance / Distribution of Key Variables / Customer Segments</a:t>
                </a:r>
              </a:p>
            </p:txBody>
          </p:sp>
          <p:cxnSp>
            <p:nvCxnSpPr>
              <p:cNvPr id="52" name="Elbow Connector 160">
                <a:extLst>
                  <a:ext uri="{FF2B5EF4-FFF2-40B4-BE49-F238E27FC236}">
                    <a16:creationId xmlns:a16="http://schemas.microsoft.com/office/drawing/2014/main" id="{2AC90B25-2888-3813-64E1-72806B6FEF5D}"/>
                  </a:ext>
                </a:extLst>
              </p:cNvPr>
              <p:cNvCxnSpPr>
                <a:stCxn id="27" idx="1"/>
                <a:endCxn id="17" idx="1"/>
              </p:cNvCxnSpPr>
              <p:nvPr/>
            </p:nvCxnSpPr>
            <p:spPr>
              <a:xfrm rot="5400000" flipH="1" flipV="1">
                <a:off x="946650" y="1605137"/>
                <a:ext cx="540495" cy="630859"/>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167">
                <a:extLst>
                  <a:ext uri="{FF2B5EF4-FFF2-40B4-BE49-F238E27FC236}">
                    <a16:creationId xmlns:a16="http://schemas.microsoft.com/office/drawing/2014/main" id="{6065E023-68F6-2D6E-E9AC-AD7A2DF3FF8F}"/>
                  </a:ext>
                </a:extLst>
              </p:cNvPr>
              <p:cNvCxnSpPr>
                <a:cxnSpLocks/>
                <a:stCxn id="39" idx="0"/>
                <a:endCxn id="144" idx="0"/>
              </p:cNvCxnSpPr>
              <p:nvPr/>
            </p:nvCxnSpPr>
            <p:spPr>
              <a:xfrm rot="5400000" flipH="1" flipV="1">
                <a:off x="2820843" y="3454458"/>
                <a:ext cx="1531222" cy="2798726"/>
              </a:xfrm>
              <a:prstGeom prst="bentConnector5">
                <a:avLst>
                  <a:gd name="adj1" fmla="val 14879"/>
                  <a:gd name="adj2" fmla="val 124"/>
                  <a:gd name="adj3" fmla="val 115243"/>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170">
                <a:extLst>
                  <a:ext uri="{FF2B5EF4-FFF2-40B4-BE49-F238E27FC236}">
                    <a16:creationId xmlns:a16="http://schemas.microsoft.com/office/drawing/2014/main" id="{02DA4AA3-633A-EE1A-666B-CE2311FBE69F}"/>
                  </a:ext>
                </a:extLst>
              </p:cNvPr>
              <p:cNvCxnSpPr>
                <a:stCxn id="27" idx="2"/>
                <a:endCxn id="37" idx="2"/>
              </p:cNvCxnSpPr>
              <p:nvPr/>
            </p:nvCxnSpPr>
            <p:spPr>
              <a:xfrm rot="10800000" flipH="1" flipV="1">
                <a:off x="405240" y="3083546"/>
                <a:ext cx="11202955" cy="3053922"/>
              </a:xfrm>
              <a:prstGeom prst="bentConnector4">
                <a:avLst>
                  <a:gd name="adj1" fmla="val -2083"/>
                  <a:gd name="adj2" fmla="val 116917"/>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178">
                <a:extLst>
                  <a:ext uri="{FF2B5EF4-FFF2-40B4-BE49-F238E27FC236}">
                    <a16:creationId xmlns:a16="http://schemas.microsoft.com/office/drawing/2014/main" id="{B477FF88-DD29-26A9-749F-23CD9E829215}"/>
                  </a:ext>
                </a:extLst>
              </p:cNvPr>
              <p:cNvCxnSpPr>
                <a:stCxn id="27" idx="3"/>
                <a:endCxn id="154" idx="1"/>
              </p:cNvCxnSpPr>
              <p:nvPr/>
            </p:nvCxnSpPr>
            <p:spPr>
              <a:xfrm rot="16200000" flipH="1">
                <a:off x="1021366" y="3856380"/>
                <a:ext cx="751171" cy="99096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17FF8DB-A779-406B-604D-EA0AEB699D2E}"/>
                  </a:ext>
                </a:extLst>
              </p:cNvPr>
              <p:cNvSpPr/>
              <p:nvPr/>
            </p:nvSpPr>
            <p:spPr bwMode="gray">
              <a:xfrm>
                <a:off x="369529" y="1387281"/>
                <a:ext cx="982629" cy="52471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Analysi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Univariate &amp; Bivariate)</a:t>
                </a:r>
              </a:p>
            </p:txBody>
          </p:sp>
          <p:cxnSp>
            <p:nvCxnSpPr>
              <p:cNvPr id="57" name="Elbow Connector 189">
                <a:extLst>
                  <a:ext uri="{FF2B5EF4-FFF2-40B4-BE49-F238E27FC236}">
                    <a16:creationId xmlns:a16="http://schemas.microsoft.com/office/drawing/2014/main" id="{6B2E12A0-9882-ACD2-A86E-BF9CAA6EFE71}"/>
                  </a:ext>
                </a:extLst>
              </p:cNvPr>
              <p:cNvCxnSpPr>
                <a:stCxn id="39" idx="2"/>
                <a:endCxn id="56" idx="1"/>
              </p:cNvCxnSpPr>
              <p:nvPr/>
            </p:nvCxnSpPr>
            <p:spPr>
              <a:xfrm rot="10800000">
                <a:off x="369529" y="1649638"/>
                <a:ext cx="1174345" cy="4217782"/>
              </a:xfrm>
              <a:prstGeom prst="bentConnector3">
                <a:avLst>
                  <a:gd name="adj1" fmla="val 11931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194">
                <a:extLst>
                  <a:ext uri="{FF2B5EF4-FFF2-40B4-BE49-F238E27FC236}">
                    <a16:creationId xmlns:a16="http://schemas.microsoft.com/office/drawing/2014/main" id="{5F42DC4B-1B41-BDF6-0BCD-723622A63174}"/>
                  </a:ext>
                </a:extLst>
              </p:cNvPr>
              <p:cNvCxnSpPr>
                <a:cxnSpLocks/>
                <a:stCxn id="133" idx="3"/>
              </p:cNvCxnSpPr>
              <p:nvPr/>
            </p:nvCxnSpPr>
            <p:spPr>
              <a:xfrm flipH="1" flipV="1">
                <a:off x="8787940" y="1931950"/>
                <a:ext cx="1164050" cy="2512031"/>
              </a:xfrm>
              <a:prstGeom prst="bentConnector4">
                <a:avLst>
                  <a:gd name="adj1" fmla="val -19638"/>
                  <a:gd name="adj2" fmla="val 6294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7CD35F6-C95C-6DFB-B642-BC5F51953C14}"/>
                  </a:ext>
                </a:extLst>
              </p:cNvPr>
              <p:cNvGrpSpPr/>
              <p:nvPr/>
            </p:nvGrpSpPr>
            <p:grpSpPr>
              <a:xfrm>
                <a:off x="9794773" y="3333532"/>
                <a:ext cx="828200" cy="529960"/>
                <a:chOff x="7262366" y="1894930"/>
                <a:chExt cx="1012144" cy="529960"/>
              </a:xfrm>
            </p:grpSpPr>
            <p:cxnSp>
              <p:nvCxnSpPr>
                <p:cNvPr id="141" name="Straight Connector 140">
                  <a:extLst>
                    <a:ext uri="{FF2B5EF4-FFF2-40B4-BE49-F238E27FC236}">
                      <a16:creationId xmlns:a16="http://schemas.microsoft.com/office/drawing/2014/main" id="{9AA8F950-585A-DCAE-68F2-B51964EA9C99}"/>
                    </a:ext>
                  </a:extLst>
                </p:cNvPr>
                <p:cNvCxnSpPr/>
                <p:nvPr/>
              </p:nvCxnSpPr>
              <p:spPr>
                <a:xfrm>
                  <a:off x="7262366" y="1917291"/>
                  <a:ext cx="70792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F5A9166-2CA7-A23E-BE31-028FCAAB0DE9}"/>
                    </a:ext>
                  </a:extLst>
                </p:cNvPr>
                <p:cNvCxnSpPr/>
                <p:nvPr/>
              </p:nvCxnSpPr>
              <p:spPr>
                <a:xfrm>
                  <a:off x="7350391" y="1961537"/>
                  <a:ext cx="53187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86ADAFFC-9123-8650-11D1-4D901AAF4667}"/>
                    </a:ext>
                  </a:extLst>
                </p:cNvPr>
                <p:cNvSpPr/>
                <p:nvPr/>
              </p:nvSpPr>
              <p:spPr bwMode="gray">
                <a:xfrm>
                  <a:off x="7320781" y="1894930"/>
                  <a:ext cx="953729" cy="5299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Source </a:t>
                  </a:r>
                  <a:br>
                    <a:rPr kumimoji="0" lang="en-US" sz="800" b="1" i="0" u="none" strike="noStrike" kern="1200" cap="none" spc="0" normalizeH="0" baseline="0" noProof="0" dirty="0">
                      <a:ln>
                        <a:noFill/>
                      </a:ln>
                      <a:solidFill>
                        <a:prstClr val="white"/>
                      </a:solidFill>
                      <a:effectLst/>
                      <a:uLnTx/>
                      <a:uFillTx/>
                      <a:latin typeface="Calibri"/>
                      <a:ea typeface="+mn-ea"/>
                      <a:cs typeface="+mn-cs"/>
                    </a:rPr>
                  </a:br>
                  <a:r>
                    <a:rPr kumimoji="0" lang="en-US" sz="800" b="1" i="0" u="none" strike="noStrike" kern="1200" cap="none" spc="0" normalizeH="0" baseline="0" noProof="0" dirty="0">
                      <a:ln>
                        <a:noFill/>
                      </a:ln>
                      <a:solidFill>
                        <a:prstClr val="white"/>
                      </a:solidFill>
                      <a:effectLst/>
                      <a:uLnTx/>
                      <a:uFillTx/>
                      <a:latin typeface="Calibri"/>
                      <a:ea typeface="+mn-ea"/>
                      <a:cs typeface="+mn-cs"/>
                    </a:rPr>
                    <a:t>Code</a:t>
                  </a:r>
                </a:p>
              </p:txBody>
            </p:sp>
          </p:grpSp>
          <p:sp>
            <p:nvSpPr>
              <p:cNvPr id="61" name="Rectangle 60">
                <a:extLst>
                  <a:ext uri="{FF2B5EF4-FFF2-40B4-BE49-F238E27FC236}">
                    <a16:creationId xmlns:a16="http://schemas.microsoft.com/office/drawing/2014/main" id="{4A319A9D-4062-EEDD-B7EE-891496ECDE6B}"/>
                  </a:ext>
                </a:extLst>
              </p:cNvPr>
              <p:cNvSpPr/>
              <p:nvPr/>
            </p:nvSpPr>
            <p:spPr bwMode="gray">
              <a:xfrm>
                <a:off x="315909" y="5516314"/>
                <a:ext cx="1243120" cy="234072"/>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amp; Model Logs</a:t>
                </a:r>
              </a:p>
            </p:txBody>
          </p:sp>
          <p:sp>
            <p:nvSpPr>
              <p:cNvPr id="62" name="Rectangle 61">
                <a:extLst>
                  <a:ext uri="{FF2B5EF4-FFF2-40B4-BE49-F238E27FC236}">
                    <a16:creationId xmlns:a16="http://schemas.microsoft.com/office/drawing/2014/main" id="{FF76E6F9-A0CB-B68C-5276-6501C3584977}"/>
                  </a:ext>
                </a:extLst>
              </p:cNvPr>
              <p:cNvSpPr/>
              <p:nvPr/>
            </p:nvSpPr>
            <p:spPr bwMode="gray">
              <a:xfrm>
                <a:off x="2648584" y="3290189"/>
                <a:ext cx="2214979"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Trigger to refresh existing model</a:t>
                </a:r>
              </a:p>
            </p:txBody>
          </p:sp>
          <p:sp>
            <p:nvSpPr>
              <p:cNvPr id="63" name="Rectangle 62">
                <a:extLst>
                  <a:ext uri="{FF2B5EF4-FFF2-40B4-BE49-F238E27FC236}">
                    <a16:creationId xmlns:a16="http://schemas.microsoft.com/office/drawing/2014/main" id="{F8E0DDA9-8789-C41F-E068-D8CFBE23D77A}"/>
                  </a:ext>
                </a:extLst>
              </p:cNvPr>
              <p:cNvSpPr/>
              <p:nvPr/>
            </p:nvSpPr>
            <p:spPr bwMode="gray">
              <a:xfrm>
                <a:off x="9171140" y="5171019"/>
                <a:ext cx="780402" cy="433646"/>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Cockpits &amp; CM</a:t>
                </a:r>
              </a:p>
            </p:txBody>
          </p:sp>
          <p:cxnSp>
            <p:nvCxnSpPr>
              <p:cNvPr id="64" name="Elbow Connector 211">
                <a:extLst>
                  <a:ext uri="{FF2B5EF4-FFF2-40B4-BE49-F238E27FC236}">
                    <a16:creationId xmlns:a16="http://schemas.microsoft.com/office/drawing/2014/main" id="{54E055A0-16E5-0599-F9F1-4D22CB0F9E2A}"/>
                  </a:ext>
                </a:extLst>
              </p:cNvPr>
              <p:cNvCxnSpPr>
                <a:stCxn id="37" idx="1"/>
                <a:endCxn id="63" idx="3"/>
              </p:cNvCxnSpPr>
              <p:nvPr/>
            </p:nvCxnSpPr>
            <p:spPr>
              <a:xfrm rot="10800000">
                <a:off x="9951542" y="5387843"/>
                <a:ext cx="1217815" cy="477014"/>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6CA6CB57-22EE-9869-2A68-36314244425F}"/>
                  </a:ext>
                </a:extLst>
              </p:cNvPr>
              <p:cNvSpPr/>
              <p:nvPr/>
            </p:nvSpPr>
            <p:spPr bwMode="gray">
              <a:xfrm>
                <a:off x="6911818" y="110232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2</a:t>
                </a:r>
              </a:p>
            </p:txBody>
          </p:sp>
          <p:sp>
            <p:nvSpPr>
              <p:cNvPr id="131" name="Oval 130">
                <a:extLst>
                  <a:ext uri="{FF2B5EF4-FFF2-40B4-BE49-F238E27FC236}">
                    <a16:creationId xmlns:a16="http://schemas.microsoft.com/office/drawing/2014/main" id="{9B6C9F0A-8CE1-EB08-1886-C1A09D5498E3}"/>
                  </a:ext>
                </a:extLst>
              </p:cNvPr>
              <p:cNvSpPr/>
              <p:nvPr/>
            </p:nvSpPr>
            <p:spPr bwMode="gray">
              <a:xfrm>
                <a:off x="8235766" y="5512239"/>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6</a:t>
                </a:r>
              </a:p>
            </p:txBody>
          </p:sp>
          <p:sp>
            <p:nvSpPr>
              <p:cNvPr id="132" name="Oval 131">
                <a:extLst>
                  <a:ext uri="{FF2B5EF4-FFF2-40B4-BE49-F238E27FC236}">
                    <a16:creationId xmlns:a16="http://schemas.microsoft.com/office/drawing/2014/main" id="{B1F61B7C-CE7B-2ACA-0A76-B37DAFB3474D}"/>
                  </a:ext>
                </a:extLst>
              </p:cNvPr>
              <p:cNvSpPr/>
              <p:nvPr/>
            </p:nvSpPr>
            <p:spPr bwMode="gray">
              <a:xfrm>
                <a:off x="2438627" y="3853338"/>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7</a:t>
                </a:r>
              </a:p>
            </p:txBody>
          </p:sp>
          <p:sp>
            <p:nvSpPr>
              <p:cNvPr id="133" name="Rectangle 132">
                <a:extLst>
                  <a:ext uri="{FF2B5EF4-FFF2-40B4-BE49-F238E27FC236}">
                    <a16:creationId xmlns:a16="http://schemas.microsoft.com/office/drawing/2014/main" id="{88ADAF2B-7B1E-B4E9-D7B4-855961E49321}"/>
                  </a:ext>
                </a:extLst>
              </p:cNvPr>
              <p:cNvSpPr/>
              <p:nvPr/>
            </p:nvSpPr>
            <p:spPr bwMode="gray">
              <a:xfrm>
                <a:off x="9171588" y="4246869"/>
                <a:ext cx="780402" cy="394224"/>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134" name="Elbow Connector 233">
                <a:extLst>
                  <a:ext uri="{FF2B5EF4-FFF2-40B4-BE49-F238E27FC236}">
                    <a16:creationId xmlns:a16="http://schemas.microsoft.com/office/drawing/2014/main" id="{83A79ECB-6321-ED7A-AAF4-5D6A5D58C575}"/>
                  </a:ext>
                </a:extLst>
              </p:cNvPr>
              <p:cNvCxnSpPr>
                <a:stCxn id="149" idx="3"/>
                <a:endCxn id="133" idx="1"/>
              </p:cNvCxnSpPr>
              <p:nvPr/>
            </p:nvCxnSpPr>
            <p:spPr>
              <a:xfrm flipV="1">
                <a:off x="8039791" y="4443980"/>
                <a:ext cx="1131797" cy="283470"/>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A3262F30-0B4F-AD02-FBD9-8435A1DEF463}"/>
                  </a:ext>
                </a:extLst>
              </p:cNvPr>
              <p:cNvSpPr/>
              <p:nvPr/>
            </p:nvSpPr>
            <p:spPr bwMode="gray">
              <a:xfrm>
                <a:off x="9043886" y="4114800"/>
                <a:ext cx="1045798" cy="1609505"/>
              </a:xfrm>
              <a:prstGeom prst="rect">
                <a:avLst/>
              </a:prstGeom>
              <a:noFill/>
              <a:ln w="19050" cmpd="dbl" algn="ctr">
                <a:solidFill>
                  <a:srgbClr val="FF0000"/>
                </a:solidFill>
                <a:miter lim="800000"/>
                <a:headEnd/>
                <a:tailEnd/>
              </a:ln>
            </p:spPr>
            <p:txBody>
              <a:bodyPr wrap="square" lIns="88900" tIns="88900" rIns="88900" bIns="12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echnology &amp; Business SME</a:t>
                </a:r>
              </a:p>
            </p:txBody>
          </p:sp>
          <p:cxnSp>
            <p:nvCxnSpPr>
              <p:cNvPr id="137" name="Elbow Connector 89">
                <a:extLst>
                  <a:ext uri="{FF2B5EF4-FFF2-40B4-BE49-F238E27FC236}">
                    <a16:creationId xmlns:a16="http://schemas.microsoft.com/office/drawing/2014/main" id="{7E726362-D6BD-A425-2793-969FB97E7363}"/>
                  </a:ext>
                </a:extLst>
              </p:cNvPr>
              <p:cNvCxnSpPr>
                <a:cxnSpLocks/>
                <a:stCxn id="133" idx="0"/>
                <a:endCxn id="125" idx="3"/>
              </p:cNvCxnSpPr>
              <p:nvPr/>
            </p:nvCxnSpPr>
            <p:spPr>
              <a:xfrm rot="16200000" flipV="1">
                <a:off x="7501807" y="2186886"/>
                <a:ext cx="1262920" cy="2857046"/>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FD734D6E-5599-C194-8313-501751C00AE6}"/>
                  </a:ext>
                </a:extLst>
              </p:cNvPr>
              <p:cNvSpPr/>
              <p:nvPr/>
            </p:nvSpPr>
            <p:spPr bwMode="gray">
              <a:xfrm>
                <a:off x="325090" y="221484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1</a:t>
                </a:r>
              </a:p>
            </p:txBody>
          </p:sp>
          <p:sp>
            <p:nvSpPr>
              <p:cNvPr id="139" name="Oval 138">
                <a:extLst>
                  <a:ext uri="{FF2B5EF4-FFF2-40B4-BE49-F238E27FC236}">
                    <a16:creationId xmlns:a16="http://schemas.microsoft.com/office/drawing/2014/main" id="{E1128EDF-7A4A-1804-C308-5A7BC012AE56}"/>
                  </a:ext>
                </a:extLst>
              </p:cNvPr>
              <p:cNvSpPr/>
              <p:nvPr/>
            </p:nvSpPr>
            <p:spPr bwMode="gray">
              <a:xfrm>
                <a:off x="9803590" y="4140753"/>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8</a:t>
                </a:r>
              </a:p>
            </p:txBody>
          </p:sp>
          <p:sp>
            <p:nvSpPr>
              <p:cNvPr id="140" name="Rectangle 139">
                <a:extLst>
                  <a:ext uri="{FF2B5EF4-FFF2-40B4-BE49-F238E27FC236}">
                    <a16:creationId xmlns:a16="http://schemas.microsoft.com/office/drawing/2014/main" id="{C21FDB08-4B71-87C1-6E7D-5E0D1655FEF5}"/>
                  </a:ext>
                </a:extLst>
              </p:cNvPr>
              <p:cNvSpPr/>
              <p:nvPr/>
            </p:nvSpPr>
            <p:spPr bwMode="gray">
              <a:xfrm>
                <a:off x="6244514" y="2992699"/>
                <a:ext cx="4014081" cy="26688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Changes in business drivers leads to manual model re-building</a:t>
                </a:r>
              </a:p>
            </p:txBody>
          </p:sp>
        </p:grpSp>
        <p:sp>
          <p:nvSpPr>
            <p:cNvPr id="15" name="Rectangle 14">
              <a:extLst>
                <a:ext uri="{FF2B5EF4-FFF2-40B4-BE49-F238E27FC236}">
                  <a16:creationId xmlns:a16="http://schemas.microsoft.com/office/drawing/2014/main" id="{3B7CBF6A-719F-43C1-9ADD-34831FE7F05E}"/>
                </a:ext>
              </a:extLst>
            </p:cNvPr>
            <p:cNvSpPr/>
            <p:nvPr/>
          </p:nvSpPr>
          <p:spPr bwMode="gray">
            <a:xfrm>
              <a:off x="1831600" y="3275986"/>
              <a:ext cx="861050" cy="667834"/>
            </a:xfrm>
            <a:prstGeom prst="rect">
              <a:avLst/>
            </a:prstGeom>
            <a:solidFill>
              <a:schemeClr val="bg1">
                <a:lumMod val="85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CT: continuous training</a:t>
              </a:r>
            </a:p>
          </p:txBody>
        </p:sp>
      </p:grpSp>
      <p:pic>
        <p:nvPicPr>
          <p:cNvPr id="66" name="Picture 65">
            <a:extLst>
              <a:ext uri="{FF2B5EF4-FFF2-40B4-BE49-F238E27FC236}">
                <a16:creationId xmlns:a16="http://schemas.microsoft.com/office/drawing/2014/main" id="{AE03E41F-A632-40FA-DCB0-2C4B5DDD612D}"/>
              </a:ext>
            </a:extLst>
          </p:cNvPr>
          <p:cNvPicPr>
            <a:picLocks noChangeAspect="1"/>
          </p:cNvPicPr>
          <p:nvPr/>
        </p:nvPicPr>
        <p:blipFill>
          <a:blip r:embed="rId3"/>
          <a:stretch>
            <a:fillRect/>
          </a:stretch>
        </p:blipFill>
        <p:spPr>
          <a:xfrm>
            <a:off x="648977" y="3001934"/>
            <a:ext cx="714842" cy="779568"/>
          </a:xfrm>
          <a:prstGeom prst="rect">
            <a:avLst/>
          </a:prstGeom>
        </p:spPr>
      </p:pic>
      <p:pic>
        <p:nvPicPr>
          <p:cNvPr id="70" name="Picture 69">
            <a:extLst>
              <a:ext uri="{FF2B5EF4-FFF2-40B4-BE49-F238E27FC236}">
                <a16:creationId xmlns:a16="http://schemas.microsoft.com/office/drawing/2014/main" id="{C658D442-FEC6-69C8-6880-E732573E7478}"/>
              </a:ext>
            </a:extLst>
          </p:cNvPr>
          <p:cNvPicPr>
            <a:picLocks noChangeAspect="1"/>
          </p:cNvPicPr>
          <p:nvPr/>
        </p:nvPicPr>
        <p:blipFill>
          <a:blip r:embed="rId4"/>
          <a:stretch>
            <a:fillRect/>
          </a:stretch>
        </p:blipFill>
        <p:spPr>
          <a:xfrm>
            <a:off x="8182030" y="1226157"/>
            <a:ext cx="1097645" cy="498301"/>
          </a:xfrm>
          <a:prstGeom prst="rect">
            <a:avLst/>
          </a:prstGeom>
        </p:spPr>
      </p:pic>
      <p:pic>
        <p:nvPicPr>
          <p:cNvPr id="74" name="Picture 73">
            <a:extLst>
              <a:ext uri="{FF2B5EF4-FFF2-40B4-BE49-F238E27FC236}">
                <a16:creationId xmlns:a16="http://schemas.microsoft.com/office/drawing/2014/main" id="{71C782BB-BFC0-172C-7F9D-EF85FB583902}"/>
              </a:ext>
            </a:extLst>
          </p:cNvPr>
          <p:cNvPicPr>
            <a:picLocks noChangeAspect="1"/>
          </p:cNvPicPr>
          <p:nvPr/>
        </p:nvPicPr>
        <p:blipFill>
          <a:blip r:embed="rId5"/>
          <a:stretch>
            <a:fillRect/>
          </a:stretch>
        </p:blipFill>
        <p:spPr>
          <a:xfrm>
            <a:off x="9558150" y="1138676"/>
            <a:ext cx="999753" cy="809376"/>
          </a:xfrm>
          <a:prstGeom prst="rect">
            <a:avLst/>
          </a:prstGeom>
        </p:spPr>
      </p:pic>
      <p:pic>
        <p:nvPicPr>
          <p:cNvPr id="77" name="Picture 76">
            <a:extLst>
              <a:ext uri="{FF2B5EF4-FFF2-40B4-BE49-F238E27FC236}">
                <a16:creationId xmlns:a16="http://schemas.microsoft.com/office/drawing/2014/main" id="{EC5F2092-2AFA-45C4-58DF-60FDCE979515}"/>
              </a:ext>
            </a:extLst>
          </p:cNvPr>
          <p:cNvPicPr>
            <a:picLocks noChangeAspect="1"/>
          </p:cNvPicPr>
          <p:nvPr/>
        </p:nvPicPr>
        <p:blipFill>
          <a:blip r:embed="rId6"/>
          <a:stretch>
            <a:fillRect/>
          </a:stretch>
        </p:blipFill>
        <p:spPr>
          <a:xfrm>
            <a:off x="10871705" y="1881689"/>
            <a:ext cx="1227512" cy="905290"/>
          </a:xfrm>
          <a:prstGeom prst="rect">
            <a:avLst/>
          </a:prstGeom>
        </p:spPr>
      </p:pic>
      <p:pic>
        <p:nvPicPr>
          <p:cNvPr id="78" name="Picture 77">
            <a:extLst>
              <a:ext uri="{FF2B5EF4-FFF2-40B4-BE49-F238E27FC236}">
                <a16:creationId xmlns:a16="http://schemas.microsoft.com/office/drawing/2014/main" id="{179552A8-9020-D0CD-78C8-FF7E934637C9}"/>
              </a:ext>
            </a:extLst>
          </p:cNvPr>
          <p:cNvPicPr>
            <a:picLocks noChangeAspect="1"/>
          </p:cNvPicPr>
          <p:nvPr/>
        </p:nvPicPr>
        <p:blipFill>
          <a:blip r:embed="rId7"/>
          <a:stretch>
            <a:fillRect/>
          </a:stretch>
        </p:blipFill>
        <p:spPr>
          <a:xfrm>
            <a:off x="9409275" y="2132846"/>
            <a:ext cx="1297501" cy="587831"/>
          </a:xfrm>
          <a:prstGeom prst="rect">
            <a:avLst/>
          </a:prstGeom>
        </p:spPr>
      </p:pic>
      <p:cxnSp>
        <p:nvCxnSpPr>
          <p:cNvPr id="82" name="Straight Arrow Connector 81">
            <a:extLst>
              <a:ext uri="{FF2B5EF4-FFF2-40B4-BE49-F238E27FC236}">
                <a16:creationId xmlns:a16="http://schemas.microsoft.com/office/drawing/2014/main" id="{04B3E3E7-DAFE-B1F9-AF26-6A2A6A0DE96F}"/>
              </a:ext>
            </a:extLst>
          </p:cNvPr>
          <p:cNvCxnSpPr>
            <a:cxnSpLocks/>
            <a:stCxn id="78" idx="0"/>
            <a:endCxn id="74" idx="2"/>
          </p:cNvCxnSpPr>
          <p:nvPr/>
        </p:nvCxnSpPr>
        <p:spPr>
          <a:xfrm flipV="1">
            <a:off x="10058026" y="1948052"/>
            <a:ext cx="1" cy="184794"/>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F3FB5D51-599C-44BD-F707-4759CAADFD84}"/>
              </a:ext>
            </a:extLst>
          </p:cNvPr>
          <p:cNvCxnSpPr>
            <a:cxnSpLocks/>
            <a:stCxn id="78" idx="3"/>
          </p:cNvCxnSpPr>
          <p:nvPr/>
        </p:nvCxnSpPr>
        <p:spPr>
          <a:xfrm>
            <a:off x="10706776" y="2426762"/>
            <a:ext cx="245692" cy="3773"/>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696485A7-CBFC-AF1A-31E0-C989C8DBF59B}"/>
              </a:ext>
            </a:extLst>
          </p:cNvPr>
          <p:cNvCxnSpPr>
            <a:cxnSpLocks/>
          </p:cNvCxnSpPr>
          <p:nvPr/>
        </p:nvCxnSpPr>
        <p:spPr>
          <a:xfrm flipV="1">
            <a:off x="10054252" y="1948052"/>
            <a:ext cx="3775" cy="207796"/>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AD285964-BA4E-B9FA-3BBC-8CFA5CAEC7A8}"/>
              </a:ext>
            </a:extLst>
          </p:cNvPr>
          <p:cNvGrpSpPr/>
          <p:nvPr/>
        </p:nvGrpSpPr>
        <p:grpSpPr>
          <a:xfrm>
            <a:off x="5357661" y="2605946"/>
            <a:ext cx="1374120" cy="596880"/>
            <a:chOff x="5287442" y="2524396"/>
            <a:chExt cx="1374120" cy="596880"/>
          </a:xfrm>
        </p:grpSpPr>
        <p:sp>
          <p:nvSpPr>
            <p:cNvPr id="125" name="Rectangle 124">
              <a:extLst>
                <a:ext uri="{FF2B5EF4-FFF2-40B4-BE49-F238E27FC236}">
                  <a16:creationId xmlns:a16="http://schemas.microsoft.com/office/drawing/2014/main" id="{79675FDB-3D4B-9D7B-AFF4-A651244A0CA7}"/>
                </a:ext>
              </a:extLst>
            </p:cNvPr>
            <p:cNvSpPr/>
            <p:nvPr/>
          </p:nvSpPr>
          <p:spPr bwMode="gray">
            <a:xfrm>
              <a:off x="5287442" y="2524396"/>
              <a:ext cx="1374120" cy="596880"/>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126" name="Picture 12" descr="Introducing MLflow: an Open Source Platform for the Complete Machine  Learning Lifecycle">
              <a:extLst>
                <a:ext uri="{FF2B5EF4-FFF2-40B4-BE49-F238E27FC236}">
                  <a16:creationId xmlns:a16="http://schemas.microsoft.com/office/drawing/2014/main" id="{26EED5D9-411F-843D-B9C3-8B0E692D424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539" r="27841" b="65037"/>
            <a:stretch/>
          </p:blipFill>
          <p:spPr bwMode="auto">
            <a:xfrm>
              <a:off x="5347081" y="2599389"/>
              <a:ext cx="1145893" cy="4293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7" name="Connector: Elbow 166">
            <a:extLst>
              <a:ext uri="{FF2B5EF4-FFF2-40B4-BE49-F238E27FC236}">
                <a16:creationId xmlns:a16="http://schemas.microsoft.com/office/drawing/2014/main" id="{B409F9AF-244B-6CC0-4519-30DBD3FDC314}"/>
              </a:ext>
            </a:extLst>
          </p:cNvPr>
          <p:cNvCxnSpPr>
            <a:cxnSpLocks/>
          </p:cNvCxnSpPr>
          <p:nvPr/>
        </p:nvCxnSpPr>
        <p:spPr>
          <a:xfrm rot="16200000" flipH="1">
            <a:off x="4929374" y="1490598"/>
            <a:ext cx="539907" cy="1690790"/>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57D2A44D-B6A5-7A1B-AB54-2F2ACB205B2D}"/>
              </a:ext>
            </a:extLst>
          </p:cNvPr>
          <p:cNvCxnSpPr>
            <a:cxnSpLocks/>
          </p:cNvCxnSpPr>
          <p:nvPr/>
        </p:nvCxnSpPr>
        <p:spPr>
          <a:xfrm rot="5400000">
            <a:off x="5238792" y="3223492"/>
            <a:ext cx="826601" cy="785261"/>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E155D2A3-9B6A-A056-570F-99B51BA6A9F9}"/>
              </a:ext>
            </a:extLst>
          </p:cNvPr>
          <p:cNvGrpSpPr/>
          <p:nvPr/>
        </p:nvGrpSpPr>
        <p:grpSpPr>
          <a:xfrm>
            <a:off x="2147732" y="2349705"/>
            <a:ext cx="2063037" cy="589052"/>
            <a:chOff x="2500056" y="2564477"/>
            <a:chExt cx="2063037" cy="589052"/>
          </a:xfrm>
        </p:grpSpPr>
        <p:sp>
          <p:nvSpPr>
            <p:cNvPr id="174" name="Rectangle 173">
              <a:extLst>
                <a:ext uri="{FF2B5EF4-FFF2-40B4-BE49-F238E27FC236}">
                  <a16:creationId xmlns:a16="http://schemas.microsoft.com/office/drawing/2014/main" id="{7C4F63A0-42A4-8714-2E9F-83105EBBB331}"/>
                </a:ext>
              </a:extLst>
            </p:cNvPr>
            <p:cNvSpPr/>
            <p:nvPr/>
          </p:nvSpPr>
          <p:spPr bwMode="gray">
            <a:xfrm>
              <a:off x="2500056" y="2564477"/>
              <a:ext cx="2063037" cy="587367"/>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srgbClr val="002060"/>
                  </a:solidFill>
                  <a:effectLst/>
                  <a:uLnTx/>
                  <a:uFillTx/>
                  <a:latin typeface="Calibri"/>
                  <a:ea typeface="+mn-ea"/>
                  <a:cs typeface="+mn-cs"/>
                </a:rPr>
                <a:t>Model Registry</a:t>
              </a:r>
            </a:p>
          </p:txBody>
        </p:sp>
        <p:pic>
          <p:nvPicPr>
            <p:cNvPr id="178" name="Picture 177">
              <a:extLst>
                <a:ext uri="{FF2B5EF4-FFF2-40B4-BE49-F238E27FC236}">
                  <a16:creationId xmlns:a16="http://schemas.microsoft.com/office/drawing/2014/main" id="{8A7592DF-D987-7507-3E96-252F74028B4E}"/>
                </a:ext>
              </a:extLst>
            </p:cNvPr>
            <p:cNvPicPr>
              <a:picLocks noChangeAspect="1"/>
            </p:cNvPicPr>
            <p:nvPr/>
          </p:nvPicPr>
          <p:blipFill>
            <a:blip r:embed="rId9"/>
            <a:stretch>
              <a:fillRect/>
            </a:stretch>
          </p:blipFill>
          <p:spPr>
            <a:xfrm>
              <a:off x="2572955" y="2583309"/>
              <a:ext cx="626807" cy="570220"/>
            </a:xfrm>
            <a:prstGeom prst="rect">
              <a:avLst/>
            </a:prstGeom>
          </p:spPr>
        </p:pic>
      </p:grpSp>
      <p:cxnSp>
        <p:nvCxnSpPr>
          <p:cNvPr id="180" name="Connector: Elbow 179">
            <a:extLst>
              <a:ext uri="{FF2B5EF4-FFF2-40B4-BE49-F238E27FC236}">
                <a16:creationId xmlns:a16="http://schemas.microsoft.com/office/drawing/2014/main" id="{F6F76111-8A40-0A9E-0D85-E1A662FBDD39}"/>
              </a:ext>
            </a:extLst>
          </p:cNvPr>
          <p:cNvCxnSpPr>
            <a:cxnSpLocks/>
            <a:stCxn id="174" idx="3"/>
            <a:endCxn id="126" idx="1"/>
          </p:cNvCxnSpPr>
          <p:nvPr/>
        </p:nvCxnSpPr>
        <p:spPr>
          <a:xfrm>
            <a:off x="4210769" y="2643389"/>
            <a:ext cx="1206531" cy="252222"/>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51" name="Picture 2050">
            <a:extLst>
              <a:ext uri="{FF2B5EF4-FFF2-40B4-BE49-F238E27FC236}">
                <a16:creationId xmlns:a16="http://schemas.microsoft.com/office/drawing/2014/main" id="{39D34C8D-F803-7F20-1D0A-A7CD94817118}"/>
              </a:ext>
            </a:extLst>
          </p:cNvPr>
          <p:cNvPicPr>
            <a:picLocks noChangeAspect="1"/>
          </p:cNvPicPr>
          <p:nvPr/>
        </p:nvPicPr>
        <p:blipFill>
          <a:blip r:embed="rId10"/>
          <a:stretch>
            <a:fillRect/>
          </a:stretch>
        </p:blipFill>
        <p:spPr>
          <a:xfrm>
            <a:off x="11322096" y="3779067"/>
            <a:ext cx="889522" cy="645189"/>
          </a:xfrm>
          <a:prstGeom prst="rect">
            <a:avLst/>
          </a:prstGeom>
        </p:spPr>
      </p:pic>
      <p:cxnSp>
        <p:nvCxnSpPr>
          <p:cNvPr id="2058" name="Connector: Elbow 2057">
            <a:extLst>
              <a:ext uri="{FF2B5EF4-FFF2-40B4-BE49-F238E27FC236}">
                <a16:creationId xmlns:a16="http://schemas.microsoft.com/office/drawing/2014/main" id="{C7EE57B8-C5E3-6B50-5B6B-4B3DE55D82F4}"/>
              </a:ext>
            </a:extLst>
          </p:cNvPr>
          <p:cNvCxnSpPr>
            <a:stCxn id="77" idx="2"/>
            <a:endCxn id="2051" idx="0"/>
          </p:cNvCxnSpPr>
          <p:nvPr/>
        </p:nvCxnSpPr>
        <p:spPr>
          <a:xfrm rot="16200000" flipH="1">
            <a:off x="11130115" y="3142325"/>
            <a:ext cx="992088" cy="281396"/>
          </a:xfrm>
          <a:prstGeom prst="bentConnector3">
            <a:avLst>
              <a:gd name="adj1" fmla="val 5931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1" name="Connector: Elbow 2060">
            <a:extLst>
              <a:ext uri="{FF2B5EF4-FFF2-40B4-BE49-F238E27FC236}">
                <a16:creationId xmlns:a16="http://schemas.microsoft.com/office/drawing/2014/main" id="{2F3AEA89-5A72-E716-2AEF-B054CEDFBFCF}"/>
              </a:ext>
            </a:extLst>
          </p:cNvPr>
          <p:cNvCxnSpPr>
            <a:cxnSpLocks/>
            <a:stCxn id="77" idx="2"/>
          </p:cNvCxnSpPr>
          <p:nvPr/>
        </p:nvCxnSpPr>
        <p:spPr>
          <a:xfrm rot="5400000">
            <a:off x="10485901" y="2968663"/>
            <a:ext cx="1181244" cy="817876"/>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7" name="Straight Arrow Connector 2066">
            <a:extLst>
              <a:ext uri="{FF2B5EF4-FFF2-40B4-BE49-F238E27FC236}">
                <a16:creationId xmlns:a16="http://schemas.microsoft.com/office/drawing/2014/main" id="{2D7A3C3D-983F-9FB5-9683-782C98254889}"/>
              </a:ext>
            </a:extLst>
          </p:cNvPr>
          <p:cNvCxnSpPr>
            <a:cxnSpLocks/>
          </p:cNvCxnSpPr>
          <p:nvPr/>
        </p:nvCxnSpPr>
        <p:spPr>
          <a:xfrm>
            <a:off x="11074186" y="4235226"/>
            <a:ext cx="411275" cy="11119"/>
          </a:xfrm>
          <a:prstGeom prst="straightConnector1">
            <a:avLst/>
          </a:prstGeom>
          <a:ln>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68" name="Connector: Elbow 2067">
            <a:extLst>
              <a:ext uri="{FF2B5EF4-FFF2-40B4-BE49-F238E27FC236}">
                <a16:creationId xmlns:a16="http://schemas.microsoft.com/office/drawing/2014/main" id="{07CC2FCE-1541-D209-07C0-2FF97C3D76F3}"/>
              </a:ext>
            </a:extLst>
          </p:cNvPr>
          <p:cNvCxnSpPr>
            <a:cxnSpLocks/>
          </p:cNvCxnSpPr>
          <p:nvPr/>
        </p:nvCxnSpPr>
        <p:spPr>
          <a:xfrm rot="16200000" flipH="1">
            <a:off x="10604917" y="4529592"/>
            <a:ext cx="992087" cy="86675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198" name="Group 2197">
            <a:extLst>
              <a:ext uri="{FF2B5EF4-FFF2-40B4-BE49-F238E27FC236}">
                <a16:creationId xmlns:a16="http://schemas.microsoft.com/office/drawing/2014/main" id="{3EA518EF-7BB8-D828-17F7-75D047455565}"/>
              </a:ext>
            </a:extLst>
          </p:cNvPr>
          <p:cNvGrpSpPr/>
          <p:nvPr/>
        </p:nvGrpSpPr>
        <p:grpSpPr>
          <a:xfrm>
            <a:off x="1511220" y="474174"/>
            <a:ext cx="5626796" cy="4711529"/>
            <a:chOff x="1511220" y="772120"/>
            <a:chExt cx="5626796" cy="4711529"/>
          </a:xfrm>
        </p:grpSpPr>
        <p:sp>
          <p:nvSpPr>
            <p:cNvPr id="2196" name="Rectangle 2195">
              <a:extLst>
                <a:ext uri="{FF2B5EF4-FFF2-40B4-BE49-F238E27FC236}">
                  <a16:creationId xmlns:a16="http://schemas.microsoft.com/office/drawing/2014/main" id="{0ED6AE8C-6073-3583-F13B-FCDFD8E9DCC4}"/>
                </a:ext>
              </a:extLst>
            </p:cNvPr>
            <p:cNvSpPr/>
            <p:nvPr/>
          </p:nvSpPr>
          <p:spPr>
            <a:xfrm>
              <a:off x="1511220" y="772120"/>
              <a:ext cx="5626796" cy="4711529"/>
            </a:xfrm>
            <a:prstGeom prst="rect">
              <a:avLst/>
            </a:prstGeom>
            <a:noFill/>
            <a:ln w="1905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197" name="Picture 8" descr="Apache Airflow - Wikipedia">
              <a:extLst>
                <a:ext uri="{FF2B5EF4-FFF2-40B4-BE49-F238E27FC236}">
                  <a16:creationId xmlns:a16="http://schemas.microsoft.com/office/drawing/2014/main" id="{7E6DBC9A-D2A0-FBC8-FD41-67623EE9E72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10150" y="882164"/>
              <a:ext cx="916682" cy="354140"/>
            </a:xfrm>
            <a:prstGeom prst="rect">
              <a:avLst/>
            </a:prstGeom>
            <a:noFill/>
            <a:extLst>
              <a:ext uri="{909E8E84-426E-40DD-AFC4-6F175D3DCCD1}">
                <a14:hiddenFill xmlns:a14="http://schemas.microsoft.com/office/drawing/2010/main">
                  <a:solidFill>
                    <a:srgbClr val="FFFFFF"/>
                  </a:solidFill>
                </a14:hiddenFill>
              </a:ext>
            </a:extLst>
          </p:spPr>
        </p:pic>
      </p:grpSp>
      <p:sp>
        <p:nvSpPr>
          <p:cNvPr id="2200" name="Rectangle 2199">
            <a:extLst>
              <a:ext uri="{FF2B5EF4-FFF2-40B4-BE49-F238E27FC236}">
                <a16:creationId xmlns:a16="http://schemas.microsoft.com/office/drawing/2014/main" id="{9E34CA7D-B54B-37E0-077D-F42DC3E8A8EF}"/>
              </a:ext>
            </a:extLst>
          </p:cNvPr>
          <p:cNvSpPr/>
          <p:nvPr/>
        </p:nvSpPr>
        <p:spPr bwMode="gray">
          <a:xfrm>
            <a:off x="2605249" y="678819"/>
            <a:ext cx="2169401" cy="277399"/>
          </a:xfrm>
          <a:prstGeom prst="rect">
            <a:avLst/>
          </a:prstGeom>
          <a:noFill/>
          <a:ln w="19050" algn="ctr">
            <a:noFill/>
            <a:prstDash val="dash"/>
            <a:miter lim="800000"/>
            <a:headEnd/>
            <a:tailEnd/>
          </a:ln>
        </p:spPr>
        <p:txBody>
          <a:bodyPr wrap="square" lIns="88900" tIns="72000" rIns="88900" bIns="720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Orchestration of services</a:t>
            </a:r>
          </a:p>
        </p:txBody>
      </p:sp>
      <p:pic>
        <p:nvPicPr>
          <p:cNvPr id="2205" name="Picture 2204">
            <a:extLst>
              <a:ext uri="{FF2B5EF4-FFF2-40B4-BE49-F238E27FC236}">
                <a16:creationId xmlns:a16="http://schemas.microsoft.com/office/drawing/2014/main" id="{1022DFEC-F56B-5A79-5242-F9A2C18C2683}"/>
              </a:ext>
            </a:extLst>
          </p:cNvPr>
          <p:cNvPicPr>
            <a:picLocks noChangeAspect="1"/>
          </p:cNvPicPr>
          <p:nvPr/>
        </p:nvPicPr>
        <p:blipFill>
          <a:blip r:embed="rId12"/>
          <a:stretch>
            <a:fillRect/>
          </a:stretch>
        </p:blipFill>
        <p:spPr>
          <a:xfrm>
            <a:off x="6923533" y="5483969"/>
            <a:ext cx="1201191" cy="474084"/>
          </a:xfrm>
          <a:prstGeom prst="rect">
            <a:avLst/>
          </a:prstGeom>
        </p:spPr>
      </p:pic>
      <p:sp>
        <p:nvSpPr>
          <p:cNvPr id="2211" name="Rectangle 2210">
            <a:extLst>
              <a:ext uri="{FF2B5EF4-FFF2-40B4-BE49-F238E27FC236}">
                <a16:creationId xmlns:a16="http://schemas.microsoft.com/office/drawing/2014/main" id="{78BD5F5B-9A8B-2032-5DD0-5723E535A375}"/>
              </a:ext>
            </a:extLst>
          </p:cNvPr>
          <p:cNvSpPr/>
          <p:nvPr/>
        </p:nvSpPr>
        <p:spPr bwMode="gray">
          <a:xfrm>
            <a:off x="6772354" y="5906860"/>
            <a:ext cx="1685646" cy="247695"/>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Performance monitor</a:t>
            </a:r>
          </a:p>
        </p:txBody>
      </p:sp>
      <p:sp>
        <p:nvSpPr>
          <p:cNvPr id="16" name="Rectangle 15">
            <a:extLst>
              <a:ext uri="{FF2B5EF4-FFF2-40B4-BE49-F238E27FC236}">
                <a16:creationId xmlns:a16="http://schemas.microsoft.com/office/drawing/2014/main" id="{EE43F421-3E4F-DD5A-0BC8-02BC064D7F9A}"/>
              </a:ext>
            </a:extLst>
          </p:cNvPr>
          <p:cNvSpPr/>
          <p:nvPr/>
        </p:nvSpPr>
        <p:spPr bwMode="gray">
          <a:xfrm>
            <a:off x="8124750" y="2283127"/>
            <a:ext cx="1442130" cy="312888"/>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srgbClr val="002060"/>
                </a:solidFill>
                <a:effectLst/>
                <a:uLnTx/>
                <a:uFillTx/>
                <a:latin typeface="Calibri"/>
                <a:ea typeface="+mn-ea"/>
                <a:cs typeface="+mn-cs"/>
              </a:rPr>
              <a:t>Auto scaling and resource management(CPU,GPU)</a:t>
            </a:r>
          </a:p>
        </p:txBody>
      </p:sp>
      <p:cxnSp>
        <p:nvCxnSpPr>
          <p:cNvPr id="35" name="Elbow Connector 211">
            <a:extLst>
              <a:ext uri="{FF2B5EF4-FFF2-40B4-BE49-F238E27FC236}">
                <a16:creationId xmlns:a16="http://schemas.microsoft.com/office/drawing/2014/main" id="{F5579C02-C7F8-77C0-432F-E8D4F7F28652}"/>
              </a:ext>
            </a:extLst>
          </p:cNvPr>
          <p:cNvCxnSpPr>
            <a:cxnSpLocks/>
            <a:stCxn id="2211" idx="2"/>
            <a:endCxn id="46" idx="3"/>
          </p:cNvCxnSpPr>
          <p:nvPr/>
        </p:nvCxnSpPr>
        <p:spPr>
          <a:xfrm rot="5400000">
            <a:off x="6580288" y="5142092"/>
            <a:ext cx="22427" cy="2047353"/>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0447DF2E-0FBC-9D8B-13D9-7F9645A8FE7F}"/>
              </a:ext>
            </a:extLst>
          </p:cNvPr>
          <p:cNvGrpSpPr/>
          <p:nvPr/>
        </p:nvGrpSpPr>
        <p:grpSpPr>
          <a:xfrm>
            <a:off x="3969007" y="5957017"/>
            <a:ext cx="1598817" cy="439930"/>
            <a:chOff x="2979031" y="6026584"/>
            <a:chExt cx="1598817" cy="439930"/>
          </a:xfrm>
        </p:grpSpPr>
        <p:sp>
          <p:nvSpPr>
            <p:cNvPr id="46" name="Rectangle 45">
              <a:extLst>
                <a:ext uri="{FF2B5EF4-FFF2-40B4-BE49-F238E27FC236}">
                  <a16:creationId xmlns:a16="http://schemas.microsoft.com/office/drawing/2014/main" id="{CF4758B5-DB1C-A99D-AC59-48B999A3BD11}"/>
                </a:ext>
              </a:extLst>
            </p:cNvPr>
            <p:cNvSpPr/>
            <p:nvPr/>
          </p:nvSpPr>
          <p:spPr bwMode="gray">
            <a:xfrm>
              <a:off x="2979031" y="6026584"/>
              <a:ext cx="1598817" cy="43993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dirty="0">
                  <a:ln>
                    <a:noFill/>
                  </a:ln>
                  <a:solidFill>
                    <a:srgbClr val="002060"/>
                  </a:solidFill>
                  <a:effectLst/>
                  <a:uLnTx/>
                  <a:uFillTx/>
                  <a:latin typeface="Calibri"/>
                  <a:ea typeface="+mn-ea"/>
                  <a:cs typeface="+mn-cs"/>
                </a:rPr>
                <a:t>Email Alerts</a:t>
              </a:r>
            </a:p>
          </p:txBody>
        </p:sp>
        <p:pic>
          <p:nvPicPr>
            <p:cNvPr id="68" name="Picture 67">
              <a:extLst>
                <a:ext uri="{FF2B5EF4-FFF2-40B4-BE49-F238E27FC236}">
                  <a16:creationId xmlns:a16="http://schemas.microsoft.com/office/drawing/2014/main" id="{5FEF86BB-5E23-7053-10B1-B5DF08364E42}"/>
                </a:ext>
              </a:extLst>
            </p:cNvPr>
            <p:cNvPicPr>
              <a:picLocks noChangeAspect="1"/>
            </p:cNvPicPr>
            <p:nvPr/>
          </p:nvPicPr>
          <p:blipFill>
            <a:blip r:embed="rId13"/>
            <a:stretch>
              <a:fillRect/>
            </a:stretch>
          </p:blipFill>
          <p:spPr>
            <a:xfrm>
              <a:off x="4077141" y="6056423"/>
              <a:ext cx="414203" cy="399023"/>
            </a:xfrm>
            <a:prstGeom prst="rect">
              <a:avLst/>
            </a:prstGeom>
          </p:spPr>
        </p:pic>
      </p:grpSp>
    </p:spTree>
    <p:extLst>
      <p:ext uri="{BB962C8B-B14F-4D97-AF65-F5344CB8AC3E}">
        <p14:creationId xmlns:p14="http://schemas.microsoft.com/office/powerpoint/2010/main" val="19271922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770F7DA2-4EEF-D9E1-95E0-1AAE0BB2F32E}"/>
              </a:ext>
            </a:extLst>
          </p:cNvPr>
          <p:cNvSpPr>
            <a:spLocks noGrp="1" noRot="1" noMove="1" noResize="1" noEditPoints="1" noAdjustHandles="1" noChangeArrowheads="1" noChangeShapeType="1"/>
          </p:cNvSpPr>
          <p:nvPr/>
        </p:nvSpPr>
        <p:spPr bwMode="gray">
          <a:xfrm>
            <a:off x="8201134" y="747634"/>
            <a:ext cx="3990866" cy="2075696"/>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I/CD Build ,test, package pipeline components</a:t>
            </a:r>
          </a:p>
        </p:txBody>
      </p:sp>
      <p:sp>
        <p:nvSpPr>
          <p:cNvPr id="2" name="Text Placeholder 1">
            <a:extLst>
              <a:ext uri="{FF2B5EF4-FFF2-40B4-BE49-F238E27FC236}">
                <a16:creationId xmlns:a16="http://schemas.microsoft.com/office/drawing/2014/main" id="{37BFA118-F11F-7DF1-7578-F520E15BA3F5}"/>
              </a:ext>
            </a:extLst>
          </p:cNvPr>
          <p:cNvSpPr>
            <a:spLocks noGrp="1"/>
          </p:cNvSpPr>
          <p:nvPr>
            <p:ph type="body" sz="quarter" idx="13"/>
          </p:nvPr>
        </p:nvSpPr>
        <p:spPr>
          <a:xfrm>
            <a:off x="527882" y="237811"/>
            <a:ext cx="9784080" cy="334100"/>
          </a:xfrm>
        </p:spPr>
        <p:txBody>
          <a:bodyPr/>
          <a:lstStyle/>
          <a:p>
            <a:r>
              <a:rPr lang="en-US" sz="1600" dirty="0"/>
              <a:t>Key components &amp; roles for implementing AIOps </a:t>
            </a:r>
          </a:p>
        </p:txBody>
      </p:sp>
      <p:sp>
        <p:nvSpPr>
          <p:cNvPr id="3" name="Title 2">
            <a:extLst>
              <a:ext uri="{FF2B5EF4-FFF2-40B4-BE49-F238E27FC236}">
                <a16:creationId xmlns:a16="http://schemas.microsoft.com/office/drawing/2014/main" id="{FB6A9D2F-20F6-E0BB-DE74-9560790E75C2}"/>
              </a:ext>
            </a:extLst>
          </p:cNvPr>
          <p:cNvSpPr>
            <a:spLocks noGrp="1"/>
          </p:cNvSpPr>
          <p:nvPr>
            <p:ph type="title"/>
          </p:nvPr>
        </p:nvSpPr>
        <p:spPr>
          <a:xfrm>
            <a:off x="501650" y="19554"/>
            <a:ext cx="11256264" cy="334099"/>
          </a:xfrm>
        </p:spPr>
        <p:txBody>
          <a:bodyPr/>
          <a:lstStyle/>
          <a:p>
            <a:r>
              <a:rPr lang="en-US" sz="2000" b="1" dirty="0"/>
              <a:t>Deloitte’s Framework to Implement </a:t>
            </a:r>
            <a:r>
              <a:rPr lang="en-US" dirty="0"/>
              <a:t>AI</a:t>
            </a:r>
            <a:r>
              <a:rPr lang="en-US" sz="2000" b="1" dirty="0"/>
              <a:t>Ops </a:t>
            </a:r>
          </a:p>
        </p:txBody>
      </p:sp>
      <p:grpSp>
        <p:nvGrpSpPr>
          <p:cNvPr id="4" name="Group 3">
            <a:extLst>
              <a:ext uri="{FF2B5EF4-FFF2-40B4-BE49-F238E27FC236}">
                <a16:creationId xmlns:a16="http://schemas.microsoft.com/office/drawing/2014/main" id="{EB040B45-0A76-9CBF-0DDB-60A8DA6F5EEC}"/>
              </a:ext>
            </a:extLst>
          </p:cNvPr>
          <p:cNvGrpSpPr/>
          <p:nvPr/>
        </p:nvGrpSpPr>
        <p:grpSpPr>
          <a:xfrm>
            <a:off x="5231827" y="6493806"/>
            <a:ext cx="4628410" cy="291830"/>
            <a:chOff x="2402733" y="6459166"/>
            <a:chExt cx="4628410" cy="291830"/>
          </a:xfrm>
        </p:grpSpPr>
        <p:sp>
          <p:nvSpPr>
            <p:cNvPr id="5" name="Rectangle 4">
              <a:extLst>
                <a:ext uri="{FF2B5EF4-FFF2-40B4-BE49-F238E27FC236}">
                  <a16:creationId xmlns:a16="http://schemas.microsoft.com/office/drawing/2014/main" id="{9B6539E8-7A1B-7D02-595F-FAA6AA164BC9}"/>
                </a:ext>
              </a:extLst>
            </p:cNvPr>
            <p:cNvSpPr/>
            <p:nvPr/>
          </p:nvSpPr>
          <p:spPr bwMode="gray">
            <a:xfrm>
              <a:off x="2402733" y="6459166"/>
              <a:ext cx="4562272" cy="291830"/>
            </a:xfrm>
            <a:prstGeom prst="rect">
              <a:avLst/>
            </a:prstGeom>
            <a:solidFill>
              <a:schemeClr val="bg1">
                <a:alpha val="2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9925F83D-0A9C-44CB-5BC9-A785A2C3147B}"/>
                </a:ext>
              </a:extLst>
            </p:cNvPr>
            <p:cNvSpPr/>
            <p:nvPr/>
          </p:nvSpPr>
          <p:spPr bwMode="gray">
            <a:xfrm>
              <a:off x="2489305" y="6569852"/>
              <a:ext cx="274357" cy="89352"/>
            </a:xfrm>
            <a:prstGeom prst="rect">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E2B4CEB1-A0A3-8CD6-756E-F74CDD211E71}"/>
                </a:ext>
              </a:extLst>
            </p:cNvPr>
            <p:cNvSpPr/>
            <p:nvPr/>
          </p:nvSpPr>
          <p:spPr bwMode="gray">
            <a:xfrm>
              <a:off x="3740737" y="6564174"/>
              <a:ext cx="274357" cy="89351"/>
            </a:xfrm>
            <a:prstGeom prst="rect">
              <a:avLst/>
            </a:prstGeom>
            <a:solidFill>
              <a:schemeClr val="accent1">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48BD287-24C8-7682-5FCD-00B68D59F42C}"/>
                </a:ext>
              </a:extLst>
            </p:cNvPr>
            <p:cNvSpPr/>
            <p:nvPr/>
          </p:nvSpPr>
          <p:spPr bwMode="gray">
            <a:xfrm>
              <a:off x="5761462" y="6564174"/>
              <a:ext cx="274357" cy="89351"/>
            </a:xfrm>
            <a:prstGeom prst="rect">
              <a:avLst/>
            </a:prstGeom>
            <a:solidFill>
              <a:schemeClr val="accent3">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13DBAFE-80F9-E3A5-D3E9-C9C3388CF79B}"/>
                </a:ext>
              </a:extLst>
            </p:cNvPr>
            <p:cNvSpPr/>
            <p:nvPr/>
          </p:nvSpPr>
          <p:spPr bwMode="gray">
            <a:xfrm>
              <a:off x="2733897" y="6516417"/>
              <a:ext cx="838160" cy="15625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I, CD, CT</a:t>
              </a:r>
            </a:p>
          </p:txBody>
        </p:sp>
        <p:sp>
          <p:nvSpPr>
            <p:cNvPr id="10" name="Rectangle 9">
              <a:extLst>
                <a:ext uri="{FF2B5EF4-FFF2-40B4-BE49-F238E27FC236}">
                  <a16:creationId xmlns:a16="http://schemas.microsoft.com/office/drawing/2014/main" id="{7654661B-E893-2623-D235-316ADAEA2491}"/>
                </a:ext>
              </a:extLst>
            </p:cNvPr>
            <p:cNvSpPr/>
            <p:nvPr/>
          </p:nvSpPr>
          <p:spPr bwMode="gray">
            <a:xfrm>
              <a:off x="3821747" y="6536899"/>
              <a:ext cx="1886246" cy="149133"/>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Management &amp; Reports</a:t>
              </a:r>
            </a:p>
          </p:txBody>
        </p:sp>
        <p:sp>
          <p:nvSpPr>
            <p:cNvPr id="11" name="Rectangle 10">
              <a:extLst>
                <a:ext uri="{FF2B5EF4-FFF2-40B4-BE49-F238E27FC236}">
                  <a16:creationId xmlns:a16="http://schemas.microsoft.com/office/drawing/2014/main" id="{6EDF7A1B-A0E0-9FDD-9FAD-F9271315331D}"/>
                </a:ext>
              </a:extLst>
            </p:cNvPr>
            <p:cNvSpPr/>
            <p:nvPr/>
          </p:nvSpPr>
          <p:spPr bwMode="gray">
            <a:xfrm>
              <a:off x="5901033" y="6536900"/>
              <a:ext cx="1130110" cy="143900"/>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Building</a:t>
              </a:r>
            </a:p>
          </p:txBody>
        </p:sp>
        <p:cxnSp>
          <p:nvCxnSpPr>
            <p:cNvPr id="12" name="Elbow Connector 97">
              <a:extLst>
                <a:ext uri="{FF2B5EF4-FFF2-40B4-BE49-F238E27FC236}">
                  <a16:creationId xmlns:a16="http://schemas.microsoft.com/office/drawing/2014/main" id="{07C75BD7-14FE-9088-F5F1-33332C59A7CF}"/>
                </a:ext>
              </a:extLst>
            </p:cNvPr>
            <p:cNvCxnSpPr/>
            <p:nvPr/>
          </p:nvCxnSpPr>
          <p:spPr>
            <a:xfrm rot="10800000" flipH="1" flipV="1">
              <a:off x="2518930" y="6692950"/>
              <a:ext cx="860087" cy="419"/>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0504E59-C5D3-EF5A-2BE7-3756FF7D566B}"/>
              </a:ext>
            </a:extLst>
          </p:cNvPr>
          <p:cNvGrpSpPr/>
          <p:nvPr/>
        </p:nvGrpSpPr>
        <p:grpSpPr>
          <a:xfrm>
            <a:off x="474410" y="808831"/>
            <a:ext cx="11555015" cy="5473943"/>
            <a:chOff x="315909" y="971321"/>
            <a:chExt cx="11797778" cy="5588946"/>
          </a:xfrm>
        </p:grpSpPr>
        <p:grpSp>
          <p:nvGrpSpPr>
            <p:cNvPr id="14" name="Group 13">
              <a:extLst>
                <a:ext uri="{FF2B5EF4-FFF2-40B4-BE49-F238E27FC236}">
                  <a16:creationId xmlns:a16="http://schemas.microsoft.com/office/drawing/2014/main" id="{B0BD7CE2-9506-3C36-0EC5-B1E776F19DA5}"/>
                </a:ext>
              </a:extLst>
            </p:cNvPr>
            <p:cNvGrpSpPr/>
            <p:nvPr/>
          </p:nvGrpSpPr>
          <p:grpSpPr>
            <a:xfrm>
              <a:off x="315909" y="971321"/>
              <a:ext cx="11797778" cy="5588946"/>
              <a:chOff x="315909" y="844368"/>
              <a:chExt cx="11797778" cy="5588946"/>
            </a:xfrm>
          </p:grpSpPr>
          <p:cxnSp>
            <p:nvCxnSpPr>
              <p:cNvPr id="53" name="Elbow Connector 167">
                <a:extLst>
                  <a:ext uri="{FF2B5EF4-FFF2-40B4-BE49-F238E27FC236}">
                    <a16:creationId xmlns:a16="http://schemas.microsoft.com/office/drawing/2014/main" id="{6065E023-68F6-2D6E-E9AC-AD7A2DF3FF8F}"/>
                  </a:ext>
                </a:extLst>
              </p:cNvPr>
              <p:cNvCxnSpPr>
                <a:cxnSpLocks/>
                <a:stCxn id="39" idx="0"/>
                <a:endCxn id="144" idx="0"/>
              </p:cNvCxnSpPr>
              <p:nvPr/>
            </p:nvCxnSpPr>
            <p:spPr>
              <a:xfrm rot="5400000" flipH="1" flipV="1">
                <a:off x="2820843" y="3454458"/>
                <a:ext cx="1531222" cy="2798726"/>
              </a:xfrm>
              <a:prstGeom prst="bentConnector5">
                <a:avLst>
                  <a:gd name="adj1" fmla="val 14879"/>
                  <a:gd name="adj2" fmla="val 124"/>
                  <a:gd name="adj3" fmla="val 115243"/>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81B19B-5382-0EC0-C52B-081CF49B9153}"/>
                  </a:ext>
                </a:extLst>
              </p:cNvPr>
              <p:cNvSpPr/>
              <p:nvPr/>
            </p:nvSpPr>
            <p:spPr bwMode="gray">
              <a:xfrm>
                <a:off x="1532327" y="1161431"/>
                <a:ext cx="5489217" cy="977774"/>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Use Cases/Models(Development, UAT)</a:t>
                </a:r>
              </a:p>
            </p:txBody>
          </p:sp>
          <p:sp>
            <p:nvSpPr>
              <p:cNvPr id="18" name="Rectangle 17">
                <a:extLst>
                  <a:ext uri="{FF2B5EF4-FFF2-40B4-BE49-F238E27FC236}">
                    <a16:creationId xmlns:a16="http://schemas.microsoft.com/office/drawing/2014/main" id="{44DA6F56-341C-393D-8BAB-3A6DEB8F0ED9}"/>
                  </a:ext>
                </a:extLst>
              </p:cNvPr>
              <p:cNvSpPr/>
              <p:nvPr/>
            </p:nvSpPr>
            <p:spPr bwMode="gray">
              <a:xfrm>
                <a:off x="1603711"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9" name="Rectangle 18">
                <a:extLst>
                  <a:ext uri="{FF2B5EF4-FFF2-40B4-BE49-F238E27FC236}">
                    <a16:creationId xmlns:a16="http://schemas.microsoft.com/office/drawing/2014/main" id="{84A70906-8745-E87E-BF58-4A81EBE1E786}"/>
                  </a:ext>
                </a:extLst>
              </p:cNvPr>
              <p:cNvSpPr/>
              <p:nvPr/>
            </p:nvSpPr>
            <p:spPr bwMode="gray">
              <a:xfrm>
                <a:off x="2718242" y="1450557"/>
                <a:ext cx="804049"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20" name="Rectangle 19">
                <a:extLst>
                  <a:ext uri="{FF2B5EF4-FFF2-40B4-BE49-F238E27FC236}">
                    <a16:creationId xmlns:a16="http://schemas.microsoft.com/office/drawing/2014/main" id="{3FDC9D51-4B39-7DB2-E8FD-94B19505599C}"/>
                  </a:ext>
                </a:extLst>
              </p:cNvPr>
              <p:cNvSpPr/>
              <p:nvPr/>
            </p:nvSpPr>
            <p:spPr bwMode="gray">
              <a:xfrm>
                <a:off x="3856418"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21" name="Rectangle 20">
                <a:extLst>
                  <a:ext uri="{FF2B5EF4-FFF2-40B4-BE49-F238E27FC236}">
                    <a16:creationId xmlns:a16="http://schemas.microsoft.com/office/drawing/2014/main" id="{09E98C58-89C2-3CA8-9A6F-EAAADD47CD2A}"/>
                  </a:ext>
                </a:extLst>
              </p:cNvPr>
              <p:cNvSpPr/>
              <p:nvPr/>
            </p:nvSpPr>
            <p:spPr bwMode="gray">
              <a:xfrm>
                <a:off x="4982772"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22" name="Rectangle 21">
                <a:extLst>
                  <a:ext uri="{FF2B5EF4-FFF2-40B4-BE49-F238E27FC236}">
                    <a16:creationId xmlns:a16="http://schemas.microsoft.com/office/drawing/2014/main" id="{FD4AD23A-E19E-DBD0-E270-5E9C868C453E}"/>
                  </a:ext>
                </a:extLst>
              </p:cNvPr>
              <p:cNvSpPr/>
              <p:nvPr/>
            </p:nvSpPr>
            <p:spPr bwMode="gray">
              <a:xfrm>
                <a:off x="6109124"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23" name="Straight Arrow Connector 22">
                <a:extLst>
                  <a:ext uri="{FF2B5EF4-FFF2-40B4-BE49-F238E27FC236}">
                    <a16:creationId xmlns:a16="http://schemas.microsoft.com/office/drawing/2014/main" id="{D568F0DA-046A-BD2A-B4F3-A313AF28AE7F}"/>
                  </a:ext>
                </a:extLst>
              </p:cNvPr>
              <p:cNvCxnSpPr>
                <a:stCxn id="18" idx="3"/>
                <a:endCxn id="19" idx="1"/>
              </p:cNvCxnSpPr>
              <p:nvPr/>
            </p:nvCxnSpPr>
            <p:spPr>
              <a:xfrm>
                <a:off x="2384113" y="1712913"/>
                <a:ext cx="334129"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0C2A27-CB2D-7CE6-E0E3-57DD1CA203CD}"/>
                  </a:ext>
                </a:extLst>
              </p:cNvPr>
              <p:cNvCxnSpPr>
                <a:stCxn id="19" idx="3"/>
                <a:endCxn id="20" idx="1"/>
              </p:cNvCxnSpPr>
              <p:nvPr/>
            </p:nvCxnSpPr>
            <p:spPr>
              <a:xfrm>
                <a:off x="3522291" y="1712913"/>
                <a:ext cx="334127"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EEC5DBC-55C2-B860-143A-45F93009E6CC}"/>
                  </a:ext>
                </a:extLst>
              </p:cNvPr>
              <p:cNvCxnSpPr>
                <a:stCxn id="20" idx="3"/>
                <a:endCxn id="21" idx="1"/>
              </p:cNvCxnSpPr>
              <p:nvPr/>
            </p:nvCxnSpPr>
            <p:spPr>
              <a:xfrm>
                <a:off x="4636820"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6FCAE96-A81D-24CD-7D3A-BDCD444FC759}"/>
                  </a:ext>
                </a:extLst>
              </p:cNvPr>
              <p:cNvCxnSpPr>
                <a:stCxn id="21" idx="3"/>
                <a:endCxn id="22" idx="1"/>
              </p:cNvCxnSpPr>
              <p:nvPr/>
            </p:nvCxnSpPr>
            <p:spPr>
              <a:xfrm>
                <a:off x="5763174"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Can 33">
                <a:extLst>
                  <a:ext uri="{FF2B5EF4-FFF2-40B4-BE49-F238E27FC236}">
                    <a16:creationId xmlns:a16="http://schemas.microsoft.com/office/drawing/2014/main" id="{52621B74-533B-8C30-3F09-30703899E089}"/>
                  </a:ext>
                </a:extLst>
              </p:cNvPr>
              <p:cNvSpPr/>
              <p:nvPr/>
            </p:nvSpPr>
            <p:spPr bwMode="gray">
              <a:xfrm>
                <a:off x="405241" y="2190813"/>
                <a:ext cx="992454" cy="1785467"/>
              </a:xfrm>
              <a:prstGeom prst="can">
                <a:avLst>
                  <a:gd name="adj" fmla="val 21037"/>
                </a:avLst>
              </a:prstGeom>
              <a:solidFill>
                <a:schemeClr val="accent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Aurigene Data</a:t>
                </a:r>
                <a:endParaRPr kumimoji="0" lang="en-US" sz="1100" b="1"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A42228E-3383-78AF-C8BE-DA264CED4F9F}"/>
                  </a:ext>
                </a:extLst>
              </p:cNvPr>
              <p:cNvSpPr/>
              <p:nvPr/>
            </p:nvSpPr>
            <p:spPr bwMode="gray">
              <a:xfrm>
                <a:off x="5543821" y="844368"/>
                <a:ext cx="944286" cy="264498"/>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29" name="Elbow Connector 36">
                <a:extLst>
                  <a:ext uri="{FF2B5EF4-FFF2-40B4-BE49-F238E27FC236}">
                    <a16:creationId xmlns:a16="http://schemas.microsoft.com/office/drawing/2014/main" id="{0AA20A93-1927-F81E-E77C-17AA79CFE4F8}"/>
                  </a:ext>
                </a:extLst>
              </p:cNvPr>
              <p:cNvCxnSpPr>
                <a:cxnSpLocks/>
                <a:stCxn id="22" idx="0"/>
                <a:endCxn id="28" idx="2"/>
              </p:cNvCxnSpPr>
              <p:nvPr/>
            </p:nvCxnSpPr>
            <p:spPr>
              <a:xfrm rot="16200000" flipV="1">
                <a:off x="6086800" y="1038031"/>
                <a:ext cx="341691" cy="483361"/>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7">
                <a:extLst>
                  <a:ext uri="{FF2B5EF4-FFF2-40B4-BE49-F238E27FC236}">
                    <a16:creationId xmlns:a16="http://schemas.microsoft.com/office/drawing/2014/main" id="{4EC7CE42-03D9-00BD-2D80-9D2DB676EC14}"/>
                  </a:ext>
                </a:extLst>
              </p:cNvPr>
              <p:cNvCxnSpPr>
                <a:cxnSpLocks/>
                <a:stCxn id="28" idx="1"/>
                <a:endCxn id="17" idx="0"/>
              </p:cNvCxnSpPr>
              <p:nvPr/>
            </p:nvCxnSpPr>
            <p:spPr>
              <a:xfrm rot="10800000" flipV="1">
                <a:off x="4276937" y="976617"/>
                <a:ext cx="1266885" cy="184814"/>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D3E2E09-07FB-D9DB-76C1-322B7C94DE8A}"/>
                  </a:ext>
                </a:extLst>
              </p:cNvPr>
              <p:cNvCxnSpPr>
                <a:cxnSpLocks/>
                <a:stCxn id="17" idx="3"/>
              </p:cNvCxnSpPr>
              <p:nvPr/>
            </p:nvCxnSpPr>
            <p:spPr>
              <a:xfrm>
                <a:off x="7021544" y="1650318"/>
                <a:ext cx="1261670" cy="41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B499AC0E-F43A-F81E-F16B-AEB922862BAA}"/>
                  </a:ext>
                </a:extLst>
              </p:cNvPr>
              <p:cNvSpPr/>
              <p:nvPr/>
            </p:nvSpPr>
            <p:spPr bwMode="gray">
              <a:xfrm>
                <a:off x="7187873" y="1177074"/>
                <a:ext cx="973767" cy="54109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ource </a:t>
                </a:r>
                <a:br>
                  <a:rPr kumimoji="0" lang="en-US" sz="800" b="1" i="0" u="none" strike="noStrike" kern="1200" cap="none" spc="0" normalizeH="0" baseline="0" noProof="0">
                    <a:ln>
                      <a:noFill/>
                    </a:ln>
                    <a:solidFill>
                      <a:prstClr val="white"/>
                    </a:solidFill>
                    <a:effectLst/>
                    <a:uLnTx/>
                    <a:uFillTx/>
                    <a:latin typeface="Calibri"/>
                    <a:ea typeface="+mn-ea"/>
                    <a:cs typeface="+mn-cs"/>
                  </a:rPr>
                </a:br>
                <a:r>
                  <a:rPr kumimoji="0" lang="en-US" sz="800" b="1" i="0" u="none" strike="noStrike" kern="1200" cap="none" spc="0" normalizeH="0" baseline="0" noProof="0">
                    <a:ln>
                      <a:noFill/>
                    </a:ln>
                    <a:solidFill>
                      <a:prstClr val="white"/>
                    </a:solidFill>
                    <a:effectLst/>
                    <a:uLnTx/>
                    <a:uFillTx/>
                    <a:latin typeface="Calibri"/>
                    <a:ea typeface="+mn-ea"/>
                    <a:cs typeface="+mn-cs"/>
                  </a:rPr>
                  <a:t>Code</a:t>
                </a:r>
              </a:p>
            </p:txBody>
          </p:sp>
          <p:sp>
            <p:nvSpPr>
              <p:cNvPr id="37" name="Rounded Rectangle 102">
                <a:extLst>
                  <a:ext uri="{FF2B5EF4-FFF2-40B4-BE49-F238E27FC236}">
                    <a16:creationId xmlns:a16="http://schemas.microsoft.com/office/drawing/2014/main" id="{5628D48F-4C44-AC58-E2F0-CBAE966C6F1D}"/>
                  </a:ext>
                </a:extLst>
              </p:cNvPr>
              <p:cNvSpPr/>
              <p:nvPr/>
            </p:nvSpPr>
            <p:spPr bwMode="gray">
              <a:xfrm>
                <a:off x="11236009" y="5888090"/>
                <a:ext cx="877678" cy="545224"/>
              </a:xfrm>
              <a:prstGeom prst="roundRect">
                <a:avLst>
                  <a:gd name="adj" fmla="val 50000"/>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Model Scoring</a:t>
                </a:r>
              </a:p>
            </p:txBody>
          </p:sp>
          <p:sp>
            <p:nvSpPr>
              <p:cNvPr id="39" name="Oval 38">
                <a:extLst>
                  <a:ext uri="{FF2B5EF4-FFF2-40B4-BE49-F238E27FC236}">
                    <a16:creationId xmlns:a16="http://schemas.microsoft.com/office/drawing/2014/main" id="{5CA25ED9-88E1-9B13-692E-D4450EF2B03E}"/>
                  </a:ext>
                </a:extLst>
              </p:cNvPr>
              <p:cNvSpPr/>
              <p:nvPr/>
            </p:nvSpPr>
            <p:spPr bwMode="gray">
              <a:xfrm>
                <a:off x="1543874" y="5619431"/>
                <a:ext cx="1286434" cy="495975"/>
              </a:xfrm>
              <a:prstGeom prst="ellipse">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riggers</a:t>
                </a:r>
              </a:p>
            </p:txBody>
          </p:sp>
          <p:sp>
            <p:nvSpPr>
              <p:cNvPr id="40" name="Flowchart: Magnetic Disk 39">
                <a:extLst>
                  <a:ext uri="{FF2B5EF4-FFF2-40B4-BE49-F238E27FC236}">
                    <a16:creationId xmlns:a16="http://schemas.microsoft.com/office/drawing/2014/main" id="{D0231D0B-9216-B5A7-51D8-2BC299FC3F8F}"/>
                  </a:ext>
                </a:extLst>
              </p:cNvPr>
              <p:cNvSpPr/>
              <p:nvPr/>
            </p:nvSpPr>
            <p:spPr bwMode="gray">
              <a:xfrm>
                <a:off x="3090664" y="5351988"/>
                <a:ext cx="3833392" cy="378997"/>
              </a:xfrm>
              <a:prstGeom prst="flowChartMagneticDisk">
                <a:avLst/>
              </a:prstGeom>
              <a:solidFill>
                <a:schemeClr val="accent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Machine Learning Metadata</a:t>
                </a:r>
              </a:p>
            </p:txBody>
          </p:sp>
          <p:cxnSp>
            <p:nvCxnSpPr>
              <p:cNvPr id="41" name="Straight Arrow Connector 40">
                <a:extLst>
                  <a:ext uri="{FF2B5EF4-FFF2-40B4-BE49-F238E27FC236}">
                    <a16:creationId xmlns:a16="http://schemas.microsoft.com/office/drawing/2014/main" id="{AE54E743-84CB-65C9-6CEE-B467EDC38D53}"/>
                  </a:ext>
                </a:extLst>
              </p:cNvPr>
              <p:cNvCxnSpPr>
                <a:cxnSpLocks/>
                <a:stCxn id="40" idx="1"/>
                <a:endCxn id="144" idx="2"/>
              </p:cNvCxnSpPr>
              <p:nvPr/>
            </p:nvCxnSpPr>
            <p:spPr>
              <a:xfrm flipH="1" flipV="1">
                <a:off x="4985816" y="5163760"/>
                <a:ext cx="21544" cy="188228"/>
              </a:xfrm>
              <a:prstGeom prst="straightConnector1">
                <a:avLst/>
              </a:prstGeom>
              <a:ln w="15875">
                <a:solidFill>
                  <a:schemeClr val="tx1">
                    <a:lumMod val="65000"/>
                    <a:lumOff val="3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36159AA-7214-C0F2-9140-6F3CC6B73107}"/>
                  </a:ext>
                </a:extLst>
              </p:cNvPr>
              <p:cNvCxnSpPr>
                <a:cxnSpLocks/>
              </p:cNvCxnSpPr>
              <p:nvPr/>
            </p:nvCxnSpPr>
            <p:spPr>
              <a:xfrm>
                <a:off x="9292665" y="1654506"/>
                <a:ext cx="285834" cy="67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119">
                <a:extLst>
                  <a:ext uri="{FF2B5EF4-FFF2-40B4-BE49-F238E27FC236}">
                    <a16:creationId xmlns:a16="http://schemas.microsoft.com/office/drawing/2014/main" id="{7700A1E2-1337-7BF9-ED51-5637949A29AB}"/>
                  </a:ext>
                </a:extLst>
              </p:cNvPr>
              <p:cNvCxnSpPr>
                <a:cxnSpLocks/>
              </p:cNvCxnSpPr>
              <p:nvPr/>
            </p:nvCxnSpPr>
            <p:spPr>
              <a:xfrm>
                <a:off x="10773112" y="1655185"/>
                <a:ext cx="707171" cy="58070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Flowchart: Multidocument 44">
                <a:extLst>
                  <a:ext uri="{FF2B5EF4-FFF2-40B4-BE49-F238E27FC236}">
                    <a16:creationId xmlns:a16="http://schemas.microsoft.com/office/drawing/2014/main" id="{CEBE13B8-93C1-5A62-D413-71DFADC27123}"/>
                  </a:ext>
                </a:extLst>
              </p:cNvPr>
              <p:cNvSpPr/>
              <p:nvPr/>
            </p:nvSpPr>
            <p:spPr bwMode="gray">
              <a:xfrm>
                <a:off x="11040808" y="1386759"/>
                <a:ext cx="897531" cy="545224"/>
              </a:xfrm>
              <a:prstGeom prst="flowChartMulti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Packages/API</a:t>
                </a:r>
              </a:p>
            </p:txBody>
          </p:sp>
          <p:grpSp>
            <p:nvGrpSpPr>
              <p:cNvPr id="47" name="Group 46">
                <a:extLst>
                  <a:ext uri="{FF2B5EF4-FFF2-40B4-BE49-F238E27FC236}">
                    <a16:creationId xmlns:a16="http://schemas.microsoft.com/office/drawing/2014/main" id="{FFA5947A-8615-2FA3-916E-6F136311A6F3}"/>
                  </a:ext>
                </a:extLst>
              </p:cNvPr>
              <p:cNvGrpSpPr/>
              <p:nvPr/>
            </p:nvGrpSpPr>
            <p:grpSpPr>
              <a:xfrm>
                <a:off x="1799825" y="4088210"/>
                <a:ext cx="6371983" cy="1075550"/>
                <a:chOff x="-121346" y="2943017"/>
                <a:chExt cx="6435703" cy="987551"/>
              </a:xfrm>
            </p:grpSpPr>
            <p:sp>
              <p:nvSpPr>
                <p:cNvPr id="144" name="Rectangle 143">
                  <a:extLst>
                    <a:ext uri="{FF2B5EF4-FFF2-40B4-BE49-F238E27FC236}">
                      <a16:creationId xmlns:a16="http://schemas.microsoft.com/office/drawing/2014/main" id="{91B9887E-A1A1-0FB7-4928-11595548B566}"/>
                    </a:ext>
                  </a:extLst>
                </p:cNvPr>
                <p:cNvSpPr/>
                <p:nvPr/>
              </p:nvSpPr>
              <p:spPr bwMode="gray">
                <a:xfrm>
                  <a:off x="-121346" y="2943017"/>
                  <a:ext cx="6435703" cy="987551"/>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Automated pipeline to refresh models in Prod (If Triggered )</a:t>
                  </a:r>
                </a:p>
              </p:txBody>
            </p:sp>
            <p:sp>
              <p:nvSpPr>
                <p:cNvPr id="145" name="Rectangle 144">
                  <a:extLst>
                    <a:ext uri="{FF2B5EF4-FFF2-40B4-BE49-F238E27FC236}">
                      <a16:creationId xmlns:a16="http://schemas.microsoft.com/office/drawing/2014/main" id="{DD98D1A7-832A-E864-F911-68E694FE167A}"/>
                    </a:ext>
                  </a:extLst>
                </p:cNvPr>
                <p:cNvSpPr/>
                <p:nvPr/>
              </p:nvSpPr>
              <p:spPr bwMode="gray">
                <a:xfrm>
                  <a:off x="105314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46" name="Rectangle 145">
                  <a:extLst>
                    <a:ext uri="{FF2B5EF4-FFF2-40B4-BE49-F238E27FC236}">
                      <a16:creationId xmlns:a16="http://schemas.microsoft.com/office/drawing/2014/main" id="{71E5ADEA-D05F-9623-DE44-44756A63577A}"/>
                    </a:ext>
                  </a:extLst>
                </p:cNvPr>
                <p:cNvSpPr/>
                <p:nvPr/>
              </p:nvSpPr>
              <p:spPr bwMode="gray">
                <a:xfrm>
                  <a:off x="2130083" y="3264977"/>
                  <a:ext cx="812090"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147" name="Rectangle 146">
                  <a:extLst>
                    <a:ext uri="{FF2B5EF4-FFF2-40B4-BE49-F238E27FC236}">
                      <a16:creationId xmlns:a16="http://schemas.microsoft.com/office/drawing/2014/main" id="{492E4D9C-089B-28E8-FC16-9B012100CE26}"/>
                    </a:ext>
                  </a:extLst>
                </p:cNvPr>
                <p:cNvSpPr/>
                <p:nvPr/>
              </p:nvSpPr>
              <p:spPr bwMode="gray">
                <a:xfrm>
                  <a:off x="3230903"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148" name="Rectangle 147">
                  <a:extLst>
                    <a:ext uri="{FF2B5EF4-FFF2-40B4-BE49-F238E27FC236}">
                      <a16:creationId xmlns:a16="http://schemas.microsoft.com/office/drawing/2014/main" id="{B1FAA321-B46E-14A1-59D5-4163FB58EB01}"/>
                    </a:ext>
                  </a:extLst>
                </p:cNvPr>
                <p:cNvSpPr/>
                <p:nvPr/>
              </p:nvSpPr>
              <p:spPr bwMode="gray">
                <a:xfrm>
                  <a:off x="431185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149" name="Rectangle 148">
                  <a:extLst>
                    <a:ext uri="{FF2B5EF4-FFF2-40B4-BE49-F238E27FC236}">
                      <a16:creationId xmlns:a16="http://schemas.microsoft.com/office/drawing/2014/main" id="{45220B92-248F-630C-603E-E1C590455EB6}"/>
                    </a:ext>
                  </a:extLst>
                </p:cNvPr>
                <p:cNvSpPr/>
                <p:nvPr/>
              </p:nvSpPr>
              <p:spPr bwMode="gray">
                <a:xfrm>
                  <a:off x="5392814"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150" name="Straight Arrow Connector 149">
                  <a:extLst>
                    <a:ext uri="{FF2B5EF4-FFF2-40B4-BE49-F238E27FC236}">
                      <a16:creationId xmlns:a16="http://schemas.microsoft.com/office/drawing/2014/main" id="{F6D80C52-3F70-EAB0-DE15-8012D5EFCD6A}"/>
                    </a:ext>
                  </a:extLst>
                </p:cNvPr>
                <p:cNvCxnSpPr>
                  <a:stCxn id="145" idx="3"/>
                  <a:endCxn id="146" idx="1"/>
                </p:cNvCxnSpPr>
                <p:nvPr/>
              </p:nvCxnSpPr>
              <p:spPr>
                <a:xfrm>
                  <a:off x="1841355" y="3529956"/>
                  <a:ext cx="28872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49282984-5782-FDD9-6EA3-1B24E32A26DB}"/>
                    </a:ext>
                  </a:extLst>
                </p:cNvPr>
                <p:cNvCxnSpPr>
                  <a:stCxn id="146" idx="3"/>
                  <a:endCxn id="147" idx="1"/>
                </p:cNvCxnSpPr>
                <p:nvPr/>
              </p:nvCxnSpPr>
              <p:spPr>
                <a:xfrm>
                  <a:off x="2942172" y="3529956"/>
                  <a:ext cx="28873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2D112E19-BE21-69F0-B6A6-F376960A42F6}"/>
                    </a:ext>
                  </a:extLst>
                </p:cNvPr>
                <p:cNvCxnSpPr>
                  <a:stCxn id="147" idx="3"/>
                  <a:endCxn id="148" idx="1"/>
                </p:cNvCxnSpPr>
                <p:nvPr/>
              </p:nvCxnSpPr>
              <p:spPr>
                <a:xfrm>
                  <a:off x="4019110" y="3529956"/>
                  <a:ext cx="29274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619822CE-DFF4-15B4-D0F4-C3ED92AC80AC}"/>
                    </a:ext>
                  </a:extLst>
                </p:cNvPr>
                <p:cNvCxnSpPr>
                  <a:stCxn id="148" idx="3"/>
                  <a:endCxn id="149" idx="1"/>
                </p:cNvCxnSpPr>
                <p:nvPr/>
              </p:nvCxnSpPr>
              <p:spPr>
                <a:xfrm>
                  <a:off x="5100064"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9A276DCC-BA74-B3CD-6940-6339E56BFC66}"/>
                    </a:ext>
                  </a:extLst>
                </p:cNvPr>
                <p:cNvSpPr/>
                <p:nvPr/>
              </p:nvSpPr>
              <p:spPr bwMode="gray">
                <a:xfrm>
                  <a:off x="-2780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Extraction</a:t>
                  </a:r>
                </a:p>
              </p:txBody>
            </p:sp>
            <p:cxnSp>
              <p:nvCxnSpPr>
                <p:cNvPr id="155" name="Straight Arrow Connector 154">
                  <a:extLst>
                    <a:ext uri="{FF2B5EF4-FFF2-40B4-BE49-F238E27FC236}">
                      <a16:creationId xmlns:a16="http://schemas.microsoft.com/office/drawing/2014/main" id="{F9706F91-D0D0-7CFE-D9AA-B401392BB38D}"/>
                    </a:ext>
                  </a:extLst>
                </p:cNvPr>
                <p:cNvCxnSpPr>
                  <a:stCxn id="154" idx="3"/>
                  <a:endCxn id="145" idx="1"/>
                </p:cNvCxnSpPr>
                <p:nvPr/>
              </p:nvCxnSpPr>
              <p:spPr>
                <a:xfrm>
                  <a:off x="760398"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9" name="Elbow Connector 153">
                <a:extLst>
                  <a:ext uri="{FF2B5EF4-FFF2-40B4-BE49-F238E27FC236}">
                    <a16:creationId xmlns:a16="http://schemas.microsoft.com/office/drawing/2014/main" id="{4A8FCB1E-3634-5FEB-3778-11434684FF34}"/>
                  </a:ext>
                </a:extLst>
              </p:cNvPr>
              <p:cNvCxnSpPr>
                <a:cxnSpLocks/>
                <a:stCxn id="37" idx="1"/>
                <a:endCxn id="2205" idx="3"/>
              </p:cNvCxnSpPr>
              <p:nvPr/>
            </p:nvCxnSpPr>
            <p:spPr>
              <a:xfrm rot="10800000">
                <a:off x="8126952" y="5859750"/>
                <a:ext cx="3109058" cy="300954"/>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56">
                <a:extLst>
                  <a:ext uri="{FF2B5EF4-FFF2-40B4-BE49-F238E27FC236}">
                    <a16:creationId xmlns:a16="http://schemas.microsoft.com/office/drawing/2014/main" id="{D8AF2BBD-0958-49A5-89FE-9F64882E139B}"/>
                  </a:ext>
                </a:extLst>
              </p:cNvPr>
              <p:cNvCxnSpPr>
                <a:cxnSpLocks/>
                <a:stCxn id="2205" idx="1"/>
                <a:endCxn id="39" idx="6"/>
              </p:cNvCxnSpPr>
              <p:nvPr/>
            </p:nvCxnSpPr>
            <p:spPr>
              <a:xfrm rot="10800000" flipV="1">
                <a:off x="2830309" y="5859747"/>
                <a:ext cx="4070216" cy="7671"/>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A9D54D1F-77AA-1B3B-C060-AB7568EA8A01}"/>
                  </a:ext>
                </a:extLst>
              </p:cNvPr>
              <p:cNvSpPr/>
              <p:nvPr/>
            </p:nvSpPr>
            <p:spPr bwMode="gray">
              <a:xfrm>
                <a:off x="3034001" y="5805556"/>
                <a:ext cx="424909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Model Performance / Distribution of Key Variables / Customer Segments</a:t>
                </a:r>
              </a:p>
            </p:txBody>
          </p:sp>
          <p:cxnSp>
            <p:nvCxnSpPr>
              <p:cNvPr id="52" name="Elbow Connector 160">
                <a:extLst>
                  <a:ext uri="{FF2B5EF4-FFF2-40B4-BE49-F238E27FC236}">
                    <a16:creationId xmlns:a16="http://schemas.microsoft.com/office/drawing/2014/main" id="{2AC90B25-2888-3813-64E1-72806B6FEF5D}"/>
                  </a:ext>
                </a:extLst>
              </p:cNvPr>
              <p:cNvCxnSpPr>
                <a:stCxn id="27" idx="1"/>
                <a:endCxn id="17" idx="1"/>
              </p:cNvCxnSpPr>
              <p:nvPr/>
            </p:nvCxnSpPr>
            <p:spPr>
              <a:xfrm rot="5400000" flipH="1" flipV="1">
                <a:off x="946650" y="1605137"/>
                <a:ext cx="540495" cy="630859"/>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170">
                <a:extLst>
                  <a:ext uri="{FF2B5EF4-FFF2-40B4-BE49-F238E27FC236}">
                    <a16:creationId xmlns:a16="http://schemas.microsoft.com/office/drawing/2014/main" id="{02DA4AA3-633A-EE1A-666B-CE2311FBE69F}"/>
                  </a:ext>
                </a:extLst>
              </p:cNvPr>
              <p:cNvCxnSpPr>
                <a:stCxn id="27" idx="2"/>
                <a:endCxn id="37" idx="2"/>
              </p:cNvCxnSpPr>
              <p:nvPr/>
            </p:nvCxnSpPr>
            <p:spPr>
              <a:xfrm rot="10800000" flipH="1" flipV="1">
                <a:off x="405241" y="3083546"/>
                <a:ext cx="11269607" cy="3349768"/>
              </a:xfrm>
              <a:prstGeom prst="bentConnector4">
                <a:avLst>
                  <a:gd name="adj1" fmla="val -2071"/>
                  <a:gd name="adj2" fmla="val 106968"/>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178">
                <a:extLst>
                  <a:ext uri="{FF2B5EF4-FFF2-40B4-BE49-F238E27FC236}">
                    <a16:creationId xmlns:a16="http://schemas.microsoft.com/office/drawing/2014/main" id="{B477FF88-DD29-26A9-749F-23CD9E829215}"/>
                  </a:ext>
                </a:extLst>
              </p:cNvPr>
              <p:cNvCxnSpPr>
                <a:stCxn id="27" idx="3"/>
                <a:endCxn id="154" idx="1"/>
              </p:cNvCxnSpPr>
              <p:nvPr/>
            </p:nvCxnSpPr>
            <p:spPr>
              <a:xfrm rot="16200000" flipH="1">
                <a:off x="1021366" y="3856380"/>
                <a:ext cx="751171" cy="99096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17FF8DB-A779-406B-604D-EA0AEB699D2E}"/>
                  </a:ext>
                </a:extLst>
              </p:cNvPr>
              <p:cNvSpPr/>
              <p:nvPr/>
            </p:nvSpPr>
            <p:spPr bwMode="gray">
              <a:xfrm>
                <a:off x="369529" y="1387281"/>
                <a:ext cx="982629" cy="52471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Analysi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Univariate &amp; Bivariate)</a:t>
                </a:r>
              </a:p>
            </p:txBody>
          </p:sp>
          <p:cxnSp>
            <p:nvCxnSpPr>
              <p:cNvPr id="57" name="Elbow Connector 189">
                <a:extLst>
                  <a:ext uri="{FF2B5EF4-FFF2-40B4-BE49-F238E27FC236}">
                    <a16:creationId xmlns:a16="http://schemas.microsoft.com/office/drawing/2014/main" id="{6B2E12A0-9882-ACD2-A86E-BF9CAA6EFE71}"/>
                  </a:ext>
                </a:extLst>
              </p:cNvPr>
              <p:cNvCxnSpPr>
                <a:stCxn id="39" idx="2"/>
                <a:endCxn id="56" idx="1"/>
              </p:cNvCxnSpPr>
              <p:nvPr/>
            </p:nvCxnSpPr>
            <p:spPr>
              <a:xfrm rot="10800000">
                <a:off x="369529" y="1649638"/>
                <a:ext cx="1174345" cy="4217782"/>
              </a:xfrm>
              <a:prstGeom prst="bentConnector3">
                <a:avLst>
                  <a:gd name="adj1" fmla="val 11931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194">
                <a:extLst>
                  <a:ext uri="{FF2B5EF4-FFF2-40B4-BE49-F238E27FC236}">
                    <a16:creationId xmlns:a16="http://schemas.microsoft.com/office/drawing/2014/main" id="{5F42DC4B-1B41-BDF6-0BCD-723622A63174}"/>
                  </a:ext>
                </a:extLst>
              </p:cNvPr>
              <p:cNvCxnSpPr>
                <a:cxnSpLocks/>
                <a:stCxn id="133" idx="3"/>
              </p:cNvCxnSpPr>
              <p:nvPr/>
            </p:nvCxnSpPr>
            <p:spPr>
              <a:xfrm flipH="1" flipV="1">
                <a:off x="8437523" y="1897705"/>
                <a:ext cx="1164050" cy="2512031"/>
              </a:xfrm>
              <a:prstGeom prst="bentConnector4">
                <a:avLst>
                  <a:gd name="adj1" fmla="val -19638"/>
                  <a:gd name="adj2" fmla="val 5806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7CD35F6-C95C-6DFB-B642-BC5F51953C14}"/>
                  </a:ext>
                </a:extLst>
              </p:cNvPr>
              <p:cNvGrpSpPr/>
              <p:nvPr/>
            </p:nvGrpSpPr>
            <p:grpSpPr>
              <a:xfrm>
                <a:off x="9447754" y="3352371"/>
                <a:ext cx="926287" cy="529960"/>
                <a:chOff x="6838272" y="1913769"/>
                <a:chExt cx="1132016" cy="529960"/>
              </a:xfrm>
            </p:grpSpPr>
            <p:cxnSp>
              <p:nvCxnSpPr>
                <p:cNvPr id="141" name="Straight Connector 140">
                  <a:extLst>
                    <a:ext uri="{FF2B5EF4-FFF2-40B4-BE49-F238E27FC236}">
                      <a16:creationId xmlns:a16="http://schemas.microsoft.com/office/drawing/2014/main" id="{9AA8F950-585A-DCAE-68F2-B51964EA9C99}"/>
                    </a:ext>
                  </a:extLst>
                </p:cNvPr>
                <p:cNvCxnSpPr/>
                <p:nvPr/>
              </p:nvCxnSpPr>
              <p:spPr>
                <a:xfrm>
                  <a:off x="7262366" y="1917291"/>
                  <a:ext cx="70792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F5A9166-2CA7-A23E-BE31-028FCAAB0DE9}"/>
                    </a:ext>
                  </a:extLst>
                </p:cNvPr>
                <p:cNvCxnSpPr/>
                <p:nvPr/>
              </p:nvCxnSpPr>
              <p:spPr>
                <a:xfrm>
                  <a:off x="7350391" y="1961537"/>
                  <a:ext cx="53187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86ADAFFC-9123-8650-11D1-4D901AAF4667}"/>
                    </a:ext>
                  </a:extLst>
                </p:cNvPr>
                <p:cNvSpPr/>
                <p:nvPr/>
              </p:nvSpPr>
              <p:spPr bwMode="gray">
                <a:xfrm>
                  <a:off x="6838272" y="1913769"/>
                  <a:ext cx="953729" cy="5299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Source </a:t>
                  </a:r>
                  <a:br>
                    <a:rPr kumimoji="0" lang="en-US" sz="800" b="1" i="0" u="none" strike="noStrike" kern="1200" cap="none" spc="0" normalizeH="0" baseline="0" noProof="0" dirty="0">
                      <a:ln>
                        <a:noFill/>
                      </a:ln>
                      <a:solidFill>
                        <a:prstClr val="white"/>
                      </a:solidFill>
                      <a:effectLst/>
                      <a:uLnTx/>
                      <a:uFillTx/>
                      <a:latin typeface="Calibri"/>
                      <a:ea typeface="+mn-ea"/>
                      <a:cs typeface="+mn-cs"/>
                    </a:rPr>
                  </a:br>
                  <a:r>
                    <a:rPr kumimoji="0" lang="en-US" sz="800" b="1" i="0" u="none" strike="noStrike" kern="1200" cap="none" spc="0" normalizeH="0" baseline="0" noProof="0" dirty="0">
                      <a:ln>
                        <a:noFill/>
                      </a:ln>
                      <a:solidFill>
                        <a:prstClr val="white"/>
                      </a:solidFill>
                      <a:effectLst/>
                      <a:uLnTx/>
                      <a:uFillTx/>
                      <a:latin typeface="Calibri"/>
                      <a:ea typeface="+mn-ea"/>
                      <a:cs typeface="+mn-cs"/>
                    </a:rPr>
                    <a:t>Code</a:t>
                  </a:r>
                </a:p>
              </p:txBody>
            </p:sp>
          </p:grpSp>
          <p:sp>
            <p:nvSpPr>
              <p:cNvPr id="61" name="Rectangle 60">
                <a:extLst>
                  <a:ext uri="{FF2B5EF4-FFF2-40B4-BE49-F238E27FC236}">
                    <a16:creationId xmlns:a16="http://schemas.microsoft.com/office/drawing/2014/main" id="{4A319A9D-4062-EEDD-B7EE-891496ECDE6B}"/>
                  </a:ext>
                </a:extLst>
              </p:cNvPr>
              <p:cNvSpPr/>
              <p:nvPr/>
            </p:nvSpPr>
            <p:spPr bwMode="gray">
              <a:xfrm>
                <a:off x="315909" y="5516314"/>
                <a:ext cx="1243120" cy="234072"/>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amp; Model Logs</a:t>
                </a:r>
              </a:p>
            </p:txBody>
          </p:sp>
          <p:sp>
            <p:nvSpPr>
              <p:cNvPr id="62" name="Rectangle 61">
                <a:extLst>
                  <a:ext uri="{FF2B5EF4-FFF2-40B4-BE49-F238E27FC236}">
                    <a16:creationId xmlns:a16="http://schemas.microsoft.com/office/drawing/2014/main" id="{FF76E6F9-A0CB-B68C-5276-6501C3584977}"/>
                  </a:ext>
                </a:extLst>
              </p:cNvPr>
              <p:cNvSpPr/>
              <p:nvPr/>
            </p:nvSpPr>
            <p:spPr bwMode="gray">
              <a:xfrm>
                <a:off x="2648584" y="3290189"/>
                <a:ext cx="2214979"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Trigger to refresh existing model</a:t>
                </a:r>
              </a:p>
            </p:txBody>
          </p:sp>
          <p:sp>
            <p:nvSpPr>
              <p:cNvPr id="63" name="Rectangle 62">
                <a:extLst>
                  <a:ext uri="{FF2B5EF4-FFF2-40B4-BE49-F238E27FC236}">
                    <a16:creationId xmlns:a16="http://schemas.microsoft.com/office/drawing/2014/main" id="{F8E0DDA9-8789-C41F-E068-D8CFBE23D77A}"/>
                  </a:ext>
                </a:extLst>
              </p:cNvPr>
              <p:cNvSpPr/>
              <p:nvPr/>
            </p:nvSpPr>
            <p:spPr bwMode="gray">
              <a:xfrm>
                <a:off x="8820723" y="5136774"/>
                <a:ext cx="780402" cy="433646"/>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Cockpits &amp; CM</a:t>
                </a:r>
              </a:p>
            </p:txBody>
          </p:sp>
          <p:cxnSp>
            <p:nvCxnSpPr>
              <p:cNvPr id="64" name="Elbow Connector 211">
                <a:extLst>
                  <a:ext uri="{FF2B5EF4-FFF2-40B4-BE49-F238E27FC236}">
                    <a16:creationId xmlns:a16="http://schemas.microsoft.com/office/drawing/2014/main" id="{54E055A0-16E5-0599-F9F1-4D22CB0F9E2A}"/>
                  </a:ext>
                </a:extLst>
              </p:cNvPr>
              <p:cNvCxnSpPr>
                <a:stCxn id="37" idx="1"/>
                <a:endCxn id="63" idx="3"/>
              </p:cNvCxnSpPr>
              <p:nvPr/>
            </p:nvCxnSpPr>
            <p:spPr>
              <a:xfrm rot="10800000">
                <a:off x="9601126" y="5353599"/>
                <a:ext cx="1634884" cy="807105"/>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6CA6CB57-22EE-9869-2A68-36314244425F}"/>
                  </a:ext>
                </a:extLst>
              </p:cNvPr>
              <p:cNvSpPr/>
              <p:nvPr/>
            </p:nvSpPr>
            <p:spPr bwMode="gray">
              <a:xfrm>
                <a:off x="6911818" y="110232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2</a:t>
                </a:r>
              </a:p>
            </p:txBody>
          </p:sp>
          <p:sp>
            <p:nvSpPr>
              <p:cNvPr id="131" name="Oval 130">
                <a:extLst>
                  <a:ext uri="{FF2B5EF4-FFF2-40B4-BE49-F238E27FC236}">
                    <a16:creationId xmlns:a16="http://schemas.microsoft.com/office/drawing/2014/main" id="{9B6C9F0A-8CE1-EB08-1886-C1A09D5498E3}"/>
                  </a:ext>
                </a:extLst>
              </p:cNvPr>
              <p:cNvSpPr/>
              <p:nvPr/>
            </p:nvSpPr>
            <p:spPr bwMode="gray">
              <a:xfrm>
                <a:off x="8235766" y="5512239"/>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6</a:t>
                </a:r>
              </a:p>
            </p:txBody>
          </p:sp>
          <p:sp>
            <p:nvSpPr>
              <p:cNvPr id="132" name="Oval 131">
                <a:extLst>
                  <a:ext uri="{FF2B5EF4-FFF2-40B4-BE49-F238E27FC236}">
                    <a16:creationId xmlns:a16="http://schemas.microsoft.com/office/drawing/2014/main" id="{B1F61B7C-CE7B-2ACA-0A76-B37DAFB3474D}"/>
                  </a:ext>
                </a:extLst>
              </p:cNvPr>
              <p:cNvSpPr/>
              <p:nvPr/>
            </p:nvSpPr>
            <p:spPr bwMode="gray">
              <a:xfrm>
                <a:off x="2438627" y="3853338"/>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7</a:t>
                </a:r>
              </a:p>
            </p:txBody>
          </p:sp>
          <p:sp>
            <p:nvSpPr>
              <p:cNvPr id="133" name="Rectangle 132">
                <a:extLst>
                  <a:ext uri="{FF2B5EF4-FFF2-40B4-BE49-F238E27FC236}">
                    <a16:creationId xmlns:a16="http://schemas.microsoft.com/office/drawing/2014/main" id="{88ADAF2B-7B1E-B4E9-D7B4-855961E49321}"/>
                  </a:ext>
                </a:extLst>
              </p:cNvPr>
              <p:cNvSpPr/>
              <p:nvPr/>
            </p:nvSpPr>
            <p:spPr bwMode="gray">
              <a:xfrm>
                <a:off x="8821171" y="4212624"/>
                <a:ext cx="780402" cy="394224"/>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Model Analysis</a:t>
                </a:r>
              </a:p>
            </p:txBody>
          </p:sp>
          <p:cxnSp>
            <p:nvCxnSpPr>
              <p:cNvPr id="134" name="Elbow Connector 233">
                <a:extLst>
                  <a:ext uri="{FF2B5EF4-FFF2-40B4-BE49-F238E27FC236}">
                    <a16:creationId xmlns:a16="http://schemas.microsoft.com/office/drawing/2014/main" id="{83A79ECB-6321-ED7A-AAF4-5D6A5D58C575}"/>
                  </a:ext>
                </a:extLst>
              </p:cNvPr>
              <p:cNvCxnSpPr>
                <a:stCxn id="149" idx="3"/>
                <a:endCxn id="133" idx="1"/>
              </p:cNvCxnSpPr>
              <p:nvPr/>
            </p:nvCxnSpPr>
            <p:spPr>
              <a:xfrm flipV="1">
                <a:off x="8039791" y="4409736"/>
                <a:ext cx="781379" cy="317715"/>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A3262F30-0B4F-AD02-FBD9-8435A1DEF463}"/>
                  </a:ext>
                </a:extLst>
              </p:cNvPr>
              <p:cNvSpPr/>
              <p:nvPr/>
            </p:nvSpPr>
            <p:spPr bwMode="gray">
              <a:xfrm>
                <a:off x="8693468" y="4080556"/>
                <a:ext cx="1045798" cy="1609505"/>
              </a:xfrm>
              <a:prstGeom prst="rect">
                <a:avLst/>
              </a:prstGeom>
              <a:noFill/>
              <a:ln w="19050" cmpd="dbl" algn="ctr">
                <a:solidFill>
                  <a:srgbClr val="FF0000"/>
                </a:solidFill>
                <a:miter lim="800000"/>
                <a:headEnd/>
                <a:tailEnd/>
              </a:ln>
            </p:spPr>
            <p:txBody>
              <a:bodyPr wrap="square" lIns="88900" tIns="88900" rIns="88900" bIns="12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Technology &amp; Business SME</a:t>
                </a:r>
              </a:p>
            </p:txBody>
          </p:sp>
          <p:cxnSp>
            <p:nvCxnSpPr>
              <p:cNvPr id="137" name="Elbow Connector 89">
                <a:extLst>
                  <a:ext uri="{FF2B5EF4-FFF2-40B4-BE49-F238E27FC236}">
                    <a16:creationId xmlns:a16="http://schemas.microsoft.com/office/drawing/2014/main" id="{7E726362-D6BD-A425-2793-969FB97E7363}"/>
                  </a:ext>
                </a:extLst>
              </p:cNvPr>
              <p:cNvCxnSpPr>
                <a:cxnSpLocks/>
                <a:stCxn id="133" idx="0"/>
                <a:endCxn id="125" idx="3"/>
              </p:cNvCxnSpPr>
              <p:nvPr/>
            </p:nvCxnSpPr>
            <p:spPr>
              <a:xfrm rot="16200000" flipV="1">
                <a:off x="7343720" y="2344973"/>
                <a:ext cx="1228675" cy="2506629"/>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FD734D6E-5599-C194-8313-501751C00AE6}"/>
                  </a:ext>
                </a:extLst>
              </p:cNvPr>
              <p:cNvSpPr/>
              <p:nvPr/>
            </p:nvSpPr>
            <p:spPr bwMode="gray">
              <a:xfrm>
                <a:off x="325090" y="221484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1</a:t>
                </a:r>
              </a:p>
            </p:txBody>
          </p:sp>
          <p:sp>
            <p:nvSpPr>
              <p:cNvPr id="139" name="Oval 138">
                <a:extLst>
                  <a:ext uri="{FF2B5EF4-FFF2-40B4-BE49-F238E27FC236}">
                    <a16:creationId xmlns:a16="http://schemas.microsoft.com/office/drawing/2014/main" id="{E1128EDF-7A4A-1804-C308-5A7BC012AE56}"/>
                  </a:ext>
                </a:extLst>
              </p:cNvPr>
              <p:cNvSpPr/>
              <p:nvPr/>
            </p:nvSpPr>
            <p:spPr bwMode="gray">
              <a:xfrm>
                <a:off x="9803590" y="4140753"/>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8</a:t>
                </a:r>
              </a:p>
            </p:txBody>
          </p:sp>
          <p:sp>
            <p:nvSpPr>
              <p:cNvPr id="140" name="Rectangle 139">
                <a:extLst>
                  <a:ext uri="{FF2B5EF4-FFF2-40B4-BE49-F238E27FC236}">
                    <a16:creationId xmlns:a16="http://schemas.microsoft.com/office/drawing/2014/main" id="{C21FDB08-4B71-87C1-6E7D-5E0D1655FEF5}"/>
                  </a:ext>
                </a:extLst>
              </p:cNvPr>
              <p:cNvSpPr/>
              <p:nvPr/>
            </p:nvSpPr>
            <p:spPr bwMode="gray">
              <a:xfrm>
                <a:off x="6244514" y="2992852"/>
                <a:ext cx="4014081" cy="26688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Changes in business drivers leads to manual model re-building</a:t>
                </a:r>
              </a:p>
            </p:txBody>
          </p:sp>
        </p:grpSp>
        <p:sp>
          <p:nvSpPr>
            <p:cNvPr id="15" name="Rectangle 14">
              <a:extLst>
                <a:ext uri="{FF2B5EF4-FFF2-40B4-BE49-F238E27FC236}">
                  <a16:creationId xmlns:a16="http://schemas.microsoft.com/office/drawing/2014/main" id="{3B7CBF6A-719F-43C1-9ADD-34831FE7F05E}"/>
                </a:ext>
              </a:extLst>
            </p:cNvPr>
            <p:cNvSpPr/>
            <p:nvPr/>
          </p:nvSpPr>
          <p:spPr bwMode="gray">
            <a:xfrm>
              <a:off x="1831600" y="3275986"/>
              <a:ext cx="861050" cy="667834"/>
            </a:xfrm>
            <a:prstGeom prst="rect">
              <a:avLst/>
            </a:prstGeom>
            <a:solidFill>
              <a:schemeClr val="bg1">
                <a:lumMod val="85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CT: continuous training</a:t>
              </a:r>
            </a:p>
          </p:txBody>
        </p:sp>
      </p:grpSp>
      <p:pic>
        <p:nvPicPr>
          <p:cNvPr id="66" name="Picture 65">
            <a:extLst>
              <a:ext uri="{FF2B5EF4-FFF2-40B4-BE49-F238E27FC236}">
                <a16:creationId xmlns:a16="http://schemas.microsoft.com/office/drawing/2014/main" id="{AE03E41F-A632-40FA-DCB0-2C4B5DDD612D}"/>
              </a:ext>
            </a:extLst>
          </p:cNvPr>
          <p:cNvPicPr>
            <a:picLocks noChangeAspect="1"/>
          </p:cNvPicPr>
          <p:nvPr/>
        </p:nvPicPr>
        <p:blipFill>
          <a:blip r:embed="rId4"/>
          <a:stretch>
            <a:fillRect/>
          </a:stretch>
        </p:blipFill>
        <p:spPr>
          <a:xfrm>
            <a:off x="648977" y="3001934"/>
            <a:ext cx="714842" cy="779568"/>
          </a:xfrm>
          <a:prstGeom prst="rect">
            <a:avLst/>
          </a:prstGeom>
        </p:spPr>
      </p:pic>
      <p:pic>
        <p:nvPicPr>
          <p:cNvPr id="70" name="Picture 69">
            <a:extLst>
              <a:ext uri="{FF2B5EF4-FFF2-40B4-BE49-F238E27FC236}">
                <a16:creationId xmlns:a16="http://schemas.microsoft.com/office/drawing/2014/main" id="{C658D442-FEC6-69C8-6880-E732573E7478}"/>
              </a:ext>
            </a:extLst>
          </p:cNvPr>
          <p:cNvPicPr>
            <a:picLocks noChangeAspect="1"/>
          </p:cNvPicPr>
          <p:nvPr/>
        </p:nvPicPr>
        <p:blipFill>
          <a:blip r:embed="rId5"/>
          <a:stretch>
            <a:fillRect/>
          </a:stretch>
        </p:blipFill>
        <p:spPr>
          <a:xfrm>
            <a:off x="8182030" y="1226157"/>
            <a:ext cx="1097645" cy="498301"/>
          </a:xfrm>
          <a:prstGeom prst="rect">
            <a:avLst/>
          </a:prstGeom>
        </p:spPr>
      </p:pic>
      <p:pic>
        <p:nvPicPr>
          <p:cNvPr id="74" name="Picture 73">
            <a:extLst>
              <a:ext uri="{FF2B5EF4-FFF2-40B4-BE49-F238E27FC236}">
                <a16:creationId xmlns:a16="http://schemas.microsoft.com/office/drawing/2014/main" id="{71C782BB-BFC0-172C-7F9D-EF85FB583902}"/>
              </a:ext>
            </a:extLst>
          </p:cNvPr>
          <p:cNvPicPr>
            <a:picLocks noChangeAspect="1"/>
          </p:cNvPicPr>
          <p:nvPr/>
        </p:nvPicPr>
        <p:blipFill>
          <a:blip r:embed="rId6"/>
          <a:stretch>
            <a:fillRect/>
          </a:stretch>
        </p:blipFill>
        <p:spPr>
          <a:xfrm>
            <a:off x="9558150" y="1138676"/>
            <a:ext cx="999753" cy="809376"/>
          </a:xfrm>
          <a:prstGeom prst="rect">
            <a:avLst/>
          </a:prstGeom>
        </p:spPr>
      </p:pic>
      <p:pic>
        <p:nvPicPr>
          <p:cNvPr id="77" name="Picture 76">
            <a:extLst>
              <a:ext uri="{FF2B5EF4-FFF2-40B4-BE49-F238E27FC236}">
                <a16:creationId xmlns:a16="http://schemas.microsoft.com/office/drawing/2014/main" id="{EC5F2092-2AFA-45C4-58DF-60FDCE979515}"/>
              </a:ext>
            </a:extLst>
          </p:cNvPr>
          <p:cNvPicPr>
            <a:picLocks noChangeAspect="1"/>
          </p:cNvPicPr>
          <p:nvPr/>
        </p:nvPicPr>
        <p:blipFill>
          <a:blip r:embed="rId7"/>
          <a:stretch>
            <a:fillRect/>
          </a:stretch>
        </p:blipFill>
        <p:spPr>
          <a:xfrm>
            <a:off x="10871705" y="1881689"/>
            <a:ext cx="1227512" cy="905290"/>
          </a:xfrm>
          <a:prstGeom prst="rect">
            <a:avLst/>
          </a:prstGeom>
        </p:spPr>
      </p:pic>
      <p:cxnSp>
        <p:nvCxnSpPr>
          <p:cNvPr id="88" name="Straight Arrow Connector 87">
            <a:extLst>
              <a:ext uri="{FF2B5EF4-FFF2-40B4-BE49-F238E27FC236}">
                <a16:creationId xmlns:a16="http://schemas.microsoft.com/office/drawing/2014/main" id="{F3FB5D51-599C-44BD-F707-4759CAADFD84}"/>
              </a:ext>
            </a:extLst>
          </p:cNvPr>
          <p:cNvCxnSpPr>
            <a:cxnSpLocks/>
            <a:stCxn id="77" idx="1"/>
          </p:cNvCxnSpPr>
          <p:nvPr/>
        </p:nvCxnSpPr>
        <p:spPr>
          <a:xfrm flipH="1">
            <a:off x="10311962" y="2334334"/>
            <a:ext cx="559743" cy="769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696485A7-CBFC-AF1A-31E0-C989C8DBF59B}"/>
              </a:ext>
            </a:extLst>
          </p:cNvPr>
          <p:cNvCxnSpPr>
            <a:cxnSpLocks/>
            <a:stCxn id="119" idx="2"/>
            <a:endCxn id="74" idx="2"/>
          </p:cNvCxnSpPr>
          <p:nvPr/>
        </p:nvCxnSpPr>
        <p:spPr>
          <a:xfrm flipV="1">
            <a:off x="10058027" y="1948052"/>
            <a:ext cx="0" cy="18089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AD285964-BA4E-B9FA-3BBC-8CFA5CAEC7A8}"/>
              </a:ext>
            </a:extLst>
          </p:cNvPr>
          <p:cNvGrpSpPr/>
          <p:nvPr/>
        </p:nvGrpSpPr>
        <p:grpSpPr>
          <a:xfrm>
            <a:off x="5357661" y="2605946"/>
            <a:ext cx="1374120" cy="596880"/>
            <a:chOff x="5287442" y="2524396"/>
            <a:chExt cx="1374120" cy="596880"/>
          </a:xfrm>
        </p:grpSpPr>
        <p:sp>
          <p:nvSpPr>
            <p:cNvPr id="125" name="Rectangle 124">
              <a:extLst>
                <a:ext uri="{FF2B5EF4-FFF2-40B4-BE49-F238E27FC236}">
                  <a16:creationId xmlns:a16="http://schemas.microsoft.com/office/drawing/2014/main" id="{79675FDB-3D4B-9D7B-AFF4-A651244A0CA7}"/>
                </a:ext>
              </a:extLst>
            </p:cNvPr>
            <p:cNvSpPr/>
            <p:nvPr/>
          </p:nvSpPr>
          <p:spPr bwMode="gray">
            <a:xfrm>
              <a:off x="5287442" y="2524396"/>
              <a:ext cx="1374120" cy="596880"/>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126" name="Picture 12" descr="Introducing MLflow: an Open Source Platform for the Complete Machine  Learning Lifecycle">
              <a:extLst>
                <a:ext uri="{FF2B5EF4-FFF2-40B4-BE49-F238E27FC236}">
                  <a16:creationId xmlns:a16="http://schemas.microsoft.com/office/drawing/2014/main" id="{26EED5D9-411F-843D-B9C3-8B0E692D424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539" r="27841" b="65037"/>
            <a:stretch/>
          </p:blipFill>
          <p:spPr bwMode="auto">
            <a:xfrm>
              <a:off x="5347081" y="2599389"/>
              <a:ext cx="1145893" cy="4293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7" name="Connector: Elbow 166">
            <a:extLst>
              <a:ext uri="{FF2B5EF4-FFF2-40B4-BE49-F238E27FC236}">
                <a16:creationId xmlns:a16="http://schemas.microsoft.com/office/drawing/2014/main" id="{B409F9AF-244B-6CC0-4519-30DBD3FDC314}"/>
              </a:ext>
            </a:extLst>
          </p:cNvPr>
          <p:cNvCxnSpPr>
            <a:cxnSpLocks/>
          </p:cNvCxnSpPr>
          <p:nvPr/>
        </p:nvCxnSpPr>
        <p:spPr>
          <a:xfrm rot="16200000" flipH="1">
            <a:off x="4929374" y="1490598"/>
            <a:ext cx="539907" cy="1690790"/>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57D2A44D-B6A5-7A1B-AB54-2F2ACB205B2D}"/>
              </a:ext>
            </a:extLst>
          </p:cNvPr>
          <p:cNvCxnSpPr>
            <a:cxnSpLocks/>
          </p:cNvCxnSpPr>
          <p:nvPr/>
        </p:nvCxnSpPr>
        <p:spPr>
          <a:xfrm rot="5400000">
            <a:off x="5238792" y="3223492"/>
            <a:ext cx="826601" cy="785261"/>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F6F76111-8A40-0A9E-0D85-E1A662FBDD39}"/>
              </a:ext>
            </a:extLst>
          </p:cNvPr>
          <p:cNvCxnSpPr>
            <a:cxnSpLocks/>
            <a:stCxn id="174" idx="3"/>
            <a:endCxn id="126" idx="1"/>
          </p:cNvCxnSpPr>
          <p:nvPr/>
        </p:nvCxnSpPr>
        <p:spPr>
          <a:xfrm>
            <a:off x="4517735" y="2703923"/>
            <a:ext cx="899565" cy="191688"/>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61" name="Connector: Elbow 2060">
            <a:extLst>
              <a:ext uri="{FF2B5EF4-FFF2-40B4-BE49-F238E27FC236}">
                <a16:creationId xmlns:a16="http://schemas.microsoft.com/office/drawing/2014/main" id="{2F3AEA89-5A72-E716-2AEF-B054CEDFBFCF}"/>
              </a:ext>
            </a:extLst>
          </p:cNvPr>
          <p:cNvCxnSpPr>
            <a:cxnSpLocks/>
          </p:cNvCxnSpPr>
          <p:nvPr/>
        </p:nvCxnSpPr>
        <p:spPr>
          <a:xfrm rot="16200000" flipH="1">
            <a:off x="10743887" y="2276012"/>
            <a:ext cx="300057" cy="139469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8" name="Connector: Elbow 2067">
            <a:extLst>
              <a:ext uri="{FF2B5EF4-FFF2-40B4-BE49-F238E27FC236}">
                <a16:creationId xmlns:a16="http://schemas.microsoft.com/office/drawing/2014/main" id="{07CC2FCE-1541-D209-07C0-2FF97C3D76F3}"/>
              </a:ext>
            </a:extLst>
          </p:cNvPr>
          <p:cNvCxnSpPr>
            <a:cxnSpLocks/>
            <a:stCxn id="86" idx="2"/>
            <a:endCxn id="37" idx="0"/>
          </p:cNvCxnSpPr>
          <p:nvPr/>
        </p:nvCxnSpPr>
        <p:spPr>
          <a:xfrm rot="16200000" flipH="1">
            <a:off x="11272336" y="5421488"/>
            <a:ext cx="651607" cy="295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197" name="Picture 8" descr="Apache Airflow - Wikipedia">
            <a:extLst>
              <a:ext uri="{FF2B5EF4-FFF2-40B4-BE49-F238E27FC236}">
                <a16:creationId xmlns:a16="http://schemas.microsoft.com/office/drawing/2014/main" id="{7E6DBC9A-D2A0-FBC8-FD41-67623EE9E7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28491" y="4601903"/>
            <a:ext cx="797592" cy="308132"/>
          </a:xfrm>
          <a:prstGeom prst="rect">
            <a:avLst/>
          </a:prstGeom>
          <a:noFill/>
          <a:extLst>
            <a:ext uri="{909E8E84-426E-40DD-AFC4-6F175D3DCCD1}">
              <a14:hiddenFill xmlns:a14="http://schemas.microsoft.com/office/drawing/2010/main">
                <a:solidFill>
                  <a:srgbClr val="FFFFFF"/>
                </a:solidFill>
              </a14:hiddenFill>
            </a:ext>
          </a:extLst>
        </p:spPr>
      </p:pic>
      <p:sp>
        <p:nvSpPr>
          <p:cNvPr id="2200" name="Rectangle 2199">
            <a:extLst>
              <a:ext uri="{FF2B5EF4-FFF2-40B4-BE49-F238E27FC236}">
                <a16:creationId xmlns:a16="http://schemas.microsoft.com/office/drawing/2014/main" id="{9E34CA7D-B54B-37E0-077D-F42DC3E8A8EF}"/>
              </a:ext>
            </a:extLst>
          </p:cNvPr>
          <p:cNvSpPr/>
          <p:nvPr/>
        </p:nvSpPr>
        <p:spPr bwMode="gray">
          <a:xfrm>
            <a:off x="10187213" y="4271152"/>
            <a:ext cx="1173330" cy="294762"/>
          </a:xfrm>
          <a:prstGeom prst="rect">
            <a:avLst/>
          </a:prstGeom>
          <a:noFill/>
          <a:ln w="19050" algn="ctr">
            <a:noFill/>
            <a:prstDash val="dash"/>
            <a:miter lim="800000"/>
            <a:headEnd/>
            <a:tailEnd/>
          </a:ln>
        </p:spPr>
        <p:txBody>
          <a:bodyPr wrap="square" lIns="88900" tIns="72000" rIns="88900" bIns="720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Orchestration of services</a:t>
            </a:r>
          </a:p>
        </p:txBody>
      </p:sp>
      <p:pic>
        <p:nvPicPr>
          <p:cNvPr id="2205" name="Picture 2204">
            <a:extLst>
              <a:ext uri="{FF2B5EF4-FFF2-40B4-BE49-F238E27FC236}">
                <a16:creationId xmlns:a16="http://schemas.microsoft.com/office/drawing/2014/main" id="{1022DFEC-F56B-5A79-5242-F9A2C18C2683}"/>
              </a:ext>
            </a:extLst>
          </p:cNvPr>
          <p:cNvPicPr>
            <a:picLocks noChangeAspect="1"/>
          </p:cNvPicPr>
          <p:nvPr/>
        </p:nvPicPr>
        <p:blipFill>
          <a:blip r:embed="rId10"/>
          <a:stretch>
            <a:fillRect/>
          </a:stretch>
        </p:blipFill>
        <p:spPr>
          <a:xfrm>
            <a:off x="6923533" y="5483969"/>
            <a:ext cx="1201191" cy="474084"/>
          </a:xfrm>
          <a:prstGeom prst="rect">
            <a:avLst/>
          </a:prstGeom>
        </p:spPr>
      </p:pic>
      <p:sp>
        <p:nvSpPr>
          <p:cNvPr id="2211" name="Rectangle 2210">
            <a:extLst>
              <a:ext uri="{FF2B5EF4-FFF2-40B4-BE49-F238E27FC236}">
                <a16:creationId xmlns:a16="http://schemas.microsoft.com/office/drawing/2014/main" id="{78BD5F5B-9A8B-2032-5DD0-5723E535A375}"/>
              </a:ext>
            </a:extLst>
          </p:cNvPr>
          <p:cNvSpPr/>
          <p:nvPr/>
        </p:nvSpPr>
        <p:spPr bwMode="gray">
          <a:xfrm>
            <a:off x="6772354" y="5906860"/>
            <a:ext cx="1685646" cy="247695"/>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Performance monitor</a:t>
            </a:r>
          </a:p>
        </p:txBody>
      </p:sp>
      <p:cxnSp>
        <p:nvCxnSpPr>
          <p:cNvPr id="35" name="Elbow Connector 211">
            <a:extLst>
              <a:ext uri="{FF2B5EF4-FFF2-40B4-BE49-F238E27FC236}">
                <a16:creationId xmlns:a16="http://schemas.microsoft.com/office/drawing/2014/main" id="{F5579C02-C7F8-77C0-432F-E8D4F7F28652}"/>
              </a:ext>
            </a:extLst>
          </p:cNvPr>
          <p:cNvCxnSpPr>
            <a:cxnSpLocks/>
            <a:stCxn id="2211" idx="2"/>
            <a:endCxn id="46" idx="3"/>
          </p:cNvCxnSpPr>
          <p:nvPr/>
        </p:nvCxnSpPr>
        <p:spPr>
          <a:xfrm rot="5400000">
            <a:off x="6580288" y="5142092"/>
            <a:ext cx="22427" cy="2047353"/>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0447DF2E-0FBC-9D8B-13D9-7F9645A8FE7F}"/>
              </a:ext>
            </a:extLst>
          </p:cNvPr>
          <p:cNvGrpSpPr/>
          <p:nvPr/>
        </p:nvGrpSpPr>
        <p:grpSpPr>
          <a:xfrm>
            <a:off x="3969007" y="5957017"/>
            <a:ext cx="1598817" cy="439930"/>
            <a:chOff x="2979031" y="6026584"/>
            <a:chExt cx="1598817" cy="439930"/>
          </a:xfrm>
        </p:grpSpPr>
        <p:sp>
          <p:nvSpPr>
            <p:cNvPr id="46" name="Rectangle 45">
              <a:extLst>
                <a:ext uri="{FF2B5EF4-FFF2-40B4-BE49-F238E27FC236}">
                  <a16:creationId xmlns:a16="http://schemas.microsoft.com/office/drawing/2014/main" id="{CF4758B5-DB1C-A99D-AC59-48B999A3BD11}"/>
                </a:ext>
              </a:extLst>
            </p:cNvPr>
            <p:cNvSpPr/>
            <p:nvPr/>
          </p:nvSpPr>
          <p:spPr bwMode="gray">
            <a:xfrm>
              <a:off x="2979031" y="6026584"/>
              <a:ext cx="1598817" cy="43993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dirty="0">
                  <a:ln>
                    <a:noFill/>
                  </a:ln>
                  <a:solidFill>
                    <a:srgbClr val="002060"/>
                  </a:solidFill>
                  <a:effectLst/>
                  <a:uLnTx/>
                  <a:uFillTx/>
                  <a:latin typeface="Calibri"/>
                  <a:ea typeface="+mn-ea"/>
                  <a:cs typeface="+mn-cs"/>
                </a:rPr>
                <a:t>Email Alerts</a:t>
              </a:r>
            </a:p>
          </p:txBody>
        </p:sp>
        <p:pic>
          <p:nvPicPr>
            <p:cNvPr id="68" name="Picture 67">
              <a:extLst>
                <a:ext uri="{FF2B5EF4-FFF2-40B4-BE49-F238E27FC236}">
                  <a16:creationId xmlns:a16="http://schemas.microsoft.com/office/drawing/2014/main" id="{5FEF86BB-5E23-7053-10B1-B5DF08364E42}"/>
                </a:ext>
              </a:extLst>
            </p:cNvPr>
            <p:cNvPicPr>
              <a:picLocks noChangeAspect="1"/>
            </p:cNvPicPr>
            <p:nvPr/>
          </p:nvPicPr>
          <p:blipFill>
            <a:blip r:embed="rId11"/>
            <a:stretch>
              <a:fillRect/>
            </a:stretch>
          </p:blipFill>
          <p:spPr>
            <a:xfrm>
              <a:off x="4077141" y="6056423"/>
              <a:ext cx="414203" cy="399023"/>
            </a:xfrm>
            <a:prstGeom prst="rect">
              <a:avLst/>
            </a:prstGeom>
          </p:spPr>
        </p:pic>
      </p:grpSp>
      <p:pic>
        <p:nvPicPr>
          <p:cNvPr id="43" name="Picture 42">
            <a:extLst>
              <a:ext uri="{FF2B5EF4-FFF2-40B4-BE49-F238E27FC236}">
                <a16:creationId xmlns:a16="http://schemas.microsoft.com/office/drawing/2014/main" id="{C1A461AC-E69E-A0D9-8B65-CB41F7498C95}"/>
              </a:ext>
            </a:extLst>
          </p:cNvPr>
          <p:cNvPicPr>
            <a:picLocks noChangeAspect="1"/>
          </p:cNvPicPr>
          <p:nvPr/>
        </p:nvPicPr>
        <p:blipFill>
          <a:blip r:embed="rId12"/>
          <a:stretch>
            <a:fillRect/>
          </a:stretch>
        </p:blipFill>
        <p:spPr>
          <a:xfrm>
            <a:off x="11332289" y="3123387"/>
            <a:ext cx="517943" cy="631890"/>
          </a:xfrm>
          <a:prstGeom prst="rect">
            <a:avLst/>
          </a:prstGeom>
        </p:spPr>
      </p:pic>
      <p:pic>
        <p:nvPicPr>
          <p:cNvPr id="72" name="Picture 71">
            <a:extLst>
              <a:ext uri="{FF2B5EF4-FFF2-40B4-BE49-F238E27FC236}">
                <a16:creationId xmlns:a16="http://schemas.microsoft.com/office/drawing/2014/main" id="{BF110D08-549E-66CD-1ECD-177116BDBCEF}"/>
              </a:ext>
            </a:extLst>
          </p:cNvPr>
          <p:cNvPicPr>
            <a:picLocks noChangeAspect="1"/>
          </p:cNvPicPr>
          <p:nvPr/>
        </p:nvPicPr>
        <p:blipFill>
          <a:blip r:embed="rId13"/>
          <a:stretch>
            <a:fillRect/>
          </a:stretch>
        </p:blipFill>
        <p:spPr>
          <a:xfrm>
            <a:off x="11291507" y="3966135"/>
            <a:ext cx="622125" cy="671675"/>
          </a:xfrm>
          <a:prstGeom prst="rect">
            <a:avLst/>
          </a:prstGeom>
        </p:spPr>
      </p:pic>
      <p:cxnSp>
        <p:nvCxnSpPr>
          <p:cNvPr id="73" name="Straight Arrow Connector 72">
            <a:extLst>
              <a:ext uri="{FF2B5EF4-FFF2-40B4-BE49-F238E27FC236}">
                <a16:creationId xmlns:a16="http://schemas.microsoft.com/office/drawing/2014/main" id="{3D55C69E-FFCD-BBEE-4741-4BCCBCA62DA6}"/>
              </a:ext>
            </a:extLst>
          </p:cNvPr>
          <p:cNvCxnSpPr>
            <a:cxnSpLocks/>
            <a:stCxn id="43" idx="2"/>
            <a:endCxn id="72" idx="0"/>
          </p:cNvCxnSpPr>
          <p:nvPr/>
        </p:nvCxnSpPr>
        <p:spPr>
          <a:xfrm>
            <a:off x="11591261" y="3755277"/>
            <a:ext cx="11309" cy="21085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33E284AD-9D5C-1624-71FE-681FC9D0C50B}"/>
              </a:ext>
            </a:extLst>
          </p:cNvPr>
          <p:cNvPicPr>
            <a:picLocks noChangeAspect="1"/>
          </p:cNvPicPr>
          <p:nvPr/>
        </p:nvPicPr>
        <p:blipFill>
          <a:blip r:embed="rId14"/>
          <a:stretch>
            <a:fillRect/>
          </a:stretch>
        </p:blipFill>
        <p:spPr>
          <a:xfrm>
            <a:off x="11304751" y="4874128"/>
            <a:ext cx="583823" cy="223034"/>
          </a:xfrm>
          <a:prstGeom prst="rect">
            <a:avLst/>
          </a:prstGeom>
        </p:spPr>
      </p:pic>
      <p:cxnSp>
        <p:nvCxnSpPr>
          <p:cNvPr id="87" name="Straight Arrow Connector 86">
            <a:extLst>
              <a:ext uri="{FF2B5EF4-FFF2-40B4-BE49-F238E27FC236}">
                <a16:creationId xmlns:a16="http://schemas.microsoft.com/office/drawing/2014/main" id="{74BEFC6D-B85B-FB51-0711-780DCB2A6761}"/>
              </a:ext>
            </a:extLst>
          </p:cNvPr>
          <p:cNvCxnSpPr>
            <a:cxnSpLocks/>
            <a:stCxn id="72" idx="2"/>
            <a:endCxn id="86" idx="0"/>
          </p:cNvCxnSpPr>
          <p:nvPr/>
        </p:nvCxnSpPr>
        <p:spPr>
          <a:xfrm flipH="1">
            <a:off x="11596663" y="4637810"/>
            <a:ext cx="5907" cy="23631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89">
            <a:extLst>
              <a:ext uri="{FF2B5EF4-FFF2-40B4-BE49-F238E27FC236}">
                <a16:creationId xmlns:a16="http://schemas.microsoft.com/office/drawing/2014/main" id="{484DBEDB-C921-0E8B-0899-FC4A0E795D21}"/>
              </a:ext>
            </a:extLst>
          </p:cNvPr>
          <p:cNvCxnSpPr>
            <a:cxnSpLocks/>
            <a:stCxn id="2197" idx="0"/>
            <a:endCxn id="43" idx="1"/>
          </p:cNvCxnSpPr>
          <p:nvPr/>
        </p:nvCxnSpPr>
        <p:spPr>
          <a:xfrm rot="5400000" flipH="1" flipV="1">
            <a:off x="10448503" y="3718117"/>
            <a:ext cx="1162571" cy="605002"/>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19" name="Picture 118">
            <a:extLst>
              <a:ext uri="{FF2B5EF4-FFF2-40B4-BE49-F238E27FC236}">
                <a16:creationId xmlns:a16="http://schemas.microsoft.com/office/drawing/2014/main" id="{86C8F51B-0D07-973C-2F68-B005D2E12372}"/>
              </a:ext>
            </a:extLst>
          </p:cNvPr>
          <p:cNvPicPr>
            <a:picLocks noChangeAspect="1"/>
          </p:cNvPicPr>
          <p:nvPr/>
        </p:nvPicPr>
        <p:blipFill>
          <a:blip r:embed="rId15"/>
          <a:stretch>
            <a:fillRect/>
          </a:stretch>
        </p:blipFill>
        <p:spPr>
          <a:xfrm flipV="1">
            <a:off x="9840091" y="2128950"/>
            <a:ext cx="435872" cy="395513"/>
          </a:xfrm>
          <a:prstGeom prst="rect">
            <a:avLst/>
          </a:prstGeom>
        </p:spPr>
      </p:pic>
      <p:sp>
        <p:nvSpPr>
          <p:cNvPr id="130" name="Rectangle 129">
            <a:extLst>
              <a:ext uri="{FF2B5EF4-FFF2-40B4-BE49-F238E27FC236}">
                <a16:creationId xmlns:a16="http://schemas.microsoft.com/office/drawing/2014/main" id="{2541ADA9-0FB7-F949-0D7F-4F2F9310A780}"/>
              </a:ext>
            </a:extLst>
          </p:cNvPr>
          <p:cNvSpPr/>
          <p:nvPr/>
        </p:nvSpPr>
        <p:spPr bwMode="gray">
          <a:xfrm>
            <a:off x="9211825" y="2523683"/>
            <a:ext cx="1826529" cy="32301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Kubernetes </a:t>
            </a:r>
            <a:r>
              <a:rPr kumimoji="0" lang="en-US" sz="1050" b="1" i="0" u="none" strike="noStrike" kern="1200" cap="none" spc="0" normalizeH="0" baseline="0" noProof="0" dirty="0">
                <a:ln>
                  <a:noFill/>
                </a:ln>
                <a:solidFill>
                  <a:srgbClr val="002060"/>
                </a:solidFill>
                <a:effectLst/>
                <a:uLnTx/>
                <a:uFillTx/>
                <a:latin typeface="Calibri"/>
                <a:ea typeface="+mn-ea"/>
                <a:cs typeface="+mn-cs"/>
              </a:rPr>
              <a:t>AutoScaling(CPU,GPU)</a:t>
            </a:r>
          </a:p>
        </p:txBody>
      </p:sp>
      <p:grpSp>
        <p:nvGrpSpPr>
          <p:cNvPr id="168" name="Group 167">
            <a:extLst>
              <a:ext uri="{FF2B5EF4-FFF2-40B4-BE49-F238E27FC236}">
                <a16:creationId xmlns:a16="http://schemas.microsoft.com/office/drawing/2014/main" id="{D446DD65-6A1F-8D05-B5E0-D6FDEA02FF18}"/>
              </a:ext>
            </a:extLst>
          </p:cNvPr>
          <p:cNvGrpSpPr/>
          <p:nvPr/>
        </p:nvGrpSpPr>
        <p:grpSpPr>
          <a:xfrm>
            <a:off x="2197521" y="2377494"/>
            <a:ext cx="2320214" cy="652858"/>
            <a:chOff x="2197521" y="2349076"/>
            <a:chExt cx="2701042" cy="652858"/>
          </a:xfrm>
        </p:grpSpPr>
        <p:sp>
          <p:nvSpPr>
            <p:cNvPr id="174" name="Rectangle 173">
              <a:extLst>
                <a:ext uri="{FF2B5EF4-FFF2-40B4-BE49-F238E27FC236}">
                  <a16:creationId xmlns:a16="http://schemas.microsoft.com/office/drawing/2014/main" id="{7C4F63A0-42A4-8714-2E9F-83105EBBB331}"/>
                </a:ext>
              </a:extLst>
            </p:cNvPr>
            <p:cNvSpPr/>
            <p:nvPr/>
          </p:nvSpPr>
          <p:spPr bwMode="gray">
            <a:xfrm>
              <a:off x="2197521" y="2349076"/>
              <a:ext cx="2701042" cy="652858"/>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285750" marR="0" lvl="0" indent="-285750"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lang="en-US" sz="1100" b="1" dirty="0">
                  <a:solidFill>
                    <a:srgbClr val="002060"/>
                  </a:solidFill>
                  <a:latin typeface="Calibri"/>
                </a:rPr>
                <a:t>Model Registry</a:t>
              </a:r>
            </a:p>
            <a:p>
              <a:pPr marL="285750" marR="0" lvl="0" indent="-285750"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2060"/>
                  </a:solidFill>
                  <a:effectLst/>
                  <a:uLnTx/>
                  <a:uFillTx/>
                  <a:latin typeface="Calibri"/>
                  <a:ea typeface="+mn-ea"/>
                  <a:cs typeface="+mn-cs"/>
                </a:rPr>
                <a:t>Model Catalog</a:t>
              </a:r>
            </a:p>
            <a:p>
              <a:pPr marL="285750" marR="0" lvl="0" indent="-285750"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2060"/>
                  </a:solidFill>
                  <a:effectLst/>
                  <a:uLnTx/>
                  <a:uFillTx/>
                  <a:latin typeface="Calibri"/>
                  <a:ea typeface="+mn-ea"/>
                  <a:cs typeface="+mn-cs"/>
                </a:rPr>
                <a:t>Experiment tracking</a:t>
              </a:r>
            </a:p>
          </p:txBody>
        </p:sp>
        <p:pic>
          <p:nvPicPr>
            <p:cNvPr id="165" name="Picture 164">
              <a:extLst>
                <a:ext uri="{FF2B5EF4-FFF2-40B4-BE49-F238E27FC236}">
                  <a16:creationId xmlns:a16="http://schemas.microsoft.com/office/drawing/2014/main" id="{C08B431B-955F-47E7-AA4F-CD4904C4EBEC}"/>
                </a:ext>
              </a:extLst>
            </p:cNvPr>
            <p:cNvPicPr>
              <a:picLocks noChangeAspect="1"/>
            </p:cNvPicPr>
            <p:nvPr/>
          </p:nvPicPr>
          <p:blipFill>
            <a:blip r:embed="rId16"/>
            <a:stretch>
              <a:fillRect/>
            </a:stretch>
          </p:blipFill>
          <p:spPr>
            <a:xfrm>
              <a:off x="4088327" y="2363412"/>
              <a:ext cx="789019" cy="615361"/>
            </a:xfrm>
            <a:prstGeom prst="rect">
              <a:avLst/>
            </a:prstGeom>
          </p:spPr>
        </p:pic>
      </p:grpSp>
      <p:sp>
        <p:nvSpPr>
          <p:cNvPr id="169" name="Rectangle 168">
            <a:extLst>
              <a:ext uri="{FF2B5EF4-FFF2-40B4-BE49-F238E27FC236}">
                <a16:creationId xmlns:a16="http://schemas.microsoft.com/office/drawing/2014/main" id="{9CBCCFD4-C87E-17EB-1A38-AF5A48937C15}"/>
              </a:ext>
            </a:extLst>
          </p:cNvPr>
          <p:cNvSpPr/>
          <p:nvPr/>
        </p:nvSpPr>
        <p:spPr bwMode="gray">
          <a:xfrm>
            <a:off x="470890" y="661291"/>
            <a:ext cx="3931483" cy="261394"/>
          </a:xfrm>
          <a:prstGeom prst="rect">
            <a:avLst/>
          </a:prstGeom>
          <a:noFill/>
          <a:ln w="19050" algn="ctr">
            <a:noFill/>
            <a:prstDash val="dash"/>
            <a:miter lim="800000"/>
            <a:headEnd/>
            <a:tailEnd/>
          </a:ln>
        </p:spPr>
        <p:txBody>
          <a:bodyPr wrap="square" lIns="88900" tIns="72000" rIns="88900" bIns="72000" rtlCol="0" anchor="ctr"/>
          <a:lstStyle/>
          <a:p>
            <a:r>
              <a:rPr lang="en-US" sz="900" dirty="0"/>
              <a:t>Note: Its for representation purpose only, will finalize Architecture post evaluation of current Architecture</a:t>
            </a:r>
          </a:p>
        </p:txBody>
      </p:sp>
      <p:pic>
        <p:nvPicPr>
          <p:cNvPr id="175" name="Picture 2" descr="Python (programming language) - Wikipedia">
            <a:extLst>
              <a:ext uri="{FF2B5EF4-FFF2-40B4-BE49-F238E27FC236}">
                <a16:creationId xmlns:a16="http://schemas.microsoft.com/office/drawing/2014/main" id="{DFE3F89F-C3FB-53A6-91AD-C2F789E6CE4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07388" y="3985925"/>
            <a:ext cx="202723" cy="222617"/>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2" descr="Python (programming language) - Wikipedia">
            <a:extLst>
              <a:ext uri="{FF2B5EF4-FFF2-40B4-BE49-F238E27FC236}">
                <a16:creationId xmlns:a16="http://schemas.microsoft.com/office/drawing/2014/main" id="{1362973B-38FD-02FB-DC9F-C5CB73458F9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108157" y="1150985"/>
            <a:ext cx="202723" cy="222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1911466"/>
      </p:ext>
    </p:extLst>
  </p:cSld>
  <p:clrMapOvr>
    <a:masterClrMapping/>
  </p:clrMapOvr>
  <p:transition>
    <p:fade/>
  </p:transition>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Can 33">
            <a:extLst>
              <a:ext uri="{FF2B5EF4-FFF2-40B4-BE49-F238E27FC236}">
                <a16:creationId xmlns:a16="http://schemas.microsoft.com/office/drawing/2014/main" id="{FE4A9AC2-8DE1-66FA-CA04-B14C86172D8D}"/>
              </a:ext>
            </a:extLst>
          </p:cNvPr>
          <p:cNvSpPr/>
          <p:nvPr/>
        </p:nvSpPr>
        <p:spPr bwMode="gray">
          <a:xfrm>
            <a:off x="570369" y="3846941"/>
            <a:ext cx="972032" cy="612919"/>
          </a:xfrm>
          <a:prstGeom prst="can">
            <a:avLst>
              <a:gd name="adj" fmla="val 21037"/>
            </a:avLst>
          </a:prstGeom>
          <a:solidFill>
            <a:schemeClr val="accent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120" name="Rectangle 119">
            <a:extLst>
              <a:ext uri="{FF2B5EF4-FFF2-40B4-BE49-F238E27FC236}">
                <a16:creationId xmlns:a16="http://schemas.microsoft.com/office/drawing/2014/main" id="{770F7DA2-4EEF-D9E1-95E0-1AAE0BB2F32E}"/>
              </a:ext>
            </a:extLst>
          </p:cNvPr>
          <p:cNvSpPr>
            <a:spLocks noGrp="1" noRot="1" noMove="1" noResize="1" noEditPoints="1" noAdjustHandles="1" noChangeArrowheads="1" noChangeShapeType="1"/>
          </p:cNvSpPr>
          <p:nvPr/>
        </p:nvSpPr>
        <p:spPr bwMode="gray">
          <a:xfrm>
            <a:off x="8201134" y="747634"/>
            <a:ext cx="3990866" cy="2075696"/>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CI/CD Build ,test, package pipeline components</a:t>
            </a:r>
          </a:p>
        </p:txBody>
      </p:sp>
      <p:sp>
        <p:nvSpPr>
          <p:cNvPr id="2" name="Text Placeholder 1">
            <a:extLst>
              <a:ext uri="{FF2B5EF4-FFF2-40B4-BE49-F238E27FC236}">
                <a16:creationId xmlns:a16="http://schemas.microsoft.com/office/drawing/2014/main" id="{37BFA118-F11F-7DF1-7578-F520E15BA3F5}"/>
              </a:ext>
            </a:extLst>
          </p:cNvPr>
          <p:cNvSpPr>
            <a:spLocks noGrp="1"/>
          </p:cNvSpPr>
          <p:nvPr>
            <p:ph type="body" sz="quarter" idx="13"/>
          </p:nvPr>
        </p:nvSpPr>
        <p:spPr>
          <a:xfrm>
            <a:off x="527882" y="237811"/>
            <a:ext cx="9784080" cy="334100"/>
          </a:xfrm>
        </p:spPr>
        <p:txBody>
          <a:bodyPr/>
          <a:lstStyle/>
          <a:p>
            <a:r>
              <a:rPr lang="en-US" sz="1600"/>
              <a:t>Key components &amp; roles for implementing AIOps </a:t>
            </a:r>
          </a:p>
        </p:txBody>
      </p:sp>
      <p:sp>
        <p:nvSpPr>
          <p:cNvPr id="3" name="Title 2">
            <a:extLst>
              <a:ext uri="{FF2B5EF4-FFF2-40B4-BE49-F238E27FC236}">
                <a16:creationId xmlns:a16="http://schemas.microsoft.com/office/drawing/2014/main" id="{FB6A9D2F-20F6-E0BB-DE74-9560790E75C2}"/>
              </a:ext>
            </a:extLst>
          </p:cNvPr>
          <p:cNvSpPr>
            <a:spLocks noGrp="1"/>
          </p:cNvSpPr>
          <p:nvPr>
            <p:ph type="title"/>
          </p:nvPr>
        </p:nvSpPr>
        <p:spPr>
          <a:xfrm>
            <a:off x="501650" y="19554"/>
            <a:ext cx="11256264" cy="334099"/>
          </a:xfrm>
        </p:spPr>
        <p:txBody>
          <a:bodyPr/>
          <a:lstStyle/>
          <a:p>
            <a:r>
              <a:rPr lang="en-US" sz="2000" b="1"/>
              <a:t>Deloitte’s Framework to Implement </a:t>
            </a:r>
            <a:r>
              <a:rPr lang="en-US"/>
              <a:t>AI</a:t>
            </a:r>
            <a:r>
              <a:rPr lang="en-US" sz="2000" b="1"/>
              <a:t>Ops </a:t>
            </a:r>
          </a:p>
        </p:txBody>
      </p:sp>
      <p:grpSp>
        <p:nvGrpSpPr>
          <p:cNvPr id="4" name="Group 3">
            <a:extLst>
              <a:ext uri="{FF2B5EF4-FFF2-40B4-BE49-F238E27FC236}">
                <a16:creationId xmlns:a16="http://schemas.microsoft.com/office/drawing/2014/main" id="{EB040B45-0A76-9CBF-0DDB-60A8DA6F5EEC}"/>
              </a:ext>
            </a:extLst>
          </p:cNvPr>
          <p:cNvGrpSpPr/>
          <p:nvPr/>
        </p:nvGrpSpPr>
        <p:grpSpPr>
          <a:xfrm>
            <a:off x="5231827" y="6493806"/>
            <a:ext cx="4628410" cy="291830"/>
            <a:chOff x="2402733" y="6459166"/>
            <a:chExt cx="4628410" cy="291830"/>
          </a:xfrm>
        </p:grpSpPr>
        <p:sp>
          <p:nvSpPr>
            <p:cNvPr id="5" name="Rectangle 4">
              <a:extLst>
                <a:ext uri="{FF2B5EF4-FFF2-40B4-BE49-F238E27FC236}">
                  <a16:creationId xmlns:a16="http://schemas.microsoft.com/office/drawing/2014/main" id="{9B6539E8-7A1B-7D02-595F-FAA6AA164BC9}"/>
                </a:ext>
              </a:extLst>
            </p:cNvPr>
            <p:cNvSpPr/>
            <p:nvPr/>
          </p:nvSpPr>
          <p:spPr bwMode="gray">
            <a:xfrm>
              <a:off x="2402733" y="6459166"/>
              <a:ext cx="4562272" cy="291830"/>
            </a:xfrm>
            <a:prstGeom prst="rect">
              <a:avLst/>
            </a:prstGeom>
            <a:solidFill>
              <a:schemeClr val="bg1">
                <a:alpha val="2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9925F83D-0A9C-44CB-5BC9-A785A2C3147B}"/>
                </a:ext>
              </a:extLst>
            </p:cNvPr>
            <p:cNvSpPr/>
            <p:nvPr/>
          </p:nvSpPr>
          <p:spPr bwMode="gray">
            <a:xfrm>
              <a:off x="2489305" y="6569852"/>
              <a:ext cx="274357" cy="89352"/>
            </a:xfrm>
            <a:prstGeom prst="rect">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E2B4CEB1-A0A3-8CD6-756E-F74CDD211E71}"/>
                </a:ext>
              </a:extLst>
            </p:cNvPr>
            <p:cNvSpPr/>
            <p:nvPr/>
          </p:nvSpPr>
          <p:spPr bwMode="gray">
            <a:xfrm>
              <a:off x="3740737" y="6564174"/>
              <a:ext cx="274357" cy="89351"/>
            </a:xfrm>
            <a:prstGeom prst="rect">
              <a:avLst/>
            </a:prstGeom>
            <a:solidFill>
              <a:schemeClr val="accent1">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48BD287-24C8-7682-5FCD-00B68D59F42C}"/>
                </a:ext>
              </a:extLst>
            </p:cNvPr>
            <p:cNvSpPr/>
            <p:nvPr/>
          </p:nvSpPr>
          <p:spPr bwMode="gray">
            <a:xfrm>
              <a:off x="5761462" y="6564174"/>
              <a:ext cx="274357" cy="89351"/>
            </a:xfrm>
            <a:prstGeom prst="rect">
              <a:avLst/>
            </a:prstGeom>
            <a:solidFill>
              <a:schemeClr val="accent3">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13DBAFE-80F9-E3A5-D3E9-C9C3388CF79B}"/>
                </a:ext>
              </a:extLst>
            </p:cNvPr>
            <p:cNvSpPr/>
            <p:nvPr/>
          </p:nvSpPr>
          <p:spPr bwMode="gray">
            <a:xfrm>
              <a:off x="2733897" y="6516417"/>
              <a:ext cx="838160" cy="15625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I, CD, CT</a:t>
              </a:r>
            </a:p>
          </p:txBody>
        </p:sp>
        <p:sp>
          <p:nvSpPr>
            <p:cNvPr id="10" name="Rectangle 9">
              <a:extLst>
                <a:ext uri="{FF2B5EF4-FFF2-40B4-BE49-F238E27FC236}">
                  <a16:creationId xmlns:a16="http://schemas.microsoft.com/office/drawing/2014/main" id="{7654661B-E893-2623-D235-316ADAEA2491}"/>
                </a:ext>
              </a:extLst>
            </p:cNvPr>
            <p:cNvSpPr/>
            <p:nvPr/>
          </p:nvSpPr>
          <p:spPr bwMode="gray">
            <a:xfrm>
              <a:off x="3821747" y="6536899"/>
              <a:ext cx="1886246" cy="149133"/>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Management &amp; Reports</a:t>
              </a:r>
            </a:p>
          </p:txBody>
        </p:sp>
        <p:sp>
          <p:nvSpPr>
            <p:cNvPr id="11" name="Rectangle 10">
              <a:extLst>
                <a:ext uri="{FF2B5EF4-FFF2-40B4-BE49-F238E27FC236}">
                  <a16:creationId xmlns:a16="http://schemas.microsoft.com/office/drawing/2014/main" id="{6EDF7A1B-A0E0-9FDD-9FAD-F9271315331D}"/>
                </a:ext>
              </a:extLst>
            </p:cNvPr>
            <p:cNvSpPr/>
            <p:nvPr/>
          </p:nvSpPr>
          <p:spPr bwMode="gray">
            <a:xfrm>
              <a:off x="5901033" y="6536900"/>
              <a:ext cx="1130110" cy="143900"/>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Building</a:t>
              </a:r>
            </a:p>
          </p:txBody>
        </p:sp>
        <p:cxnSp>
          <p:nvCxnSpPr>
            <p:cNvPr id="12" name="Elbow Connector 97">
              <a:extLst>
                <a:ext uri="{FF2B5EF4-FFF2-40B4-BE49-F238E27FC236}">
                  <a16:creationId xmlns:a16="http://schemas.microsoft.com/office/drawing/2014/main" id="{07C75BD7-14FE-9088-F5F1-33332C59A7CF}"/>
                </a:ext>
              </a:extLst>
            </p:cNvPr>
            <p:cNvCxnSpPr/>
            <p:nvPr/>
          </p:nvCxnSpPr>
          <p:spPr>
            <a:xfrm rot="10800000" flipH="1" flipV="1">
              <a:off x="2518930" y="6692950"/>
              <a:ext cx="860087" cy="419"/>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0504E59-C5D3-EF5A-2BE7-3756FF7D566B}"/>
              </a:ext>
            </a:extLst>
          </p:cNvPr>
          <p:cNvGrpSpPr/>
          <p:nvPr/>
        </p:nvGrpSpPr>
        <p:grpSpPr>
          <a:xfrm>
            <a:off x="377378" y="808831"/>
            <a:ext cx="11671378" cy="5473943"/>
            <a:chOff x="216838" y="971321"/>
            <a:chExt cx="11916586" cy="5588946"/>
          </a:xfrm>
        </p:grpSpPr>
        <p:grpSp>
          <p:nvGrpSpPr>
            <p:cNvPr id="14" name="Group 13">
              <a:extLst>
                <a:ext uri="{FF2B5EF4-FFF2-40B4-BE49-F238E27FC236}">
                  <a16:creationId xmlns:a16="http://schemas.microsoft.com/office/drawing/2014/main" id="{B0BD7CE2-9506-3C36-0EC5-B1E776F19DA5}"/>
                </a:ext>
              </a:extLst>
            </p:cNvPr>
            <p:cNvGrpSpPr/>
            <p:nvPr/>
          </p:nvGrpSpPr>
          <p:grpSpPr>
            <a:xfrm>
              <a:off x="216838" y="971321"/>
              <a:ext cx="11916586" cy="5588946"/>
              <a:chOff x="216838" y="844368"/>
              <a:chExt cx="11916586" cy="5588946"/>
            </a:xfrm>
          </p:grpSpPr>
          <p:cxnSp>
            <p:nvCxnSpPr>
              <p:cNvPr id="53" name="Elbow Connector 167">
                <a:extLst>
                  <a:ext uri="{FF2B5EF4-FFF2-40B4-BE49-F238E27FC236}">
                    <a16:creationId xmlns:a16="http://schemas.microsoft.com/office/drawing/2014/main" id="{6065E023-68F6-2D6E-E9AC-AD7A2DF3FF8F}"/>
                  </a:ext>
                </a:extLst>
              </p:cNvPr>
              <p:cNvCxnSpPr>
                <a:cxnSpLocks/>
                <a:stCxn id="39" idx="0"/>
                <a:endCxn id="144" idx="0"/>
              </p:cNvCxnSpPr>
              <p:nvPr/>
            </p:nvCxnSpPr>
            <p:spPr>
              <a:xfrm rot="5400000" flipH="1" flipV="1">
                <a:off x="2820843" y="3454458"/>
                <a:ext cx="1531222" cy="2798726"/>
              </a:xfrm>
              <a:prstGeom prst="bentConnector5">
                <a:avLst>
                  <a:gd name="adj1" fmla="val 14879"/>
                  <a:gd name="adj2" fmla="val 124"/>
                  <a:gd name="adj3" fmla="val 115243"/>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181B19B-5382-0EC0-C52B-081CF49B9153}"/>
                  </a:ext>
                </a:extLst>
              </p:cNvPr>
              <p:cNvSpPr/>
              <p:nvPr/>
            </p:nvSpPr>
            <p:spPr bwMode="gray">
              <a:xfrm>
                <a:off x="1532327" y="1161431"/>
                <a:ext cx="5489217" cy="977774"/>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Use Cases/Models(Development, UAT)</a:t>
                </a:r>
              </a:p>
            </p:txBody>
          </p:sp>
          <p:sp>
            <p:nvSpPr>
              <p:cNvPr id="18" name="Rectangle 17">
                <a:extLst>
                  <a:ext uri="{FF2B5EF4-FFF2-40B4-BE49-F238E27FC236}">
                    <a16:creationId xmlns:a16="http://schemas.microsoft.com/office/drawing/2014/main" id="{44DA6F56-341C-393D-8BAB-3A6DEB8F0ED9}"/>
                  </a:ext>
                </a:extLst>
              </p:cNvPr>
              <p:cNvSpPr/>
              <p:nvPr/>
            </p:nvSpPr>
            <p:spPr bwMode="gray">
              <a:xfrm>
                <a:off x="1603711"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9" name="Rectangle 18">
                <a:extLst>
                  <a:ext uri="{FF2B5EF4-FFF2-40B4-BE49-F238E27FC236}">
                    <a16:creationId xmlns:a16="http://schemas.microsoft.com/office/drawing/2014/main" id="{84A70906-8745-E87E-BF58-4A81EBE1E786}"/>
                  </a:ext>
                </a:extLst>
              </p:cNvPr>
              <p:cNvSpPr/>
              <p:nvPr/>
            </p:nvSpPr>
            <p:spPr bwMode="gray">
              <a:xfrm>
                <a:off x="2718242" y="1450557"/>
                <a:ext cx="804049"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20" name="Rectangle 19">
                <a:extLst>
                  <a:ext uri="{FF2B5EF4-FFF2-40B4-BE49-F238E27FC236}">
                    <a16:creationId xmlns:a16="http://schemas.microsoft.com/office/drawing/2014/main" id="{3FDC9D51-4B39-7DB2-E8FD-94B19505599C}"/>
                  </a:ext>
                </a:extLst>
              </p:cNvPr>
              <p:cNvSpPr/>
              <p:nvPr/>
            </p:nvSpPr>
            <p:spPr bwMode="gray">
              <a:xfrm>
                <a:off x="3856418"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21" name="Rectangle 20">
                <a:extLst>
                  <a:ext uri="{FF2B5EF4-FFF2-40B4-BE49-F238E27FC236}">
                    <a16:creationId xmlns:a16="http://schemas.microsoft.com/office/drawing/2014/main" id="{09E98C58-89C2-3CA8-9A6F-EAAADD47CD2A}"/>
                  </a:ext>
                </a:extLst>
              </p:cNvPr>
              <p:cNvSpPr/>
              <p:nvPr/>
            </p:nvSpPr>
            <p:spPr bwMode="gray">
              <a:xfrm>
                <a:off x="4982772"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22" name="Rectangle 21">
                <a:extLst>
                  <a:ext uri="{FF2B5EF4-FFF2-40B4-BE49-F238E27FC236}">
                    <a16:creationId xmlns:a16="http://schemas.microsoft.com/office/drawing/2014/main" id="{FD4AD23A-E19E-DBD0-E270-5E9C868C453E}"/>
                  </a:ext>
                </a:extLst>
              </p:cNvPr>
              <p:cNvSpPr/>
              <p:nvPr/>
            </p:nvSpPr>
            <p:spPr bwMode="gray">
              <a:xfrm>
                <a:off x="6109124"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23" name="Straight Arrow Connector 22">
                <a:extLst>
                  <a:ext uri="{FF2B5EF4-FFF2-40B4-BE49-F238E27FC236}">
                    <a16:creationId xmlns:a16="http://schemas.microsoft.com/office/drawing/2014/main" id="{D568F0DA-046A-BD2A-B4F3-A313AF28AE7F}"/>
                  </a:ext>
                </a:extLst>
              </p:cNvPr>
              <p:cNvCxnSpPr>
                <a:stCxn id="18" idx="3"/>
                <a:endCxn id="19" idx="1"/>
              </p:cNvCxnSpPr>
              <p:nvPr/>
            </p:nvCxnSpPr>
            <p:spPr>
              <a:xfrm>
                <a:off x="2384113" y="1712913"/>
                <a:ext cx="334129"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0C2A27-CB2D-7CE6-E0E3-57DD1CA203CD}"/>
                  </a:ext>
                </a:extLst>
              </p:cNvPr>
              <p:cNvCxnSpPr>
                <a:stCxn id="19" idx="3"/>
                <a:endCxn id="20" idx="1"/>
              </p:cNvCxnSpPr>
              <p:nvPr/>
            </p:nvCxnSpPr>
            <p:spPr>
              <a:xfrm>
                <a:off x="3522291" y="1712913"/>
                <a:ext cx="334127"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EEC5DBC-55C2-B860-143A-45F93009E6CC}"/>
                  </a:ext>
                </a:extLst>
              </p:cNvPr>
              <p:cNvCxnSpPr>
                <a:stCxn id="20" idx="3"/>
                <a:endCxn id="21" idx="1"/>
              </p:cNvCxnSpPr>
              <p:nvPr/>
            </p:nvCxnSpPr>
            <p:spPr>
              <a:xfrm>
                <a:off x="4636820"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6FCAE96-A81D-24CD-7D3A-BDCD444FC759}"/>
                  </a:ext>
                </a:extLst>
              </p:cNvPr>
              <p:cNvCxnSpPr>
                <a:stCxn id="21" idx="3"/>
                <a:endCxn id="22" idx="1"/>
              </p:cNvCxnSpPr>
              <p:nvPr/>
            </p:nvCxnSpPr>
            <p:spPr>
              <a:xfrm>
                <a:off x="5763174"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A42228E-3383-78AF-C8BE-DA264CED4F9F}"/>
                  </a:ext>
                </a:extLst>
              </p:cNvPr>
              <p:cNvSpPr/>
              <p:nvPr/>
            </p:nvSpPr>
            <p:spPr bwMode="gray">
              <a:xfrm>
                <a:off x="5543821" y="844368"/>
                <a:ext cx="944286" cy="264498"/>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29" name="Elbow Connector 36">
                <a:extLst>
                  <a:ext uri="{FF2B5EF4-FFF2-40B4-BE49-F238E27FC236}">
                    <a16:creationId xmlns:a16="http://schemas.microsoft.com/office/drawing/2014/main" id="{0AA20A93-1927-F81E-E77C-17AA79CFE4F8}"/>
                  </a:ext>
                </a:extLst>
              </p:cNvPr>
              <p:cNvCxnSpPr>
                <a:cxnSpLocks/>
                <a:stCxn id="22" idx="0"/>
                <a:endCxn id="28" idx="2"/>
              </p:cNvCxnSpPr>
              <p:nvPr/>
            </p:nvCxnSpPr>
            <p:spPr>
              <a:xfrm rot="16200000" flipV="1">
                <a:off x="6086800" y="1038031"/>
                <a:ext cx="341691" cy="483361"/>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7">
                <a:extLst>
                  <a:ext uri="{FF2B5EF4-FFF2-40B4-BE49-F238E27FC236}">
                    <a16:creationId xmlns:a16="http://schemas.microsoft.com/office/drawing/2014/main" id="{4EC7CE42-03D9-00BD-2D80-9D2DB676EC14}"/>
                  </a:ext>
                </a:extLst>
              </p:cNvPr>
              <p:cNvCxnSpPr>
                <a:cxnSpLocks/>
                <a:stCxn id="28" idx="1"/>
                <a:endCxn id="17" idx="0"/>
              </p:cNvCxnSpPr>
              <p:nvPr/>
            </p:nvCxnSpPr>
            <p:spPr>
              <a:xfrm rot="10800000" flipV="1">
                <a:off x="4276937" y="976617"/>
                <a:ext cx="1266885" cy="184814"/>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D3E2E09-07FB-D9DB-76C1-322B7C94DE8A}"/>
                  </a:ext>
                </a:extLst>
              </p:cNvPr>
              <p:cNvCxnSpPr>
                <a:cxnSpLocks/>
                <a:stCxn id="17" idx="3"/>
              </p:cNvCxnSpPr>
              <p:nvPr/>
            </p:nvCxnSpPr>
            <p:spPr>
              <a:xfrm>
                <a:off x="7021544" y="1650318"/>
                <a:ext cx="1261670" cy="41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B499AC0E-F43A-F81E-F16B-AEB922862BAA}"/>
                  </a:ext>
                </a:extLst>
              </p:cNvPr>
              <p:cNvSpPr/>
              <p:nvPr/>
            </p:nvSpPr>
            <p:spPr bwMode="gray">
              <a:xfrm>
                <a:off x="7187873" y="1177074"/>
                <a:ext cx="973767" cy="54109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ource </a:t>
                </a:r>
                <a:br>
                  <a:rPr kumimoji="0" lang="en-US" sz="800" b="1" i="0" u="none" strike="noStrike" kern="1200" cap="none" spc="0" normalizeH="0" baseline="0" noProof="0">
                    <a:ln>
                      <a:noFill/>
                    </a:ln>
                    <a:solidFill>
                      <a:prstClr val="white"/>
                    </a:solidFill>
                    <a:effectLst/>
                    <a:uLnTx/>
                    <a:uFillTx/>
                    <a:latin typeface="Calibri"/>
                    <a:ea typeface="+mn-ea"/>
                    <a:cs typeface="+mn-cs"/>
                  </a:rPr>
                </a:br>
                <a:r>
                  <a:rPr kumimoji="0" lang="en-US" sz="800" b="1" i="0" u="none" strike="noStrike" kern="1200" cap="none" spc="0" normalizeH="0" baseline="0" noProof="0">
                    <a:ln>
                      <a:noFill/>
                    </a:ln>
                    <a:solidFill>
                      <a:prstClr val="white"/>
                    </a:solidFill>
                    <a:effectLst/>
                    <a:uLnTx/>
                    <a:uFillTx/>
                    <a:latin typeface="Calibri"/>
                    <a:ea typeface="+mn-ea"/>
                    <a:cs typeface="+mn-cs"/>
                  </a:rPr>
                  <a:t>Code</a:t>
                </a:r>
              </a:p>
            </p:txBody>
          </p:sp>
          <p:sp>
            <p:nvSpPr>
              <p:cNvPr id="37" name="Rounded Rectangle 102">
                <a:extLst>
                  <a:ext uri="{FF2B5EF4-FFF2-40B4-BE49-F238E27FC236}">
                    <a16:creationId xmlns:a16="http://schemas.microsoft.com/office/drawing/2014/main" id="{5628D48F-4C44-AC58-E2F0-CBAE966C6F1D}"/>
                  </a:ext>
                </a:extLst>
              </p:cNvPr>
              <p:cNvSpPr/>
              <p:nvPr/>
            </p:nvSpPr>
            <p:spPr bwMode="gray">
              <a:xfrm>
                <a:off x="11236009" y="5888090"/>
                <a:ext cx="877678" cy="545224"/>
              </a:xfrm>
              <a:prstGeom prst="roundRect">
                <a:avLst>
                  <a:gd name="adj" fmla="val 50000"/>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Model Scoring</a:t>
                </a:r>
              </a:p>
            </p:txBody>
          </p:sp>
          <p:sp>
            <p:nvSpPr>
              <p:cNvPr id="39" name="Oval 38">
                <a:extLst>
                  <a:ext uri="{FF2B5EF4-FFF2-40B4-BE49-F238E27FC236}">
                    <a16:creationId xmlns:a16="http://schemas.microsoft.com/office/drawing/2014/main" id="{5CA25ED9-88E1-9B13-692E-D4450EF2B03E}"/>
                  </a:ext>
                </a:extLst>
              </p:cNvPr>
              <p:cNvSpPr/>
              <p:nvPr/>
            </p:nvSpPr>
            <p:spPr bwMode="gray">
              <a:xfrm>
                <a:off x="1543874" y="5619431"/>
                <a:ext cx="1286434" cy="495975"/>
              </a:xfrm>
              <a:prstGeom prst="ellipse">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riggers</a:t>
                </a:r>
              </a:p>
            </p:txBody>
          </p:sp>
          <p:sp>
            <p:nvSpPr>
              <p:cNvPr id="40" name="Flowchart: Magnetic Disk 39">
                <a:extLst>
                  <a:ext uri="{FF2B5EF4-FFF2-40B4-BE49-F238E27FC236}">
                    <a16:creationId xmlns:a16="http://schemas.microsoft.com/office/drawing/2014/main" id="{D0231D0B-9216-B5A7-51D8-2BC299FC3F8F}"/>
                  </a:ext>
                </a:extLst>
              </p:cNvPr>
              <p:cNvSpPr/>
              <p:nvPr/>
            </p:nvSpPr>
            <p:spPr bwMode="gray">
              <a:xfrm>
                <a:off x="3064115" y="5362465"/>
                <a:ext cx="3833392" cy="378997"/>
              </a:xfrm>
              <a:prstGeom prst="flowChartMagneticDisk">
                <a:avLst/>
              </a:prstGeom>
              <a:solidFill>
                <a:schemeClr val="accent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Machine Learning Metadata</a:t>
                </a:r>
              </a:p>
            </p:txBody>
          </p:sp>
          <p:cxnSp>
            <p:nvCxnSpPr>
              <p:cNvPr id="41" name="Straight Arrow Connector 40">
                <a:extLst>
                  <a:ext uri="{FF2B5EF4-FFF2-40B4-BE49-F238E27FC236}">
                    <a16:creationId xmlns:a16="http://schemas.microsoft.com/office/drawing/2014/main" id="{AE54E743-84CB-65C9-6CEE-B467EDC38D53}"/>
                  </a:ext>
                </a:extLst>
              </p:cNvPr>
              <p:cNvCxnSpPr>
                <a:cxnSpLocks/>
                <a:stCxn id="40" idx="1"/>
                <a:endCxn id="144" idx="2"/>
              </p:cNvCxnSpPr>
              <p:nvPr/>
            </p:nvCxnSpPr>
            <p:spPr>
              <a:xfrm flipV="1">
                <a:off x="4980810" y="5163761"/>
                <a:ext cx="5006" cy="198705"/>
              </a:xfrm>
              <a:prstGeom prst="straightConnector1">
                <a:avLst/>
              </a:prstGeom>
              <a:ln w="15875">
                <a:solidFill>
                  <a:schemeClr val="tx1">
                    <a:lumMod val="65000"/>
                    <a:lumOff val="3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36159AA-7214-C0F2-9140-6F3CC6B73107}"/>
                  </a:ext>
                </a:extLst>
              </p:cNvPr>
              <p:cNvCxnSpPr>
                <a:cxnSpLocks/>
              </p:cNvCxnSpPr>
              <p:nvPr/>
            </p:nvCxnSpPr>
            <p:spPr>
              <a:xfrm>
                <a:off x="9292665" y="1654506"/>
                <a:ext cx="285834" cy="67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119">
                <a:extLst>
                  <a:ext uri="{FF2B5EF4-FFF2-40B4-BE49-F238E27FC236}">
                    <a16:creationId xmlns:a16="http://schemas.microsoft.com/office/drawing/2014/main" id="{7700A1E2-1337-7BF9-ED51-5637949A29AB}"/>
                  </a:ext>
                </a:extLst>
              </p:cNvPr>
              <p:cNvCxnSpPr>
                <a:cxnSpLocks/>
              </p:cNvCxnSpPr>
              <p:nvPr/>
            </p:nvCxnSpPr>
            <p:spPr>
              <a:xfrm>
                <a:off x="10773112" y="1655185"/>
                <a:ext cx="707171" cy="58070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Flowchart: Multidocument 44">
                <a:extLst>
                  <a:ext uri="{FF2B5EF4-FFF2-40B4-BE49-F238E27FC236}">
                    <a16:creationId xmlns:a16="http://schemas.microsoft.com/office/drawing/2014/main" id="{CEBE13B8-93C1-5A62-D413-71DFADC27123}"/>
                  </a:ext>
                </a:extLst>
              </p:cNvPr>
              <p:cNvSpPr/>
              <p:nvPr/>
            </p:nvSpPr>
            <p:spPr bwMode="gray">
              <a:xfrm>
                <a:off x="11040808" y="1386759"/>
                <a:ext cx="897531" cy="545224"/>
              </a:xfrm>
              <a:prstGeom prst="flowChartMulti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Packages/API</a:t>
                </a:r>
              </a:p>
            </p:txBody>
          </p:sp>
          <p:grpSp>
            <p:nvGrpSpPr>
              <p:cNvPr id="47" name="Group 46">
                <a:extLst>
                  <a:ext uri="{FF2B5EF4-FFF2-40B4-BE49-F238E27FC236}">
                    <a16:creationId xmlns:a16="http://schemas.microsoft.com/office/drawing/2014/main" id="{FFA5947A-8615-2FA3-916E-6F136311A6F3}"/>
                  </a:ext>
                </a:extLst>
              </p:cNvPr>
              <p:cNvGrpSpPr/>
              <p:nvPr/>
            </p:nvGrpSpPr>
            <p:grpSpPr>
              <a:xfrm>
                <a:off x="1799825" y="4088210"/>
                <a:ext cx="6371983" cy="1075550"/>
                <a:chOff x="-121346" y="2943017"/>
                <a:chExt cx="6435703" cy="987551"/>
              </a:xfrm>
            </p:grpSpPr>
            <p:sp>
              <p:nvSpPr>
                <p:cNvPr id="144" name="Rectangle 143">
                  <a:extLst>
                    <a:ext uri="{FF2B5EF4-FFF2-40B4-BE49-F238E27FC236}">
                      <a16:creationId xmlns:a16="http://schemas.microsoft.com/office/drawing/2014/main" id="{91B9887E-A1A1-0FB7-4928-11595548B566}"/>
                    </a:ext>
                  </a:extLst>
                </p:cNvPr>
                <p:cNvSpPr/>
                <p:nvPr/>
              </p:nvSpPr>
              <p:spPr bwMode="gray">
                <a:xfrm>
                  <a:off x="-121346" y="2943017"/>
                  <a:ext cx="6435703" cy="987551"/>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Automated pipeline to refresh models in Prod (If Triggered )</a:t>
                  </a:r>
                </a:p>
              </p:txBody>
            </p:sp>
            <p:sp>
              <p:nvSpPr>
                <p:cNvPr id="145" name="Rectangle 144">
                  <a:extLst>
                    <a:ext uri="{FF2B5EF4-FFF2-40B4-BE49-F238E27FC236}">
                      <a16:creationId xmlns:a16="http://schemas.microsoft.com/office/drawing/2014/main" id="{DD98D1A7-832A-E864-F911-68E694FE167A}"/>
                    </a:ext>
                  </a:extLst>
                </p:cNvPr>
                <p:cNvSpPr/>
                <p:nvPr/>
              </p:nvSpPr>
              <p:spPr bwMode="gray">
                <a:xfrm>
                  <a:off x="105314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46" name="Rectangle 145">
                  <a:extLst>
                    <a:ext uri="{FF2B5EF4-FFF2-40B4-BE49-F238E27FC236}">
                      <a16:creationId xmlns:a16="http://schemas.microsoft.com/office/drawing/2014/main" id="{71E5ADEA-D05F-9623-DE44-44756A63577A}"/>
                    </a:ext>
                  </a:extLst>
                </p:cNvPr>
                <p:cNvSpPr/>
                <p:nvPr/>
              </p:nvSpPr>
              <p:spPr bwMode="gray">
                <a:xfrm>
                  <a:off x="2130083" y="3264977"/>
                  <a:ext cx="812090"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147" name="Rectangle 146">
                  <a:extLst>
                    <a:ext uri="{FF2B5EF4-FFF2-40B4-BE49-F238E27FC236}">
                      <a16:creationId xmlns:a16="http://schemas.microsoft.com/office/drawing/2014/main" id="{492E4D9C-089B-28E8-FC16-9B012100CE26}"/>
                    </a:ext>
                  </a:extLst>
                </p:cNvPr>
                <p:cNvSpPr/>
                <p:nvPr/>
              </p:nvSpPr>
              <p:spPr bwMode="gray">
                <a:xfrm>
                  <a:off x="3230903"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148" name="Rectangle 147">
                  <a:extLst>
                    <a:ext uri="{FF2B5EF4-FFF2-40B4-BE49-F238E27FC236}">
                      <a16:creationId xmlns:a16="http://schemas.microsoft.com/office/drawing/2014/main" id="{B1FAA321-B46E-14A1-59D5-4163FB58EB01}"/>
                    </a:ext>
                  </a:extLst>
                </p:cNvPr>
                <p:cNvSpPr/>
                <p:nvPr/>
              </p:nvSpPr>
              <p:spPr bwMode="gray">
                <a:xfrm>
                  <a:off x="431185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149" name="Rectangle 148">
                  <a:extLst>
                    <a:ext uri="{FF2B5EF4-FFF2-40B4-BE49-F238E27FC236}">
                      <a16:creationId xmlns:a16="http://schemas.microsoft.com/office/drawing/2014/main" id="{45220B92-248F-630C-603E-E1C590455EB6}"/>
                    </a:ext>
                  </a:extLst>
                </p:cNvPr>
                <p:cNvSpPr/>
                <p:nvPr/>
              </p:nvSpPr>
              <p:spPr bwMode="gray">
                <a:xfrm>
                  <a:off x="5392814"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150" name="Straight Arrow Connector 149">
                  <a:extLst>
                    <a:ext uri="{FF2B5EF4-FFF2-40B4-BE49-F238E27FC236}">
                      <a16:creationId xmlns:a16="http://schemas.microsoft.com/office/drawing/2014/main" id="{F6D80C52-3F70-EAB0-DE15-8012D5EFCD6A}"/>
                    </a:ext>
                  </a:extLst>
                </p:cNvPr>
                <p:cNvCxnSpPr>
                  <a:stCxn id="145" idx="3"/>
                  <a:endCxn id="146" idx="1"/>
                </p:cNvCxnSpPr>
                <p:nvPr/>
              </p:nvCxnSpPr>
              <p:spPr>
                <a:xfrm>
                  <a:off x="1841355" y="3529956"/>
                  <a:ext cx="28872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49282984-5782-FDD9-6EA3-1B24E32A26DB}"/>
                    </a:ext>
                  </a:extLst>
                </p:cNvPr>
                <p:cNvCxnSpPr>
                  <a:stCxn id="146" idx="3"/>
                  <a:endCxn id="147" idx="1"/>
                </p:cNvCxnSpPr>
                <p:nvPr/>
              </p:nvCxnSpPr>
              <p:spPr>
                <a:xfrm>
                  <a:off x="2942172" y="3529956"/>
                  <a:ext cx="28873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2D112E19-BE21-69F0-B6A6-F376960A42F6}"/>
                    </a:ext>
                  </a:extLst>
                </p:cNvPr>
                <p:cNvCxnSpPr>
                  <a:stCxn id="147" idx="3"/>
                  <a:endCxn id="148" idx="1"/>
                </p:cNvCxnSpPr>
                <p:nvPr/>
              </p:nvCxnSpPr>
              <p:spPr>
                <a:xfrm>
                  <a:off x="4019110" y="3529956"/>
                  <a:ext cx="29274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619822CE-DFF4-15B4-D0F4-C3ED92AC80AC}"/>
                    </a:ext>
                  </a:extLst>
                </p:cNvPr>
                <p:cNvCxnSpPr>
                  <a:stCxn id="148" idx="3"/>
                  <a:endCxn id="149" idx="1"/>
                </p:cNvCxnSpPr>
                <p:nvPr/>
              </p:nvCxnSpPr>
              <p:spPr>
                <a:xfrm>
                  <a:off x="5100064"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9A276DCC-BA74-B3CD-6940-6339E56BFC66}"/>
                    </a:ext>
                  </a:extLst>
                </p:cNvPr>
                <p:cNvSpPr/>
                <p:nvPr/>
              </p:nvSpPr>
              <p:spPr bwMode="gray">
                <a:xfrm>
                  <a:off x="-2780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Extraction</a:t>
                  </a:r>
                </a:p>
              </p:txBody>
            </p:sp>
            <p:cxnSp>
              <p:nvCxnSpPr>
                <p:cNvPr id="155" name="Straight Arrow Connector 154">
                  <a:extLst>
                    <a:ext uri="{FF2B5EF4-FFF2-40B4-BE49-F238E27FC236}">
                      <a16:creationId xmlns:a16="http://schemas.microsoft.com/office/drawing/2014/main" id="{F9706F91-D0D0-7CFE-D9AA-B401392BB38D}"/>
                    </a:ext>
                  </a:extLst>
                </p:cNvPr>
                <p:cNvCxnSpPr>
                  <a:stCxn id="154" idx="3"/>
                  <a:endCxn id="145" idx="1"/>
                </p:cNvCxnSpPr>
                <p:nvPr/>
              </p:nvCxnSpPr>
              <p:spPr>
                <a:xfrm>
                  <a:off x="760398"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9" name="Elbow Connector 153">
                <a:extLst>
                  <a:ext uri="{FF2B5EF4-FFF2-40B4-BE49-F238E27FC236}">
                    <a16:creationId xmlns:a16="http://schemas.microsoft.com/office/drawing/2014/main" id="{4A8FCB1E-3634-5FEB-3778-11434684FF34}"/>
                  </a:ext>
                </a:extLst>
              </p:cNvPr>
              <p:cNvCxnSpPr>
                <a:cxnSpLocks/>
                <a:stCxn id="37" idx="1"/>
                <a:endCxn id="2205" idx="3"/>
              </p:cNvCxnSpPr>
              <p:nvPr/>
            </p:nvCxnSpPr>
            <p:spPr>
              <a:xfrm rot="10800000">
                <a:off x="8126952" y="5859750"/>
                <a:ext cx="3109058" cy="300954"/>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56">
                <a:extLst>
                  <a:ext uri="{FF2B5EF4-FFF2-40B4-BE49-F238E27FC236}">
                    <a16:creationId xmlns:a16="http://schemas.microsoft.com/office/drawing/2014/main" id="{D8AF2BBD-0958-49A5-89FE-9F64882E139B}"/>
                  </a:ext>
                </a:extLst>
              </p:cNvPr>
              <p:cNvCxnSpPr>
                <a:cxnSpLocks/>
                <a:stCxn id="2205" idx="1"/>
                <a:endCxn id="39" idx="6"/>
              </p:cNvCxnSpPr>
              <p:nvPr/>
            </p:nvCxnSpPr>
            <p:spPr>
              <a:xfrm rot="10800000" flipV="1">
                <a:off x="2830309" y="5859747"/>
                <a:ext cx="4070216" cy="7671"/>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A9D54D1F-77AA-1B3B-C060-AB7568EA8A01}"/>
                  </a:ext>
                </a:extLst>
              </p:cNvPr>
              <p:cNvSpPr/>
              <p:nvPr/>
            </p:nvSpPr>
            <p:spPr bwMode="gray">
              <a:xfrm>
                <a:off x="3034001" y="5805556"/>
                <a:ext cx="424909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Performance / Distribution of Key Variables / Customer Segments</a:t>
                </a:r>
              </a:p>
            </p:txBody>
          </p:sp>
          <p:cxnSp>
            <p:nvCxnSpPr>
              <p:cNvPr id="52" name="Elbow Connector 160">
                <a:extLst>
                  <a:ext uri="{FF2B5EF4-FFF2-40B4-BE49-F238E27FC236}">
                    <a16:creationId xmlns:a16="http://schemas.microsoft.com/office/drawing/2014/main" id="{2AC90B25-2888-3813-64E1-72806B6FEF5D}"/>
                  </a:ext>
                </a:extLst>
              </p:cNvPr>
              <p:cNvCxnSpPr>
                <a:cxnSpLocks/>
                <a:endCxn id="17" idx="1"/>
              </p:cNvCxnSpPr>
              <p:nvPr/>
            </p:nvCxnSpPr>
            <p:spPr>
              <a:xfrm rot="5400000" flipH="1" flipV="1">
                <a:off x="869182" y="1682604"/>
                <a:ext cx="695432" cy="630859"/>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170">
                <a:extLst>
                  <a:ext uri="{FF2B5EF4-FFF2-40B4-BE49-F238E27FC236}">
                    <a16:creationId xmlns:a16="http://schemas.microsoft.com/office/drawing/2014/main" id="{02DA4AA3-633A-EE1A-666B-CE2311FBE69F}"/>
                  </a:ext>
                </a:extLst>
              </p:cNvPr>
              <p:cNvCxnSpPr>
                <a:cxnSpLocks/>
                <a:stCxn id="75" idx="1"/>
                <a:endCxn id="37" idx="2"/>
              </p:cNvCxnSpPr>
              <p:nvPr/>
            </p:nvCxnSpPr>
            <p:spPr>
              <a:xfrm rot="10800000" flipH="1" flipV="1">
                <a:off x="216838" y="3087512"/>
                <a:ext cx="11458009" cy="3345802"/>
              </a:xfrm>
              <a:prstGeom prst="bentConnector4">
                <a:avLst>
                  <a:gd name="adj1" fmla="val -2037"/>
                  <a:gd name="adj2" fmla="val 106976"/>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178">
                <a:extLst>
                  <a:ext uri="{FF2B5EF4-FFF2-40B4-BE49-F238E27FC236}">
                    <a16:creationId xmlns:a16="http://schemas.microsoft.com/office/drawing/2014/main" id="{B477FF88-DD29-26A9-749F-23CD9E829215}"/>
                  </a:ext>
                </a:extLst>
              </p:cNvPr>
              <p:cNvCxnSpPr>
                <a:cxnSpLocks/>
                <a:endCxn id="154" idx="1"/>
              </p:cNvCxnSpPr>
              <p:nvPr/>
            </p:nvCxnSpPr>
            <p:spPr>
              <a:xfrm rot="16200000" flipH="1">
                <a:off x="943898" y="3778912"/>
                <a:ext cx="906108" cy="99096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17FF8DB-A779-406B-604D-EA0AEB699D2E}"/>
                  </a:ext>
                </a:extLst>
              </p:cNvPr>
              <p:cNvSpPr/>
              <p:nvPr/>
            </p:nvSpPr>
            <p:spPr bwMode="gray">
              <a:xfrm>
                <a:off x="369529" y="1387281"/>
                <a:ext cx="982629" cy="52471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Analysi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Univariate &amp; Bivariate)</a:t>
                </a:r>
              </a:p>
            </p:txBody>
          </p:sp>
          <p:cxnSp>
            <p:nvCxnSpPr>
              <p:cNvPr id="57" name="Elbow Connector 189">
                <a:extLst>
                  <a:ext uri="{FF2B5EF4-FFF2-40B4-BE49-F238E27FC236}">
                    <a16:creationId xmlns:a16="http://schemas.microsoft.com/office/drawing/2014/main" id="{6B2E12A0-9882-ACD2-A86E-BF9CAA6EFE71}"/>
                  </a:ext>
                </a:extLst>
              </p:cNvPr>
              <p:cNvCxnSpPr>
                <a:stCxn id="39" idx="2"/>
                <a:endCxn id="56" idx="1"/>
              </p:cNvCxnSpPr>
              <p:nvPr/>
            </p:nvCxnSpPr>
            <p:spPr>
              <a:xfrm rot="10800000">
                <a:off x="369529" y="1649638"/>
                <a:ext cx="1174345" cy="4217782"/>
              </a:xfrm>
              <a:prstGeom prst="bentConnector3">
                <a:avLst>
                  <a:gd name="adj1" fmla="val 11931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194">
                <a:extLst>
                  <a:ext uri="{FF2B5EF4-FFF2-40B4-BE49-F238E27FC236}">
                    <a16:creationId xmlns:a16="http://schemas.microsoft.com/office/drawing/2014/main" id="{5F42DC4B-1B41-BDF6-0BCD-723622A63174}"/>
                  </a:ext>
                </a:extLst>
              </p:cNvPr>
              <p:cNvCxnSpPr>
                <a:cxnSpLocks/>
                <a:stCxn id="133" idx="3"/>
              </p:cNvCxnSpPr>
              <p:nvPr/>
            </p:nvCxnSpPr>
            <p:spPr>
              <a:xfrm flipH="1" flipV="1">
                <a:off x="8437523" y="1897705"/>
                <a:ext cx="1164050" cy="2512031"/>
              </a:xfrm>
              <a:prstGeom prst="bentConnector4">
                <a:avLst>
                  <a:gd name="adj1" fmla="val -19638"/>
                  <a:gd name="adj2" fmla="val 5806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7CD35F6-C95C-6DFB-B642-BC5F51953C14}"/>
                  </a:ext>
                </a:extLst>
              </p:cNvPr>
              <p:cNvGrpSpPr/>
              <p:nvPr/>
            </p:nvGrpSpPr>
            <p:grpSpPr>
              <a:xfrm>
                <a:off x="9447751" y="3352371"/>
                <a:ext cx="854259" cy="529960"/>
                <a:chOff x="6838272" y="1913769"/>
                <a:chExt cx="1043991" cy="529960"/>
              </a:xfrm>
            </p:grpSpPr>
            <p:cxnSp>
              <p:nvCxnSpPr>
                <p:cNvPr id="142" name="Straight Connector 141">
                  <a:extLst>
                    <a:ext uri="{FF2B5EF4-FFF2-40B4-BE49-F238E27FC236}">
                      <a16:creationId xmlns:a16="http://schemas.microsoft.com/office/drawing/2014/main" id="{AF5A9166-2CA7-A23E-BE31-028FCAAB0DE9}"/>
                    </a:ext>
                  </a:extLst>
                </p:cNvPr>
                <p:cNvCxnSpPr/>
                <p:nvPr/>
              </p:nvCxnSpPr>
              <p:spPr>
                <a:xfrm>
                  <a:off x="7350391" y="1961537"/>
                  <a:ext cx="53187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86ADAFFC-9123-8650-11D1-4D901AAF4667}"/>
                    </a:ext>
                  </a:extLst>
                </p:cNvPr>
                <p:cNvSpPr/>
                <p:nvPr/>
              </p:nvSpPr>
              <p:spPr bwMode="gray">
                <a:xfrm>
                  <a:off x="6838272" y="1913769"/>
                  <a:ext cx="953729" cy="5299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Source </a:t>
                  </a:r>
                  <a:br>
                    <a:rPr kumimoji="0" lang="en-US" sz="800" b="1" i="0" u="none" strike="noStrike" kern="1200" cap="none" spc="0" normalizeH="0" baseline="0" noProof="0" dirty="0">
                      <a:ln>
                        <a:noFill/>
                      </a:ln>
                      <a:solidFill>
                        <a:prstClr val="white"/>
                      </a:solidFill>
                      <a:effectLst/>
                      <a:uLnTx/>
                      <a:uFillTx/>
                      <a:latin typeface="Calibri"/>
                      <a:ea typeface="+mn-ea"/>
                      <a:cs typeface="+mn-cs"/>
                    </a:rPr>
                  </a:br>
                  <a:r>
                    <a:rPr kumimoji="0" lang="en-US" sz="800" b="1" i="0" u="none" strike="noStrike" kern="1200" cap="none" spc="0" normalizeH="0" baseline="0" noProof="0" dirty="0">
                      <a:ln>
                        <a:noFill/>
                      </a:ln>
                      <a:solidFill>
                        <a:prstClr val="white"/>
                      </a:solidFill>
                      <a:effectLst/>
                      <a:uLnTx/>
                      <a:uFillTx/>
                      <a:latin typeface="Calibri"/>
                      <a:ea typeface="+mn-ea"/>
                      <a:cs typeface="+mn-cs"/>
                    </a:rPr>
                    <a:t>Code</a:t>
                  </a:r>
                </a:p>
              </p:txBody>
            </p:sp>
          </p:grpSp>
          <p:sp>
            <p:nvSpPr>
              <p:cNvPr id="61" name="Rectangle 60">
                <a:extLst>
                  <a:ext uri="{FF2B5EF4-FFF2-40B4-BE49-F238E27FC236}">
                    <a16:creationId xmlns:a16="http://schemas.microsoft.com/office/drawing/2014/main" id="{4A319A9D-4062-EEDD-B7EE-891496ECDE6B}"/>
                  </a:ext>
                </a:extLst>
              </p:cNvPr>
              <p:cNvSpPr/>
              <p:nvPr/>
            </p:nvSpPr>
            <p:spPr bwMode="gray">
              <a:xfrm>
                <a:off x="315909" y="5516314"/>
                <a:ext cx="1243120" cy="234072"/>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amp; Model Logs</a:t>
                </a:r>
              </a:p>
            </p:txBody>
          </p:sp>
          <p:sp>
            <p:nvSpPr>
              <p:cNvPr id="62" name="Rectangle 61">
                <a:extLst>
                  <a:ext uri="{FF2B5EF4-FFF2-40B4-BE49-F238E27FC236}">
                    <a16:creationId xmlns:a16="http://schemas.microsoft.com/office/drawing/2014/main" id="{FF76E6F9-A0CB-B68C-5276-6501C3584977}"/>
                  </a:ext>
                </a:extLst>
              </p:cNvPr>
              <p:cNvSpPr/>
              <p:nvPr/>
            </p:nvSpPr>
            <p:spPr bwMode="gray">
              <a:xfrm>
                <a:off x="2648584" y="3290189"/>
                <a:ext cx="2214979"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Trigger to refresh existing model</a:t>
                </a:r>
              </a:p>
            </p:txBody>
          </p:sp>
          <p:sp>
            <p:nvSpPr>
              <p:cNvPr id="63" name="Rectangle 62">
                <a:extLst>
                  <a:ext uri="{FF2B5EF4-FFF2-40B4-BE49-F238E27FC236}">
                    <a16:creationId xmlns:a16="http://schemas.microsoft.com/office/drawing/2014/main" id="{F8E0DDA9-8789-C41F-E068-D8CFBE23D77A}"/>
                  </a:ext>
                </a:extLst>
              </p:cNvPr>
              <p:cNvSpPr/>
              <p:nvPr/>
            </p:nvSpPr>
            <p:spPr bwMode="gray">
              <a:xfrm>
                <a:off x="8820723" y="5136774"/>
                <a:ext cx="780402" cy="433646"/>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Cockpits &amp; CM</a:t>
                </a:r>
              </a:p>
            </p:txBody>
          </p:sp>
          <p:cxnSp>
            <p:nvCxnSpPr>
              <p:cNvPr id="64" name="Elbow Connector 211">
                <a:extLst>
                  <a:ext uri="{FF2B5EF4-FFF2-40B4-BE49-F238E27FC236}">
                    <a16:creationId xmlns:a16="http://schemas.microsoft.com/office/drawing/2014/main" id="{54E055A0-16E5-0599-F9F1-4D22CB0F9E2A}"/>
                  </a:ext>
                </a:extLst>
              </p:cNvPr>
              <p:cNvCxnSpPr>
                <a:stCxn id="37" idx="1"/>
                <a:endCxn id="63" idx="3"/>
              </p:cNvCxnSpPr>
              <p:nvPr/>
            </p:nvCxnSpPr>
            <p:spPr>
              <a:xfrm rot="10800000">
                <a:off x="9601126" y="5353599"/>
                <a:ext cx="1634884" cy="807105"/>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6CA6CB57-22EE-9869-2A68-36314244425F}"/>
                  </a:ext>
                </a:extLst>
              </p:cNvPr>
              <p:cNvSpPr/>
              <p:nvPr/>
            </p:nvSpPr>
            <p:spPr bwMode="gray">
              <a:xfrm>
                <a:off x="6911818" y="110232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131" name="Oval 130">
                <a:extLst>
                  <a:ext uri="{FF2B5EF4-FFF2-40B4-BE49-F238E27FC236}">
                    <a16:creationId xmlns:a16="http://schemas.microsoft.com/office/drawing/2014/main" id="{9B6C9F0A-8CE1-EB08-1886-C1A09D5498E3}"/>
                  </a:ext>
                </a:extLst>
              </p:cNvPr>
              <p:cNvSpPr/>
              <p:nvPr/>
            </p:nvSpPr>
            <p:spPr bwMode="gray">
              <a:xfrm>
                <a:off x="8235766" y="5512239"/>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6</a:t>
                </a:r>
              </a:p>
            </p:txBody>
          </p:sp>
          <p:sp>
            <p:nvSpPr>
              <p:cNvPr id="132" name="Oval 131">
                <a:extLst>
                  <a:ext uri="{FF2B5EF4-FFF2-40B4-BE49-F238E27FC236}">
                    <a16:creationId xmlns:a16="http://schemas.microsoft.com/office/drawing/2014/main" id="{B1F61B7C-CE7B-2ACA-0A76-B37DAFB3474D}"/>
                  </a:ext>
                </a:extLst>
              </p:cNvPr>
              <p:cNvSpPr/>
              <p:nvPr/>
            </p:nvSpPr>
            <p:spPr bwMode="gray">
              <a:xfrm>
                <a:off x="2438627" y="3853338"/>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7</a:t>
                </a:r>
              </a:p>
            </p:txBody>
          </p:sp>
          <p:sp>
            <p:nvSpPr>
              <p:cNvPr id="133" name="Rectangle 132">
                <a:extLst>
                  <a:ext uri="{FF2B5EF4-FFF2-40B4-BE49-F238E27FC236}">
                    <a16:creationId xmlns:a16="http://schemas.microsoft.com/office/drawing/2014/main" id="{88ADAF2B-7B1E-B4E9-D7B4-855961E49321}"/>
                  </a:ext>
                </a:extLst>
              </p:cNvPr>
              <p:cNvSpPr/>
              <p:nvPr/>
            </p:nvSpPr>
            <p:spPr bwMode="gray">
              <a:xfrm>
                <a:off x="8821171" y="4212624"/>
                <a:ext cx="780402" cy="394224"/>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134" name="Elbow Connector 233">
                <a:extLst>
                  <a:ext uri="{FF2B5EF4-FFF2-40B4-BE49-F238E27FC236}">
                    <a16:creationId xmlns:a16="http://schemas.microsoft.com/office/drawing/2014/main" id="{83A79ECB-6321-ED7A-AAF4-5D6A5D58C575}"/>
                  </a:ext>
                </a:extLst>
              </p:cNvPr>
              <p:cNvCxnSpPr>
                <a:stCxn id="149" idx="3"/>
                <a:endCxn id="133" idx="1"/>
              </p:cNvCxnSpPr>
              <p:nvPr/>
            </p:nvCxnSpPr>
            <p:spPr>
              <a:xfrm flipV="1">
                <a:off x="8039791" y="4409736"/>
                <a:ext cx="781379" cy="317715"/>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A3262F30-0B4F-AD02-FBD9-8435A1DEF463}"/>
                  </a:ext>
                </a:extLst>
              </p:cNvPr>
              <p:cNvSpPr/>
              <p:nvPr/>
            </p:nvSpPr>
            <p:spPr bwMode="gray">
              <a:xfrm>
                <a:off x="11087626" y="3157848"/>
                <a:ext cx="1045798" cy="2354387"/>
              </a:xfrm>
              <a:prstGeom prst="rect">
                <a:avLst/>
              </a:prstGeom>
              <a:noFill/>
              <a:ln w="19050" cmpd="dbl" algn="ctr">
                <a:solidFill>
                  <a:srgbClr val="FF0000"/>
                </a:solidFill>
                <a:miter lim="800000"/>
                <a:headEnd/>
                <a:tailEnd/>
              </a:ln>
            </p:spPr>
            <p:txBody>
              <a:bodyPr wrap="square" lIns="88900" tIns="88900" rIns="88900" bIns="12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37" name="Elbow Connector 89">
                <a:extLst>
                  <a:ext uri="{FF2B5EF4-FFF2-40B4-BE49-F238E27FC236}">
                    <a16:creationId xmlns:a16="http://schemas.microsoft.com/office/drawing/2014/main" id="{7E726362-D6BD-A425-2793-969FB97E7363}"/>
                  </a:ext>
                </a:extLst>
              </p:cNvPr>
              <p:cNvCxnSpPr>
                <a:cxnSpLocks/>
                <a:stCxn id="133" idx="0"/>
                <a:endCxn id="125" idx="3"/>
              </p:cNvCxnSpPr>
              <p:nvPr/>
            </p:nvCxnSpPr>
            <p:spPr>
              <a:xfrm rot="16200000" flipV="1">
                <a:off x="7343720" y="2344973"/>
                <a:ext cx="1228675" cy="2506629"/>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FD734D6E-5599-C194-8313-501751C00AE6}"/>
                  </a:ext>
                </a:extLst>
              </p:cNvPr>
              <p:cNvSpPr/>
              <p:nvPr/>
            </p:nvSpPr>
            <p:spPr bwMode="gray">
              <a:xfrm>
                <a:off x="325089" y="2111107"/>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1</a:t>
                </a:r>
              </a:p>
            </p:txBody>
          </p:sp>
          <p:sp>
            <p:nvSpPr>
              <p:cNvPr id="139" name="Oval 138">
                <a:extLst>
                  <a:ext uri="{FF2B5EF4-FFF2-40B4-BE49-F238E27FC236}">
                    <a16:creationId xmlns:a16="http://schemas.microsoft.com/office/drawing/2014/main" id="{E1128EDF-7A4A-1804-C308-5A7BC012AE56}"/>
                  </a:ext>
                </a:extLst>
              </p:cNvPr>
              <p:cNvSpPr/>
              <p:nvPr/>
            </p:nvSpPr>
            <p:spPr bwMode="gray">
              <a:xfrm>
                <a:off x="9803590" y="4140753"/>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8</a:t>
                </a:r>
              </a:p>
            </p:txBody>
          </p:sp>
          <p:sp>
            <p:nvSpPr>
              <p:cNvPr id="140" name="Rectangle 139">
                <a:extLst>
                  <a:ext uri="{FF2B5EF4-FFF2-40B4-BE49-F238E27FC236}">
                    <a16:creationId xmlns:a16="http://schemas.microsoft.com/office/drawing/2014/main" id="{C21FDB08-4B71-87C1-6E7D-5E0D1655FEF5}"/>
                  </a:ext>
                </a:extLst>
              </p:cNvPr>
              <p:cNvSpPr/>
              <p:nvPr/>
            </p:nvSpPr>
            <p:spPr bwMode="gray">
              <a:xfrm>
                <a:off x="6244514" y="2992852"/>
                <a:ext cx="4014081" cy="26688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Changes in business drivers leads to manual model re-building</a:t>
                </a:r>
              </a:p>
            </p:txBody>
          </p:sp>
        </p:grpSp>
        <p:sp>
          <p:nvSpPr>
            <p:cNvPr id="15" name="Rectangle 14">
              <a:extLst>
                <a:ext uri="{FF2B5EF4-FFF2-40B4-BE49-F238E27FC236}">
                  <a16:creationId xmlns:a16="http://schemas.microsoft.com/office/drawing/2014/main" id="{3B7CBF6A-719F-43C1-9ADD-34831FE7F05E}"/>
                </a:ext>
              </a:extLst>
            </p:cNvPr>
            <p:cNvSpPr/>
            <p:nvPr/>
          </p:nvSpPr>
          <p:spPr bwMode="gray">
            <a:xfrm>
              <a:off x="1831600" y="3275986"/>
              <a:ext cx="861050" cy="667834"/>
            </a:xfrm>
            <a:prstGeom prst="rect">
              <a:avLst/>
            </a:prstGeom>
            <a:solidFill>
              <a:schemeClr val="bg1">
                <a:lumMod val="85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CT: continuous training</a:t>
              </a:r>
            </a:p>
          </p:txBody>
        </p:sp>
      </p:grpSp>
      <p:pic>
        <p:nvPicPr>
          <p:cNvPr id="66" name="Picture 65">
            <a:extLst>
              <a:ext uri="{FF2B5EF4-FFF2-40B4-BE49-F238E27FC236}">
                <a16:creationId xmlns:a16="http://schemas.microsoft.com/office/drawing/2014/main" id="{AE03E41F-A632-40FA-DCB0-2C4B5DDD612D}"/>
              </a:ext>
            </a:extLst>
          </p:cNvPr>
          <p:cNvPicPr>
            <a:picLocks noChangeAspect="1"/>
          </p:cNvPicPr>
          <p:nvPr/>
        </p:nvPicPr>
        <p:blipFill>
          <a:blip r:embed="rId4"/>
          <a:stretch>
            <a:fillRect/>
          </a:stretch>
        </p:blipFill>
        <p:spPr>
          <a:xfrm>
            <a:off x="827469" y="3936638"/>
            <a:ext cx="424817" cy="463281"/>
          </a:xfrm>
          <a:prstGeom prst="rect">
            <a:avLst/>
          </a:prstGeom>
        </p:spPr>
      </p:pic>
      <p:pic>
        <p:nvPicPr>
          <p:cNvPr id="70" name="Picture 69">
            <a:extLst>
              <a:ext uri="{FF2B5EF4-FFF2-40B4-BE49-F238E27FC236}">
                <a16:creationId xmlns:a16="http://schemas.microsoft.com/office/drawing/2014/main" id="{C658D442-FEC6-69C8-6880-E732573E7478}"/>
              </a:ext>
            </a:extLst>
          </p:cNvPr>
          <p:cNvPicPr>
            <a:picLocks noChangeAspect="1"/>
          </p:cNvPicPr>
          <p:nvPr/>
        </p:nvPicPr>
        <p:blipFill>
          <a:blip r:embed="rId5"/>
          <a:stretch>
            <a:fillRect/>
          </a:stretch>
        </p:blipFill>
        <p:spPr>
          <a:xfrm>
            <a:off x="8182030" y="1226157"/>
            <a:ext cx="1097645" cy="498301"/>
          </a:xfrm>
          <a:prstGeom prst="rect">
            <a:avLst/>
          </a:prstGeom>
        </p:spPr>
      </p:pic>
      <p:pic>
        <p:nvPicPr>
          <p:cNvPr id="74" name="Picture 73">
            <a:extLst>
              <a:ext uri="{FF2B5EF4-FFF2-40B4-BE49-F238E27FC236}">
                <a16:creationId xmlns:a16="http://schemas.microsoft.com/office/drawing/2014/main" id="{71C782BB-BFC0-172C-7F9D-EF85FB583902}"/>
              </a:ext>
            </a:extLst>
          </p:cNvPr>
          <p:cNvPicPr>
            <a:picLocks noChangeAspect="1"/>
          </p:cNvPicPr>
          <p:nvPr/>
        </p:nvPicPr>
        <p:blipFill>
          <a:blip r:embed="rId6"/>
          <a:stretch>
            <a:fillRect/>
          </a:stretch>
        </p:blipFill>
        <p:spPr>
          <a:xfrm>
            <a:off x="9558150" y="1138676"/>
            <a:ext cx="999753" cy="809376"/>
          </a:xfrm>
          <a:prstGeom prst="rect">
            <a:avLst/>
          </a:prstGeom>
        </p:spPr>
      </p:pic>
      <p:pic>
        <p:nvPicPr>
          <p:cNvPr id="77" name="Picture 76">
            <a:extLst>
              <a:ext uri="{FF2B5EF4-FFF2-40B4-BE49-F238E27FC236}">
                <a16:creationId xmlns:a16="http://schemas.microsoft.com/office/drawing/2014/main" id="{EC5F2092-2AFA-45C4-58DF-60FDCE979515}"/>
              </a:ext>
            </a:extLst>
          </p:cNvPr>
          <p:cNvPicPr>
            <a:picLocks noChangeAspect="1"/>
          </p:cNvPicPr>
          <p:nvPr/>
        </p:nvPicPr>
        <p:blipFill>
          <a:blip r:embed="rId7"/>
          <a:stretch>
            <a:fillRect/>
          </a:stretch>
        </p:blipFill>
        <p:spPr>
          <a:xfrm>
            <a:off x="10871705" y="1881689"/>
            <a:ext cx="1227512" cy="905290"/>
          </a:xfrm>
          <a:prstGeom prst="rect">
            <a:avLst/>
          </a:prstGeom>
        </p:spPr>
      </p:pic>
      <p:cxnSp>
        <p:nvCxnSpPr>
          <p:cNvPr id="88" name="Straight Arrow Connector 87">
            <a:extLst>
              <a:ext uri="{FF2B5EF4-FFF2-40B4-BE49-F238E27FC236}">
                <a16:creationId xmlns:a16="http://schemas.microsoft.com/office/drawing/2014/main" id="{F3FB5D51-599C-44BD-F707-4759CAADFD84}"/>
              </a:ext>
            </a:extLst>
          </p:cNvPr>
          <p:cNvCxnSpPr>
            <a:cxnSpLocks/>
            <a:stCxn id="77" idx="1"/>
          </p:cNvCxnSpPr>
          <p:nvPr/>
        </p:nvCxnSpPr>
        <p:spPr>
          <a:xfrm flipH="1">
            <a:off x="10311962" y="2334334"/>
            <a:ext cx="559743" cy="769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696485A7-CBFC-AF1A-31E0-C989C8DBF59B}"/>
              </a:ext>
            </a:extLst>
          </p:cNvPr>
          <p:cNvCxnSpPr>
            <a:cxnSpLocks/>
            <a:stCxn id="119" idx="2"/>
            <a:endCxn id="74" idx="2"/>
          </p:cNvCxnSpPr>
          <p:nvPr/>
        </p:nvCxnSpPr>
        <p:spPr>
          <a:xfrm flipV="1">
            <a:off x="10058027" y="1948052"/>
            <a:ext cx="0" cy="18089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AD285964-BA4E-B9FA-3BBC-8CFA5CAEC7A8}"/>
              </a:ext>
            </a:extLst>
          </p:cNvPr>
          <p:cNvGrpSpPr/>
          <p:nvPr/>
        </p:nvGrpSpPr>
        <p:grpSpPr>
          <a:xfrm>
            <a:off x="5357661" y="2605946"/>
            <a:ext cx="1374120" cy="596880"/>
            <a:chOff x="5287442" y="2524396"/>
            <a:chExt cx="1374120" cy="596880"/>
          </a:xfrm>
        </p:grpSpPr>
        <p:sp>
          <p:nvSpPr>
            <p:cNvPr id="125" name="Rectangle 124">
              <a:extLst>
                <a:ext uri="{FF2B5EF4-FFF2-40B4-BE49-F238E27FC236}">
                  <a16:creationId xmlns:a16="http://schemas.microsoft.com/office/drawing/2014/main" id="{79675FDB-3D4B-9D7B-AFF4-A651244A0CA7}"/>
                </a:ext>
              </a:extLst>
            </p:cNvPr>
            <p:cNvSpPr/>
            <p:nvPr/>
          </p:nvSpPr>
          <p:spPr bwMode="gray">
            <a:xfrm>
              <a:off x="5287442" y="2524396"/>
              <a:ext cx="1374120" cy="596880"/>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126" name="Picture 12" descr="Introducing MLflow: an Open Source Platform for the Complete Machine  Learning Lifecycle">
              <a:extLst>
                <a:ext uri="{FF2B5EF4-FFF2-40B4-BE49-F238E27FC236}">
                  <a16:creationId xmlns:a16="http://schemas.microsoft.com/office/drawing/2014/main" id="{26EED5D9-411F-843D-B9C3-8B0E692D424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539" r="27841" b="65037"/>
            <a:stretch/>
          </p:blipFill>
          <p:spPr bwMode="auto">
            <a:xfrm>
              <a:off x="5347081" y="2599389"/>
              <a:ext cx="1145893" cy="4293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7" name="Connector: Elbow 166">
            <a:extLst>
              <a:ext uri="{FF2B5EF4-FFF2-40B4-BE49-F238E27FC236}">
                <a16:creationId xmlns:a16="http://schemas.microsoft.com/office/drawing/2014/main" id="{B409F9AF-244B-6CC0-4519-30DBD3FDC314}"/>
              </a:ext>
            </a:extLst>
          </p:cNvPr>
          <p:cNvCxnSpPr>
            <a:cxnSpLocks/>
          </p:cNvCxnSpPr>
          <p:nvPr/>
        </p:nvCxnSpPr>
        <p:spPr>
          <a:xfrm rot="16200000" flipH="1">
            <a:off x="4929374" y="1490598"/>
            <a:ext cx="539907" cy="1690790"/>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57D2A44D-B6A5-7A1B-AB54-2F2ACB205B2D}"/>
              </a:ext>
            </a:extLst>
          </p:cNvPr>
          <p:cNvCxnSpPr>
            <a:cxnSpLocks/>
          </p:cNvCxnSpPr>
          <p:nvPr/>
        </p:nvCxnSpPr>
        <p:spPr>
          <a:xfrm rot="5400000">
            <a:off x="5238792" y="3223492"/>
            <a:ext cx="826601" cy="785261"/>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F6F76111-8A40-0A9E-0D85-E1A662FBDD39}"/>
              </a:ext>
            </a:extLst>
          </p:cNvPr>
          <p:cNvCxnSpPr>
            <a:cxnSpLocks/>
            <a:stCxn id="174" idx="3"/>
            <a:endCxn id="126" idx="1"/>
          </p:cNvCxnSpPr>
          <p:nvPr/>
        </p:nvCxnSpPr>
        <p:spPr>
          <a:xfrm>
            <a:off x="4517735" y="2703923"/>
            <a:ext cx="899565" cy="191688"/>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61" name="Connector: Elbow 2060">
            <a:extLst>
              <a:ext uri="{FF2B5EF4-FFF2-40B4-BE49-F238E27FC236}">
                <a16:creationId xmlns:a16="http://schemas.microsoft.com/office/drawing/2014/main" id="{2F3AEA89-5A72-E716-2AEF-B054CEDFBFCF}"/>
              </a:ext>
            </a:extLst>
          </p:cNvPr>
          <p:cNvCxnSpPr>
            <a:cxnSpLocks/>
          </p:cNvCxnSpPr>
          <p:nvPr/>
        </p:nvCxnSpPr>
        <p:spPr>
          <a:xfrm rot="16200000" flipH="1">
            <a:off x="10743887" y="2276012"/>
            <a:ext cx="300057" cy="1394694"/>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8" name="Connector: Elbow 2067">
            <a:extLst>
              <a:ext uri="{FF2B5EF4-FFF2-40B4-BE49-F238E27FC236}">
                <a16:creationId xmlns:a16="http://schemas.microsoft.com/office/drawing/2014/main" id="{07CC2FCE-1541-D209-07C0-2FF97C3D76F3}"/>
              </a:ext>
            </a:extLst>
          </p:cNvPr>
          <p:cNvCxnSpPr>
            <a:cxnSpLocks/>
            <a:stCxn id="86" idx="2"/>
            <a:endCxn id="37" idx="0"/>
          </p:cNvCxnSpPr>
          <p:nvPr/>
        </p:nvCxnSpPr>
        <p:spPr>
          <a:xfrm rot="16200000" flipH="1">
            <a:off x="11272336" y="5421488"/>
            <a:ext cx="651607" cy="2953"/>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2197" name="Picture 8" descr="Apache Airflow - Wikipedia">
            <a:extLst>
              <a:ext uri="{FF2B5EF4-FFF2-40B4-BE49-F238E27FC236}">
                <a16:creationId xmlns:a16="http://schemas.microsoft.com/office/drawing/2014/main" id="{7E6DBC9A-D2A0-FBC8-FD41-67623EE9E7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28491" y="4601903"/>
            <a:ext cx="797592" cy="308132"/>
          </a:xfrm>
          <a:prstGeom prst="rect">
            <a:avLst/>
          </a:prstGeom>
          <a:noFill/>
          <a:extLst>
            <a:ext uri="{909E8E84-426E-40DD-AFC4-6F175D3DCCD1}">
              <a14:hiddenFill xmlns:a14="http://schemas.microsoft.com/office/drawing/2010/main">
                <a:solidFill>
                  <a:srgbClr val="FFFFFF"/>
                </a:solidFill>
              </a14:hiddenFill>
            </a:ext>
          </a:extLst>
        </p:spPr>
      </p:pic>
      <p:sp>
        <p:nvSpPr>
          <p:cNvPr id="2200" name="Rectangle 2199">
            <a:extLst>
              <a:ext uri="{FF2B5EF4-FFF2-40B4-BE49-F238E27FC236}">
                <a16:creationId xmlns:a16="http://schemas.microsoft.com/office/drawing/2014/main" id="{9E34CA7D-B54B-37E0-077D-F42DC3E8A8EF}"/>
              </a:ext>
            </a:extLst>
          </p:cNvPr>
          <p:cNvSpPr/>
          <p:nvPr/>
        </p:nvSpPr>
        <p:spPr bwMode="gray">
          <a:xfrm>
            <a:off x="10187213" y="4271152"/>
            <a:ext cx="1173330" cy="294762"/>
          </a:xfrm>
          <a:prstGeom prst="rect">
            <a:avLst/>
          </a:prstGeom>
          <a:noFill/>
          <a:ln w="19050" algn="ctr">
            <a:noFill/>
            <a:prstDash val="dash"/>
            <a:miter lim="800000"/>
            <a:headEnd/>
            <a:tailEnd/>
          </a:ln>
        </p:spPr>
        <p:txBody>
          <a:bodyPr wrap="square" lIns="88900" tIns="72000" rIns="88900" bIns="720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Orchestration of services</a:t>
            </a:r>
          </a:p>
        </p:txBody>
      </p:sp>
      <p:pic>
        <p:nvPicPr>
          <p:cNvPr id="2205" name="Picture 2204">
            <a:extLst>
              <a:ext uri="{FF2B5EF4-FFF2-40B4-BE49-F238E27FC236}">
                <a16:creationId xmlns:a16="http://schemas.microsoft.com/office/drawing/2014/main" id="{1022DFEC-F56B-5A79-5242-F9A2C18C2683}"/>
              </a:ext>
            </a:extLst>
          </p:cNvPr>
          <p:cNvPicPr>
            <a:picLocks noChangeAspect="1"/>
          </p:cNvPicPr>
          <p:nvPr/>
        </p:nvPicPr>
        <p:blipFill>
          <a:blip r:embed="rId10"/>
          <a:stretch>
            <a:fillRect/>
          </a:stretch>
        </p:blipFill>
        <p:spPr>
          <a:xfrm>
            <a:off x="6923533" y="5483969"/>
            <a:ext cx="1201191" cy="474084"/>
          </a:xfrm>
          <a:prstGeom prst="rect">
            <a:avLst/>
          </a:prstGeom>
        </p:spPr>
      </p:pic>
      <p:sp>
        <p:nvSpPr>
          <p:cNvPr id="2211" name="Rectangle 2210">
            <a:extLst>
              <a:ext uri="{FF2B5EF4-FFF2-40B4-BE49-F238E27FC236}">
                <a16:creationId xmlns:a16="http://schemas.microsoft.com/office/drawing/2014/main" id="{78BD5F5B-9A8B-2032-5DD0-5723E535A375}"/>
              </a:ext>
            </a:extLst>
          </p:cNvPr>
          <p:cNvSpPr/>
          <p:nvPr/>
        </p:nvSpPr>
        <p:spPr bwMode="gray">
          <a:xfrm>
            <a:off x="6772354" y="5906860"/>
            <a:ext cx="1685646" cy="247695"/>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Performance monitor</a:t>
            </a:r>
          </a:p>
        </p:txBody>
      </p:sp>
      <p:cxnSp>
        <p:nvCxnSpPr>
          <p:cNvPr id="35" name="Elbow Connector 211">
            <a:extLst>
              <a:ext uri="{FF2B5EF4-FFF2-40B4-BE49-F238E27FC236}">
                <a16:creationId xmlns:a16="http://schemas.microsoft.com/office/drawing/2014/main" id="{F5579C02-C7F8-77C0-432F-E8D4F7F28652}"/>
              </a:ext>
            </a:extLst>
          </p:cNvPr>
          <p:cNvCxnSpPr>
            <a:cxnSpLocks/>
            <a:stCxn id="2211" idx="2"/>
            <a:endCxn id="46" idx="3"/>
          </p:cNvCxnSpPr>
          <p:nvPr/>
        </p:nvCxnSpPr>
        <p:spPr>
          <a:xfrm rot="5400000">
            <a:off x="6580288" y="5142092"/>
            <a:ext cx="22427" cy="2047353"/>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0447DF2E-0FBC-9D8B-13D9-7F9645A8FE7F}"/>
              </a:ext>
            </a:extLst>
          </p:cNvPr>
          <p:cNvGrpSpPr/>
          <p:nvPr/>
        </p:nvGrpSpPr>
        <p:grpSpPr>
          <a:xfrm>
            <a:off x="3969007" y="5957017"/>
            <a:ext cx="1598817" cy="439930"/>
            <a:chOff x="2979031" y="6026584"/>
            <a:chExt cx="1598817" cy="439930"/>
          </a:xfrm>
        </p:grpSpPr>
        <p:sp>
          <p:nvSpPr>
            <p:cNvPr id="46" name="Rectangle 45">
              <a:extLst>
                <a:ext uri="{FF2B5EF4-FFF2-40B4-BE49-F238E27FC236}">
                  <a16:creationId xmlns:a16="http://schemas.microsoft.com/office/drawing/2014/main" id="{CF4758B5-DB1C-A99D-AC59-48B999A3BD11}"/>
                </a:ext>
              </a:extLst>
            </p:cNvPr>
            <p:cNvSpPr/>
            <p:nvPr/>
          </p:nvSpPr>
          <p:spPr bwMode="gray">
            <a:xfrm>
              <a:off x="2979031" y="6026584"/>
              <a:ext cx="1598817" cy="43993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a:ln>
                    <a:noFill/>
                  </a:ln>
                  <a:solidFill>
                    <a:srgbClr val="002060"/>
                  </a:solidFill>
                  <a:effectLst/>
                  <a:uLnTx/>
                  <a:uFillTx/>
                  <a:latin typeface="Calibri"/>
                  <a:ea typeface="+mn-ea"/>
                  <a:cs typeface="+mn-cs"/>
                </a:rPr>
                <a:t>Email Alerts</a:t>
              </a:r>
            </a:p>
          </p:txBody>
        </p:sp>
        <p:pic>
          <p:nvPicPr>
            <p:cNvPr id="68" name="Picture 67">
              <a:extLst>
                <a:ext uri="{FF2B5EF4-FFF2-40B4-BE49-F238E27FC236}">
                  <a16:creationId xmlns:a16="http://schemas.microsoft.com/office/drawing/2014/main" id="{5FEF86BB-5E23-7053-10B1-B5DF08364E42}"/>
                </a:ext>
              </a:extLst>
            </p:cNvPr>
            <p:cNvPicPr>
              <a:picLocks noChangeAspect="1"/>
            </p:cNvPicPr>
            <p:nvPr/>
          </p:nvPicPr>
          <p:blipFill>
            <a:blip r:embed="rId11"/>
            <a:stretch>
              <a:fillRect/>
            </a:stretch>
          </p:blipFill>
          <p:spPr>
            <a:xfrm>
              <a:off x="4077141" y="6056423"/>
              <a:ext cx="414203" cy="399023"/>
            </a:xfrm>
            <a:prstGeom prst="rect">
              <a:avLst/>
            </a:prstGeom>
          </p:spPr>
        </p:pic>
      </p:grpSp>
      <p:pic>
        <p:nvPicPr>
          <p:cNvPr id="43" name="Picture 42">
            <a:extLst>
              <a:ext uri="{FF2B5EF4-FFF2-40B4-BE49-F238E27FC236}">
                <a16:creationId xmlns:a16="http://schemas.microsoft.com/office/drawing/2014/main" id="{C1A461AC-E69E-A0D9-8B65-CB41F7498C95}"/>
              </a:ext>
            </a:extLst>
          </p:cNvPr>
          <p:cNvPicPr>
            <a:picLocks noChangeAspect="1"/>
          </p:cNvPicPr>
          <p:nvPr/>
        </p:nvPicPr>
        <p:blipFill>
          <a:blip r:embed="rId12"/>
          <a:stretch>
            <a:fillRect/>
          </a:stretch>
        </p:blipFill>
        <p:spPr>
          <a:xfrm>
            <a:off x="11332289" y="3123387"/>
            <a:ext cx="517943" cy="631890"/>
          </a:xfrm>
          <a:prstGeom prst="rect">
            <a:avLst/>
          </a:prstGeom>
        </p:spPr>
      </p:pic>
      <p:cxnSp>
        <p:nvCxnSpPr>
          <p:cNvPr id="73" name="Straight Arrow Connector 72">
            <a:extLst>
              <a:ext uri="{FF2B5EF4-FFF2-40B4-BE49-F238E27FC236}">
                <a16:creationId xmlns:a16="http://schemas.microsoft.com/office/drawing/2014/main" id="{3D55C69E-FFCD-BBEE-4741-4BCCBCA62DA6}"/>
              </a:ext>
            </a:extLst>
          </p:cNvPr>
          <p:cNvCxnSpPr>
            <a:cxnSpLocks/>
            <a:stCxn id="43" idx="2"/>
          </p:cNvCxnSpPr>
          <p:nvPr/>
        </p:nvCxnSpPr>
        <p:spPr>
          <a:xfrm>
            <a:off x="11591261" y="3755277"/>
            <a:ext cx="11309" cy="21085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33E284AD-9D5C-1624-71FE-681FC9D0C50B}"/>
              </a:ext>
            </a:extLst>
          </p:cNvPr>
          <p:cNvPicPr>
            <a:picLocks noChangeAspect="1"/>
          </p:cNvPicPr>
          <p:nvPr/>
        </p:nvPicPr>
        <p:blipFill>
          <a:blip r:embed="rId13"/>
          <a:stretch>
            <a:fillRect/>
          </a:stretch>
        </p:blipFill>
        <p:spPr>
          <a:xfrm>
            <a:off x="11304751" y="4874128"/>
            <a:ext cx="583823" cy="223034"/>
          </a:xfrm>
          <a:prstGeom prst="rect">
            <a:avLst/>
          </a:prstGeom>
        </p:spPr>
      </p:pic>
      <p:cxnSp>
        <p:nvCxnSpPr>
          <p:cNvPr id="87" name="Straight Arrow Connector 86">
            <a:extLst>
              <a:ext uri="{FF2B5EF4-FFF2-40B4-BE49-F238E27FC236}">
                <a16:creationId xmlns:a16="http://schemas.microsoft.com/office/drawing/2014/main" id="{74BEFC6D-B85B-FB51-0711-780DCB2A6761}"/>
              </a:ext>
            </a:extLst>
          </p:cNvPr>
          <p:cNvCxnSpPr>
            <a:cxnSpLocks/>
            <a:endCxn id="86" idx="0"/>
          </p:cNvCxnSpPr>
          <p:nvPr/>
        </p:nvCxnSpPr>
        <p:spPr>
          <a:xfrm flipH="1">
            <a:off x="11596663" y="4637810"/>
            <a:ext cx="5907" cy="236318"/>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89">
            <a:extLst>
              <a:ext uri="{FF2B5EF4-FFF2-40B4-BE49-F238E27FC236}">
                <a16:creationId xmlns:a16="http://schemas.microsoft.com/office/drawing/2014/main" id="{484DBEDB-C921-0E8B-0899-FC4A0E795D21}"/>
              </a:ext>
            </a:extLst>
          </p:cNvPr>
          <p:cNvCxnSpPr>
            <a:cxnSpLocks/>
            <a:stCxn id="2197" idx="0"/>
            <a:endCxn id="43" idx="1"/>
          </p:cNvCxnSpPr>
          <p:nvPr/>
        </p:nvCxnSpPr>
        <p:spPr>
          <a:xfrm rot="5400000" flipH="1" flipV="1">
            <a:off x="10448503" y="3718117"/>
            <a:ext cx="1162571" cy="605002"/>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119" name="Picture 118">
            <a:extLst>
              <a:ext uri="{FF2B5EF4-FFF2-40B4-BE49-F238E27FC236}">
                <a16:creationId xmlns:a16="http://schemas.microsoft.com/office/drawing/2014/main" id="{86C8F51B-0D07-973C-2F68-B005D2E12372}"/>
              </a:ext>
            </a:extLst>
          </p:cNvPr>
          <p:cNvPicPr>
            <a:picLocks noChangeAspect="1"/>
          </p:cNvPicPr>
          <p:nvPr/>
        </p:nvPicPr>
        <p:blipFill>
          <a:blip r:embed="rId14"/>
          <a:stretch>
            <a:fillRect/>
          </a:stretch>
        </p:blipFill>
        <p:spPr>
          <a:xfrm flipV="1">
            <a:off x="9840091" y="2128950"/>
            <a:ext cx="435872" cy="395513"/>
          </a:xfrm>
          <a:prstGeom prst="rect">
            <a:avLst/>
          </a:prstGeom>
        </p:spPr>
      </p:pic>
      <p:sp>
        <p:nvSpPr>
          <p:cNvPr id="130" name="Rectangle 129">
            <a:extLst>
              <a:ext uri="{FF2B5EF4-FFF2-40B4-BE49-F238E27FC236}">
                <a16:creationId xmlns:a16="http://schemas.microsoft.com/office/drawing/2014/main" id="{2541ADA9-0FB7-F949-0D7F-4F2F9310A780}"/>
              </a:ext>
            </a:extLst>
          </p:cNvPr>
          <p:cNvSpPr/>
          <p:nvPr/>
        </p:nvSpPr>
        <p:spPr bwMode="gray">
          <a:xfrm>
            <a:off x="9211825" y="2523683"/>
            <a:ext cx="1826529" cy="32301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002060"/>
                </a:solidFill>
                <a:effectLst/>
                <a:uLnTx/>
                <a:uFillTx/>
                <a:latin typeface="Calibri"/>
                <a:ea typeface="+mn-ea"/>
                <a:cs typeface="+mn-cs"/>
              </a:rPr>
              <a:t>Kubernetes </a:t>
            </a:r>
            <a:r>
              <a:rPr kumimoji="0" lang="en-US" sz="1050" b="1" i="0" u="none" strike="noStrike" kern="1200" cap="none" spc="0" normalizeH="0" baseline="0" noProof="0">
                <a:ln>
                  <a:noFill/>
                </a:ln>
                <a:solidFill>
                  <a:srgbClr val="002060"/>
                </a:solidFill>
                <a:effectLst/>
                <a:uLnTx/>
                <a:uFillTx/>
                <a:latin typeface="Calibri"/>
                <a:ea typeface="+mn-ea"/>
                <a:cs typeface="+mn-cs"/>
              </a:rPr>
              <a:t>AutoScaling(CPU,GPU)</a:t>
            </a:r>
          </a:p>
        </p:txBody>
      </p:sp>
      <p:grpSp>
        <p:nvGrpSpPr>
          <p:cNvPr id="168" name="Group 167">
            <a:extLst>
              <a:ext uri="{FF2B5EF4-FFF2-40B4-BE49-F238E27FC236}">
                <a16:creationId xmlns:a16="http://schemas.microsoft.com/office/drawing/2014/main" id="{D446DD65-6A1F-8D05-B5E0-D6FDEA02FF18}"/>
              </a:ext>
            </a:extLst>
          </p:cNvPr>
          <p:cNvGrpSpPr/>
          <p:nvPr/>
        </p:nvGrpSpPr>
        <p:grpSpPr>
          <a:xfrm>
            <a:off x="2197521" y="2377494"/>
            <a:ext cx="2320214" cy="652858"/>
            <a:chOff x="2197521" y="2349076"/>
            <a:chExt cx="2701042" cy="652858"/>
          </a:xfrm>
        </p:grpSpPr>
        <p:sp>
          <p:nvSpPr>
            <p:cNvPr id="174" name="Rectangle 173">
              <a:extLst>
                <a:ext uri="{FF2B5EF4-FFF2-40B4-BE49-F238E27FC236}">
                  <a16:creationId xmlns:a16="http://schemas.microsoft.com/office/drawing/2014/main" id="{7C4F63A0-42A4-8714-2E9F-83105EBBB331}"/>
                </a:ext>
              </a:extLst>
            </p:cNvPr>
            <p:cNvSpPr/>
            <p:nvPr/>
          </p:nvSpPr>
          <p:spPr bwMode="gray">
            <a:xfrm>
              <a:off x="2197521" y="2349076"/>
              <a:ext cx="2701042" cy="652858"/>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2060"/>
                  </a:solidFill>
                  <a:effectLst/>
                  <a:uLnTx/>
                  <a:uFillTx/>
                  <a:latin typeface="Calibri"/>
                  <a:ea typeface="+mn-ea"/>
                  <a:cs typeface="+mn-cs"/>
                </a:rPr>
                <a:t>Model Registry</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2060"/>
                  </a:solidFill>
                  <a:effectLst/>
                  <a:uLnTx/>
                  <a:uFillTx/>
                  <a:latin typeface="Calibri"/>
                  <a:ea typeface="+mn-ea"/>
                  <a:cs typeface="+mn-cs"/>
                </a:rPr>
                <a:t>Model Catalog</a:t>
              </a:r>
            </a:p>
            <a:p>
              <a:pPr marL="285750" marR="0" lvl="0" indent="-28575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2060"/>
                  </a:solidFill>
                  <a:effectLst/>
                  <a:uLnTx/>
                  <a:uFillTx/>
                  <a:latin typeface="Calibri"/>
                  <a:ea typeface="+mn-ea"/>
                  <a:cs typeface="+mn-cs"/>
                </a:rPr>
                <a:t>Experiment tracking</a:t>
              </a:r>
            </a:p>
          </p:txBody>
        </p:sp>
        <p:pic>
          <p:nvPicPr>
            <p:cNvPr id="165" name="Picture 164">
              <a:extLst>
                <a:ext uri="{FF2B5EF4-FFF2-40B4-BE49-F238E27FC236}">
                  <a16:creationId xmlns:a16="http://schemas.microsoft.com/office/drawing/2014/main" id="{C08B431B-955F-47E7-AA4F-CD4904C4EBEC}"/>
                </a:ext>
              </a:extLst>
            </p:cNvPr>
            <p:cNvPicPr>
              <a:picLocks noChangeAspect="1"/>
            </p:cNvPicPr>
            <p:nvPr/>
          </p:nvPicPr>
          <p:blipFill>
            <a:blip r:embed="rId15"/>
            <a:stretch>
              <a:fillRect/>
            </a:stretch>
          </p:blipFill>
          <p:spPr>
            <a:xfrm>
              <a:off x="4088327" y="2363412"/>
              <a:ext cx="789019" cy="615361"/>
            </a:xfrm>
            <a:prstGeom prst="rect">
              <a:avLst/>
            </a:prstGeom>
          </p:spPr>
        </p:pic>
      </p:grpSp>
      <p:sp>
        <p:nvSpPr>
          <p:cNvPr id="169" name="Rectangle 168">
            <a:extLst>
              <a:ext uri="{FF2B5EF4-FFF2-40B4-BE49-F238E27FC236}">
                <a16:creationId xmlns:a16="http://schemas.microsoft.com/office/drawing/2014/main" id="{9CBCCFD4-C87E-17EB-1A38-AF5A48937C15}"/>
              </a:ext>
            </a:extLst>
          </p:cNvPr>
          <p:cNvSpPr/>
          <p:nvPr/>
        </p:nvSpPr>
        <p:spPr bwMode="gray">
          <a:xfrm>
            <a:off x="430660" y="466557"/>
            <a:ext cx="5756083" cy="261394"/>
          </a:xfrm>
          <a:prstGeom prst="rect">
            <a:avLst/>
          </a:prstGeom>
          <a:noFill/>
          <a:ln w="19050" algn="ctr">
            <a:noFill/>
            <a:prstDash val="dash"/>
            <a:miter lim="800000"/>
            <a:headEnd/>
            <a:tailEnd/>
          </a:ln>
        </p:spPr>
        <p:txBody>
          <a:bodyPr wrap="square" lIns="88900" tIns="72000" rIns="889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mn-cs"/>
              </a:rPr>
              <a:t>Note: Its for representation purpose only, will finalize Architecture post evaluation of current Architecture</a:t>
            </a:r>
          </a:p>
        </p:txBody>
      </p:sp>
      <p:pic>
        <p:nvPicPr>
          <p:cNvPr id="175" name="Picture 2" descr="Python (programming language) - Wikipedia">
            <a:extLst>
              <a:ext uri="{FF2B5EF4-FFF2-40B4-BE49-F238E27FC236}">
                <a16:creationId xmlns:a16="http://schemas.microsoft.com/office/drawing/2014/main" id="{DFE3F89F-C3FB-53A6-91AD-C2F789E6CE4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07388" y="3985925"/>
            <a:ext cx="202723" cy="222617"/>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2" descr="Python (programming language) - Wikipedia">
            <a:extLst>
              <a:ext uri="{FF2B5EF4-FFF2-40B4-BE49-F238E27FC236}">
                <a16:creationId xmlns:a16="http://schemas.microsoft.com/office/drawing/2014/main" id="{1362973B-38FD-02FB-DC9F-C5CB73458F9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08157" y="1150985"/>
            <a:ext cx="202723" cy="222617"/>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descr="Database with solid fill">
            <a:extLst>
              <a:ext uri="{FF2B5EF4-FFF2-40B4-BE49-F238E27FC236}">
                <a16:creationId xmlns:a16="http://schemas.microsoft.com/office/drawing/2014/main" id="{FF7D173C-3B3B-DBFD-20D6-4822A242388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5818" y="2400332"/>
            <a:ext cx="511988" cy="511988"/>
          </a:xfrm>
          <a:prstGeom prst="rect">
            <a:avLst/>
          </a:prstGeom>
        </p:spPr>
      </p:pic>
      <p:pic>
        <p:nvPicPr>
          <p:cNvPr id="31" name="Graphic 30" descr="Database with solid fill">
            <a:extLst>
              <a:ext uri="{FF2B5EF4-FFF2-40B4-BE49-F238E27FC236}">
                <a16:creationId xmlns:a16="http://schemas.microsoft.com/office/drawing/2014/main" id="{B6568071-E508-72DA-702F-D4A304201F2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0390" y="3062897"/>
            <a:ext cx="511988" cy="511988"/>
          </a:xfrm>
          <a:prstGeom prst="rect">
            <a:avLst/>
          </a:prstGeom>
        </p:spPr>
      </p:pic>
      <p:sp>
        <p:nvSpPr>
          <p:cNvPr id="36" name="TextBox 35">
            <a:extLst>
              <a:ext uri="{FF2B5EF4-FFF2-40B4-BE49-F238E27FC236}">
                <a16:creationId xmlns:a16="http://schemas.microsoft.com/office/drawing/2014/main" id="{3E9B9255-3A7A-212C-6D26-E53F8124C9C5}"/>
              </a:ext>
            </a:extLst>
          </p:cNvPr>
          <p:cNvSpPr txBox="1"/>
          <p:nvPr/>
        </p:nvSpPr>
        <p:spPr>
          <a:xfrm>
            <a:off x="0" y="1948052"/>
            <a:ext cx="337699" cy="290980"/>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800" b="0" i="0" u="none" strike="noStrike" kern="1200" cap="none" spc="0" normalizeH="0" baseline="0" noProof="0">
              <a:ln>
                <a:noFill/>
              </a:ln>
              <a:solidFill>
                <a:srgbClr val="313131"/>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0A501B2E-34B5-CEE4-E7B2-44FB3CA62F9F}"/>
              </a:ext>
            </a:extLst>
          </p:cNvPr>
          <p:cNvSpPr txBox="1"/>
          <p:nvPr/>
        </p:nvSpPr>
        <p:spPr>
          <a:xfrm>
            <a:off x="307015" y="2328456"/>
            <a:ext cx="145072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1" i="0" u="none" strike="noStrike" kern="1200" cap="none" spc="0" normalizeH="0" baseline="0" noProof="0">
                <a:ln>
                  <a:noFill/>
                </a:ln>
                <a:solidFill>
                  <a:prstClr val="black"/>
                </a:solidFill>
                <a:effectLst/>
                <a:uLnTx/>
                <a:uFillTx/>
                <a:latin typeface="Open Sans"/>
                <a:ea typeface="+mn-ea"/>
                <a:cs typeface="+mn-cs"/>
              </a:rPr>
              <a:t>Real Time Ingestion</a:t>
            </a:r>
          </a:p>
        </p:txBody>
      </p:sp>
      <p:sp>
        <p:nvSpPr>
          <p:cNvPr id="48" name="TextBox 47">
            <a:extLst>
              <a:ext uri="{FF2B5EF4-FFF2-40B4-BE49-F238E27FC236}">
                <a16:creationId xmlns:a16="http://schemas.microsoft.com/office/drawing/2014/main" id="{D5D2EC3F-ECCF-4A3B-0E10-31DFAD72790D}"/>
              </a:ext>
            </a:extLst>
          </p:cNvPr>
          <p:cNvSpPr txBox="1"/>
          <p:nvPr/>
        </p:nvSpPr>
        <p:spPr>
          <a:xfrm>
            <a:off x="454451" y="2981739"/>
            <a:ext cx="89450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800" b="1" i="0" u="none" strike="noStrike" kern="1200" cap="none" spc="0" normalizeH="0" baseline="0" noProof="0" dirty="0">
                <a:ln>
                  <a:noFill/>
                </a:ln>
                <a:solidFill>
                  <a:prstClr val="black"/>
                </a:solidFill>
                <a:effectLst/>
                <a:uLnTx/>
                <a:uFillTx/>
                <a:latin typeface="Open Sans"/>
                <a:ea typeface="+mn-ea"/>
                <a:cs typeface="+mn-cs"/>
              </a:rPr>
              <a:t>Batch Ingestion</a:t>
            </a:r>
          </a:p>
        </p:txBody>
      </p:sp>
      <p:pic>
        <p:nvPicPr>
          <p:cNvPr id="1026" name="Picture 2" descr="Informatica logo in transparent PNG and vectorized SVG formats">
            <a:extLst>
              <a:ext uri="{FF2B5EF4-FFF2-40B4-BE49-F238E27FC236}">
                <a16:creationId xmlns:a16="http://schemas.microsoft.com/office/drawing/2014/main" id="{3C0CC5C3-7EBF-BD21-8BB3-5AD30585074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88554" y="3191479"/>
            <a:ext cx="454510" cy="26903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2" descr="Kafka&quot; Icon - Download for free – Iconduck">
            <a:extLst>
              <a:ext uri="{FF2B5EF4-FFF2-40B4-BE49-F238E27FC236}">
                <a16:creationId xmlns:a16="http://schemas.microsoft.com/office/drawing/2014/main" id="{69A30B75-5F50-9B67-021A-C766636ECA3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06335" y="2576195"/>
            <a:ext cx="467056" cy="213833"/>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3394FB58-3866-57A5-82BE-48E6167E1502}"/>
              </a:ext>
            </a:extLst>
          </p:cNvPr>
          <p:cNvSpPr/>
          <p:nvPr/>
        </p:nvSpPr>
        <p:spPr bwMode="gray">
          <a:xfrm>
            <a:off x="377379" y="2279319"/>
            <a:ext cx="1374120" cy="1452997"/>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71" name="Picture 2" descr="Api - Free computer icons">
            <a:extLst>
              <a:ext uri="{FF2B5EF4-FFF2-40B4-BE49-F238E27FC236}">
                <a16:creationId xmlns:a16="http://schemas.microsoft.com/office/drawing/2014/main" id="{9C63020D-9785-5CF9-35B8-8D072968127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378006" y="4184259"/>
            <a:ext cx="452636" cy="452636"/>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D3750B92-F619-3D32-739A-24C0654E1AE9}"/>
              </a:ext>
            </a:extLst>
          </p:cNvPr>
          <p:cNvSpPr txBox="1"/>
          <p:nvPr/>
        </p:nvSpPr>
        <p:spPr>
          <a:xfrm>
            <a:off x="11182463" y="4033919"/>
            <a:ext cx="884552" cy="138499"/>
          </a:xfrm>
          <a:prstGeom prst="rect">
            <a:avLst/>
          </a:prstGeom>
          <a:noFill/>
        </p:spPr>
        <p:txBody>
          <a:bodyPr wrap="square" lIns="0" tIns="0" rIns="0" bIns="0" rtlCol="0">
            <a:spAutoFit/>
          </a:bodyPr>
          <a:lstStyle/>
          <a:p>
            <a:pPr algn="ctr">
              <a:spcBef>
                <a:spcPts val="600"/>
              </a:spcBef>
              <a:buSzPct val="100000"/>
            </a:pPr>
            <a:r>
              <a:rPr lang="en-US" sz="900" b="1" dirty="0">
                <a:solidFill>
                  <a:srgbClr val="313131"/>
                </a:solidFill>
              </a:rPr>
              <a:t>API Gateway</a:t>
            </a:r>
          </a:p>
        </p:txBody>
      </p:sp>
      <p:sp>
        <p:nvSpPr>
          <p:cNvPr id="81" name="Oval 80">
            <a:extLst>
              <a:ext uri="{FF2B5EF4-FFF2-40B4-BE49-F238E27FC236}">
                <a16:creationId xmlns:a16="http://schemas.microsoft.com/office/drawing/2014/main" id="{53224099-E415-1E8F-1B8D-00DFE0B0C47B}"/>
              </a:ext>
            </a:extLst>
          </p:cNvPr>
          <p:cNvSpPr/>
          <p:nvPr/>
        </p:nvSpPr>
        <p:spPr bwMode="gray">
          <a:xfrm>
            <a:off x="8237270" y="767866"/>
            <a:ext cx="175849" cy="175849"/>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83" name="Oval 82">
            <a:extLst>
              <a:ext uri="{FF2B5EF4-FFF2-40B4-BE49-F238E27FC236}">
                <a16:creationId xmlns:a16="http://schemas.microsoft.com/office/drawing/2014/main" id="{31CC05C4-8FB7-23F6-228A-291034F16ACA}"/>
              </a:ext>
            </a:extLst>
          </p:cNvPr>
          <p:cNvSpPr/>
          <p:nvPr/>
        </p:nvSpPr>
        <p:spPr bwMode="gray">
          <a:xfrm>
            <a:off x="11049023" y="3104436"/>
            <a:ext cx="175849" cy="175849"/>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4</a:t>
            </a:r>
          </a:p>
        </p:txBody>
      </p:sp>
      <p:sp>
        <p:nvSpPr>
          <p:cNvPr id="84" name="Oval 83">
            <a:extLst>
              <a:ext uri="{FF2B5EF4-FFF2-40B4-BE49-F238E27FC236}">
                <a16:creationId xmlns:a16="http://schemas.microsoft.com/office/drawing/2014/main" id="{0D9F737C-E22E-EF43-2BE4-38D414523C8E}"/>
              </a:ext>
            </a:extLst>
          </p:cNvPr>
          <p:cNvSpPr/>
          <p:nvPr/>
        </p:nvSpPr>
        <p:spPr bwMode="gray">
          <a:xfrm>
            <a:off x="10575336" y="4917957"/>
            <a:ext cx="175849" cy="175849"/>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900" b="1" dirty="0">
                <a:solidFill>
                  <a:prstClr val="white"/>
                </a:solidFill>
                <a:latin typeface="Calibri"/>
              </a:rPr>
              <a:t>5</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85" name="Rectangle 84">
            <a:extLst>
              <a:ext uri="{FF2B5EF4-FFF2-40B4-BE49-F238E27FC236}">
                <a16:creationId xmlns:a16="http://schemas.microsoft.com/office/drawing/2014/main" id="{1FC2FC75-E1DB-F7AF-CAF5-79102B39224B}"/>
              </a:ext>
            </a:extLst>
          </p:cNvPr>
          <p:cNvSpPr/>
          <p:nvPr/>
        </p:nvSpPr>
        <p:spPr bwMode="gray">
          <a:xfrm>
            <a:off x="8692155" y="4037513"/>
            <a:ext cx="1024279" cy="1576386"/>
          </a:xfrm>
          <a:prstGeom prst="rect">
            <a:avLst/>
          </a:prstGeom>
          <a:noFill/>
          <a:ln w="19050" cmpd="dbl" algn="ctr">
            <a:solidFill>
              <a:srgbClr val="FF0000"/>
            </a:solidFill>
            <a:miter lim="800000"/>
            <a:headEnd/>
            <a:tailEnd/>
          </a:ln>
        </p:spPr>
        <p:txBody>
          <a:bodyPr wrap="square" lIns="88900" tIns="88900" rIns="88900" bIns="12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Technology &amp; Business SME</a:t>
            </a:r>
          </a:p>
        </p:txBody>
      </p:sp>
    </p:spTree>
    <p:extLst>
      <p:ext uri="{BB962C8B-B14F-4D97-AF65-F5344CB8AC3E}">
        <p14:creationId xmlns:p14="http://schemas.microsoft.com/office/powerpoint/2010/main" val="395159546"/>
      </p:ext>
    </p:extLst>
  </p:cSld>
  <p:clrMapOvr>
    <a:masterClrMapping/>
  </p:clrMapOvr>
  <p:transition>
    <p:fade/>
  </p:transition>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770F7DA2-4EEF-D9E1-95E0-1AAE0BB2F32E}"/>
              </a:ext>
            </a:extLst>
          </p:cNvPr>
          <p:cNvSpPr/>
          <p:nvPr/>
        </p:nvSpPr>
        <p:spPr bwMode="gray">
          <a:xfrm>
            <a:off x="8201134" y="747634"/>
            <a:ext cx="3990866" cy="2075696"/>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CI/CD Build ,test, package pipeline components</a:t>
            </a:r>
          </a:p>
        </p:txBody>
      </p:sp>
      <p:sp>
        <p:nvSpPr>
          <p:cNvPr id="2" name="Text Placeholder 1">
            <a:extLst>
              <a:ext uri="{FF2B5EF4-FFF2-40B4-BE49-F238E27FC236}">
                <a16:creationId xmlns:a16="http://schemas.microsoft.com/office/drawing/2014/main" id="{37BFA118-F11F-7DF1-7578-F520E15BA3F5}"/>
              </a:ext>
            </a:extLst>
          </p:cNvPr>
          <p:cNvSpPr>
            <a:spLocks noGrp="1"/>
          </p:cNvSpPr>
          <p:nvPr>
            <p:ph type="body" sz="quarter" idx="13"/>
          </p:nvPr>
        </p:nvSpPr>
        <p:spPr>
          <a:xfrm>
            <a:off x="527882" y="237811"/>
            <a:ext cx="9784080" cy="334100"/>
          </a:xfrm>
        </p:spPr>
        <p:txBody>
          <a:bodyPr/>
          <a:lstStyle/>
          <a:p>
            <a:r>
              <a:rPr lang="en-US" sz="1600"/>
              <a:t>Key components &amp; roles for implementing AI Ops </a:t>
            </a:r>
          </a:p>
        </p:txBody>
      </p:sp>
      <p:sp>
        <p:nvSpPr>
          <p:cNvPr id="3" name="Title 2">
            <a:extLst>
              <a:ext uri="{FF2B5EF4-FFF2-40B4-BE49-F238E27FC236}">
                <a16:creationId xmlns:a16="http://schemas.microsoft.com/office/drawing/2014/main" id="{FB6A9D2F-20F6-E0BB-DE74-9560790E75C2}"/>
              </a:ext>
            </a:extLst>
          </p:cNvPr>
          <p:cNvSpPr>
            <a:spLocks noGrp="1"/>
          </p:cNvSpPr>
          <p:nvPr>
            <p:ph type="title"/>
          </p:nvPr>
        </p:nvSpPr>
        <p:spPr>
          <a:xfrm>
            <a:off x="501650" y="19554"/>
            <a:ext cx="11256264" cy="334099"/>
          </a:xfrm>
        </p:spPr>
        <p:txBody>
          <a:bodyPr/>
          <a:lstStyle/>
          <a:p>
            <a:r>
              <a:rPr lang="en-US" sz="2000" b="1"/>
              <a:t>Detailed Architecture to Implement </a:t>
            </a:r>
            <a:r>
              <a:rPr lang="en-US"/>
              <a:t>Operational Framework</a:t>
            </a:r>
            <a:r>
              <a:rPr lang="en-US" sz="2000" b="1"/>
              <a:t> for solutions present in Applications </a:t>
            </a:r>
          </a:p>
        </p:txBody>
      </p:sp>
      <p:grpSp>
        <p:nvGrpSpPr>
          <p:cNvPr id="4" name="Group 3">
            <a:extLst>
              <a:ext uri="{FF2B5EF4-FFF2-40B4-BE49-F238E27FC236}">
                <a16:creationId xmlns:a16="http://schemas.microsoft.com/office/drawing/2014/main" id="{EB040B45-0A76-9CBF-0DDB-60A8DA6F5EEC}"/>
              </a:ext>
            </a:extLst>
          </p:cNvPr>
          <p:cNvGrpSpPr/>
          <p:nvPr/>
        </p:nvGrpSpPr>
        <p:grpSpPr>
          <a:xfrm>
            <a:off x="5231827" y="6493806"/>
            <a:ext cx="4628410" cy="291830"/>
            <a:chOff x="2402733" y="6459166"/>
            <a:chExt cx="4628410" cy="291830"/>
          </a:xfrm>
        </p:grpSpPr>
        <p:sp>
          <p:nvSpPr>
            <p:cNvPr id="5" name="Rectangle 4">
              <a:extLst>
                <a:ext uri="{FF2B5EF4-FFF2-40B4-BE49-F238E27FC236}">
                  <a16:creationId xmlns:a16="http://schemas.microsoft.com/office/drawing/2014/main" id="{9B6539E8-7A1B-7D02-595F-FAA6AA164BC9}"/>
                </a:ext>
              </a:extLst>
            </p:cNvPr>
            <p:cNvSpPr/>
            <p:nvPr/>
          </p:nvSpPr>
          <p:spPr bwMode="gray">
            <a:xfrm>
              <a:off x="2402733" y="6459166"/>
              <a:ext cx="4562272" cy="291830"/>
            </a:xfrm>
            <a:prstGeom prst="rect">
              <a:avLst/>
            </a:prstGeom>
            <a:solidFill>
              <a:schemeClr val="bg1">
                <a:alpha val="2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9925F83D-0A9C-44CB-5BC9-A785A2C3147B}"/>
                </a:ext>
              </a:extLst>
            </p:cNvPr>
            <p:cNvSpPr/>
            <p:nvPr/>
          </p:nvSpPr>
          <p:spPr bwMode="gray">
            <a:xfrm>
              <a:off x="2489305" y="6569852"/>
              <a:ext cx="274357" cy="89352"/>
            </a:xfrm>
            <a:prstGeom prst="rect">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E2B4CEB1-A0A3-8CD6-756E-F74CDD211E71}"/>
                </a:ext>
              </a:extLst>
            </p:cNvPr>
            <p:cNvSpPr/>
            <p:nvPr/>
          </p:nvSpPr>
          <p:spPr bwMode="gray">
            <a:xfrm>
              <a:off x="3740737" y="6564174"/>
              <a:ext cx="274357" cy="89351"/>
            </a:xfrm>
            <a:prstGeom prst="rect">
              <a:avLst/>
            </a:prstGeom>
            <a:solidFill>
              <a:schemeClr val="accent1">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48BD287-24C8-7682-5FCD-00B68D59F42C}"/>
                </a:ext>
              </a:extLst>
            </p:cNvPr>
            <p:cNvSpPr/>
            <p:nvPr/>
          </p:nvSpPr>
          <p:spPr bwMode="gray">
            <a:xfrm>
              <a:off x="5761462" y="6564174"/>
              <a:ext cx="274357" cy="89351"/>
            </a:xfrm>
            <a:prstGeom prst="rect">
              <a:avLst/>
            </a:prstGeom>
            <a:solidFill>
              <a:schemeClr val="accent3">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613DBAFE-80F9-E3A5-D3E9-C9C3388CF79B}"/>
                </a:ext>
              </a:extLst>
            </p:cNvPr>
            <p:cNvSpPr/>
            <p:nvPr/>
          </p:nvSpPr>
          <p:spPr bwMode="gray">
            <a:xfrm>
              <a:off x="2733897" y="6516417"/>
              <a:ext cx="838160" cy="15625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I, CD, CT</a:t>
              </a:r>
            </a:p>
          </p:txBody>
        </p:sp>
        <p:sp>
          <p:nvSpPr>
            <p:cNvPr id="10" name="Rectangle 9">
              <a:extLst>
                <a:ext uri="{FF2B5EF4-FFF2-40B4-BE49-F238E27FC236}">
                  <a16:creationId xmlns:a16="http://schemas.microsoft.com/office/drawing/2014/main" id="{7654661B-E893-2623-D235-316ADAEA2491}"/>
                </a:ext>
              </a:extLst>
            </p:cNvPr>
            <p:cNvSpPr/>
            <p:nvPr/>
          </p:nvSpPr>
          <p:spPr bwMode="gray">
            <a:xfrm>
              <a:off x="3821747" y="6536899"/>
              <a:ext cx="1886246" cy="149133"/>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Management &amp; Reports</a:t>
              </a:r>
            </a:p>
          </p:txBody>
        </p:sp>
        <p:sp>
          <p:nvSpPr>
            <p:cNvPr id="11" name="Rectangle 10">
              <a:extLst>
                <a:ext uri="{FF2B5EF4-FFF2-40B4-BE49-F238E27FC236}">
                  <a16:creationId xmlns:a16="http://schemas.microsoft.com/office/drawing/2014/main" id="{6EDF7A1B-A0E0-9FDD-9FAD-F9271315331D}"/>
                </a:ext>
              </a:extLst>
            </p:cNvPr>
            <p:cNvSpPr/>
            <p:nvPr/>
          </p:nvSpPr>
          <p:spPr bwMode="gray">
            <a:xfrm>
              <a:off x="5901033" y="6536900"/>
              <a:ext cx="1130110" cy="143900"/>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Building</a:t>
              </a:r>
            </a:p>
          </p:txBody>
        </p:sp>
        <p:cxnSp>
          <p:nvCxnSpPr>
            <p:cNvPr id="12" name="Elbow Connector 97">
              <a:extLst>
                <a:ext uri="{FF2B5EF4-FFF2-40B4-BE49-F238E27FC236}">
                  <a16:creationId xmlns:a16="http://schemas.microsoft.com/office/drawing/2014/main" id="{07C75BD7-14FE-9088-F5F1-33332C59A7CF}"/>
                </a:ext>
              </a:extLst>
            </p:cNvPr>
            <p:cNvCxnSpPr/>
            <p:nvPr/>
          </p:nvCxnSpPr>
          <p:spPr>
            <a:xfrm rot="10800000" flipH="1" flipV="1">
              <a:off x="2518930" y="6692950"/>
              <a:ext cx="860087" cy="419"/>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10504E59-C5D3-EF5A-2BE7-3756FF7D566B}"/>
              </a:ext>
            </a:extLst>
          </p:cNvPr>
          <p:cNvGrpSpPr/>
          <p:nvPr/>
        </p:nvGrpSpPr>
        <p:grpSpPr>
          <a:xfrm>
            <a:off x="474410" y="808831"/>
            <a:ext cx="11489734" cy="5184185"/>
            <a:chOff x="315909" y="971321"/>
            <a:chExt cx="11731126" cy="5293100"/>
          </a:xfrm>
        </p:grpSpPr>
        <p:grpSp>
          <p:nvGrpSpPr>
            <p:cNvPr id="14" name="Group 13">
              <a:extLst>
                <a:ext uri="{FF2B5EF4-FFF2-40B4-BE49-F238E27FC236}">
                  <a16:creationId xmlns:a16="http://schemas.microsoft.com/office/drawing/2014/main" id="{B0BD7CE2-9506-3C36-0EC5-B1E776F19DA5}"/>
                </a:ext>
              </a:extLst>
            </p:cNvPr>
            <p:cNvGrpSpPr/>
            <p:nvPr/>
          </p:nvGrpSpPr>
          <p:grpSpPr>
            <a:xfrm>
              <a:off x="315909" y="971321"/>
              <a:ext cx="11731126" cy="5293100"/>
              <a:chOff x="315909" y="844368"/>
              <a:chExt cx="11731126" cy="5293100"/>
            </a:xfrm>
          </p:grpSpPr>
          <p:sp>
            <p:nvSpPr>
              <p:cNvPr id="17" name="Rectangle 16">
                <a:extLst>
                  <a:ext uri="{FF2B5EF4-FFF2-40B4-BE49-F238E27FC236}">
                    <a16:creationId xmlns:a16="http://schemas.microsoft.com/office/drawing/2014/main" id="{F181B19B-5382-0EC0-C52B-081CF49B9153}"/>
                  </a:ext>
                </a:extLst>
              </p:cNvPr>
              <p:cNvSpPr/>
              <p:nvPr/>
            </p:nvSpPr>
            <p:spPr bwMode="gray">
              <a:xfrm>
                <a:off x="1532327" y="1161431"/>
                <a:ext cx="5489217" cy="977774"/>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Use Cases/Models(</a:t>
                </a:r>
                <a:r>
                  <a:rPr kumimoji="0" lang="en-US" sz="1000" b="1" i="0" u="none" strike="noStrike" kern="1200" cap="none" spc="0" normalizeH="0" baseline="0" noProof="0" err="1">
                    <a:ln>
                      <a:noFill/>
                    </a:ln>
                    <a:solidFill>
                      <a:prstClr val="black"/>
                    </a:solidFill>
                    <a:effectLst/>
                    <a:uLnTx/>
                    <a:uFillTx/>
                    <a:latin typeface="Calibri"/>
                    <a:ea typeface="+mn-ea"/>
                    <a:cs typeface="+mn-cs"/>
                  </a:rPr>
                  <a:t>Development,UAT</a:t>
                </a:r>
                <a:r>
                  <a:rPr kumimoji="0" lang="en-US" sz="1000" b="1" i="0" u="none" strike="noStrike" kern="1200" cap="none" spc="0" normalizeH="0" baseline="0" noProof="0">
                    <a:ln>
                      <a:noFill/>
                    </a:ln>
                    <a:solidFill>
                      <a:prstClr val="black"/>
                    </a:solidFill>
                    <a:effectLst/>
                    <a:uLnTx/>
                    <a:uFillTx/>
                    <a:latin typeface="Calibri"/>
                    <a:ea typeface="+mn-ea"/>
                    <a:cs typeface="+mn-cs"/>
                  </a:rPr>
                  <a:t>)</a:t>
                </a:r>
              </a:p>
            </p:txBody>
          </p:sp>
          <p:sp>
            <p:nvSpPr>
              <p:cNvPr id="18" name="Rectangle 17">
                <a:extLst>
                  <a:ext uri="{FF2B5EF4-FFF2-40B4-BE49-F238E27FC236}">
                    <a16:creationId xmlns:a16="http://schemas.microsoft.com/office/drawing/2014/main" id="{44DA6F56-341C-393D-8BAB-3A6DEB8F0ED9}"/>
                  </a:ext>
                </a:extLst>
              </p:cNvPr>
              <p:cNvSpPr/>
              <p:nvPr/>
            </p:nvSpPr>
            <p:spPr bwMode="gray">
              <a:xfrm>
                <a:off x="1603711"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9" name="Rectangle 18">
                <a:extLst>
                  <a:ext uri="{FF2B5EF4-FFF2-40B4-BE49-F238E27FC236}">
                    <a16:creationId xmlns:a16="http://schemas.microsoft.com/office/drawing/2014/main" id="{84A70906-8745-E87E-BF58-4A81EBE1E786}"/>
                  </a:ext>
                </a:extLst>
              </p:cNvPr>
              <p:cNvSpPr/>
              <p:nvPr/>
            </p:nvSpPr>
            <p:spPr bwMode="gray">
              <a:xfrm>
                <a:off x="2718242" y="1450557"/>
                <a:ext cx="804049"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20" name="Rectangle 19">
                <a:extLst>
                  <a:ext uri="{FF2B5EF4-FFF2-40B4-BE49-F238E27FC236}">
                    <a16:creationId xmlns:a16="http://schemas.microsoft.com/office/drawing/2014/main" id="{3FDC9D51-4B39-7DB2-E8FD-94B19505599C}"/>
                  </a:ext>
                </a:extLst>
              </p:cNvPr>
              <p:cNvSpPr/>
              <p:nvPr/>
            </p:nvSpPr>
            <p:spPr bwMode="gray">
              <a:xfrm>
                <a:off x="3856418"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21" name="Rectangle 20">
                <a:extLst>
                  <a:ext uri="{FF2B5EF4-FFF2-40B4-BE49-F238E27FC236}">
                    <a16:creationId xmlns:a16="http://schemas.microsoft.com/office/drawing/2014/main" id="{09E98C58-89C2-3CA8-9A6F-EAAADD47CD2A}"/>
                  </a:ext>
                </a:extLst>
              </p:cNvPr>
              <p:cNvSpPr/>
              <p:nvPr/>
            </p:nvSpPr>
            <p:spPr bwMode="gray">
              <a:xfrm>
                <a:off x="4982772"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22" name="Rectangle 21">
                <a:extLst>
                  <a:ext uri="{FF2B5EF4-FFF2-40B4-BE49-F238E27FC236}">
                    <a16:creationId xmlns:a16="http://schemas.microsoft.com/office/drawing/2014/main" id="{FD4AD23A-E19E-DBD0-E270-5E9C868C453E}"/>
                  </a:ext>
                </a:extLst>
              </p:cNvPr>
              <p:cNvSpPr/>
              <p:nvPr/>
            </p:nvSpPr>
            <p:spPr bwMode="gray">
              <a:xfrm>
                <a:off x="6109124" y="1450557"/>
                <a:ext cx="780402" cy="524712"/>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23" name="Straight Arrow Connector 22">
                <a:extLst>
                  <a:ext uri="{FF2B5EF4-FFF2-40B4-BE49-F238E27FC236}">
                    <a16:creationId xmlns:a16="http://schemas.microsoft.com/office/drawing/2014/main" id="{D568F0DA-046A-BD2A-B4F3-A313AF28AE7F}"/>
                  </a:ext>
                </a:extLst>
              </p:cNvPr>
              <p:cNvCxnSpPr>
                <a:stCxn id="18" idx="3"/>
                <a:endCxn id="19" idx="1"/>
              </p:cNvCxnSpPr>
              <p:nvPr/>
            </p:nvCxnSpPr>
            <p:spPr>
              <a:xfrm>
                <a:off x="2384113" y="1712913"/>
                <a:ext cx="334129"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0C2A27-CB2D-7CE6-E0E3-57DD1CA203CD}"/>
                  </a:ext>
                </a:extLst>
              </p:cNvPr>
              <p:cNvCxnSpPr>
                <a:stCxn id="19" idx="3"/>
                <a:endCxn id="20" idx="1"/>
              </p:cNvCxnSpPr>
              <p:nvPr/>
            </p:nvCxnSpPr>
            <p:spPr>
              <a:xfrm>
                <a:off x="3522291" y="1712913"/>
                <a:ext cx="334127"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EEC5DBC-55C2-B860-143A-45F93009E6CC}"/>
                  </a:ext>
                </a:extLst>
              </p:cNvPr>
              <p:cNvCxnSpPr>
                <a:stCxn id="20" idx="3"/>
                <a:endCxn id="21" idx="1"/>
              </p:cNvCxnSpPr>
              <p:nvPr/>
            </p:nvCxnSpPr>
            <p:spPr>
              <a:xfrm>
                <a:off x="4636820"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6FCAE96-A81D-24CD-7D3A-BDCD444FC759}"/>
                  </a:ext>
                </a:extLst>
              </p:cNvPr>
              <p:cNvCxnSpPr>
                <a:stCxn id="21" idx="3"/>
                <a:endCxn id="22" idx="1"/>
              </p:cNvCxnSpPr>
              <p:nvPr/>
            </p:nvCxnSpPr>
            <p:spPr>
              <a:xfrm>
                <a:off x="5763174" y="1712914"/>
                <a:ext cx="34595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Can 33">
                <a:extLst>
                  <a:ext uri="{FF2B5EF4-FFF2-40B4-BE49-F238E27FC236}">
                    <a16:creationId xmlns:a16="http://schemas.microsoft.com/office/drawing/2014/main" id="{52621B74-533B-8C30-3F09-30703899E089}"/>
                  </a:ext>
                </a:extLst>
              </p:cNvPr>
              <p:cNvSpPr/>
              <p:nvPr/>
            </p:nvSpPr>
            <p:spPr bwMode="gray">
              <a:xfrm>
                <a:off x="405241" y="2190813"/>
                <a:ext cx="992454" cy="1785467"/>
              </a:xfrm>
              <a:prstGeom prst="can">
                <a:avLst>
                  <a:gd name="adj" fmla="val 21037"/>
                </a:avLst>
              </a:prstGeom>
              <a:solidFill>
                <a:schemeClr val="accent1"/>
              </a:solid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Aurigene Data</a:t>
                </a: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A42228E-3383-78AF-C8BE-DA264CED4F9F}"/>
                  </a:ext>
                </a:extLst>
              </p:cNvPr>
              <p:cNvSpPr/>
              <p:nvPr/>
            </p:nvSpPr>
            <p:spPr bwMode="gray">
              <a:xfrm>
                <a:off x="5543821" y="844368"/>
                <a:ext cx="944286" cy="264498"/>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29" name="Elbow Connector 36">
                <a:extLst>
                  <a:ext uri="{FF2B5EF4-FFF2-40B4-BE49-F238E27FC236}">
                    <a16:creationId xmlns:a16="http://schemas.microsoft.com/office/drawing/2014/main" id="{0AA20A93-1927-F81E-E77C-17AA79CFE4F8}"/>
                  </a:ext>
                </a:extLst>
              </p:cNvPr>
              <p:cNvCxnSpPr>
                <a:cxnSpLocks/>
                <a:stCxn id="22" idx="0"/>
                <a:endCxn id="28" idx="2"/>
              </p:cNvCxnSpPr>
              <p:nvPr/>
            </p:nvCxnSpPr>
            <p:spPr>
              <a:xfrm rot="16200000" flipV="1">
                <a:off x="6086800" y="1038031"/>
                <a:ext cx="341691" cy="483361"/>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37">
                <a:extLst>
                  <a:ext uri="{FF2B5EF4-FFF2-40B4-BE49-F238E27FC236}">
                    <a16:creationId xmlns:a16="http://schemas.microsoft.com/office/drawing/2014/main" id="{4EC7CE42-03D9-00BD-2D80-9D2DB676EC14}"/>
                  </a:ext>
                </a:extLst>
              </p:cNvPr>
              <p:cNvCxnSpPr>
                <a:cxnSpLocks/>
                <a:stCxn id="28" idx="1"/>
                <a:endCxn id="17" idx="0"/>
              </p:cNvCxnSpPr>
              <p:nvPr/>
            </p:nvCxnSpPr>
            <p:spPr>
              <a:xfrm rot="10800000" flipV="1">
                <a:off x="4276937" y="976617"/>
                <a:ext cx="1266885" cy="184814"/>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D3E2E09-07FB-D9DB-76C1-322B7C94DE8A}"/>
                  </a:ext>
                </a:extLst>
              </p:cNvPr>
              <p:cNvCxnSpPr>
                <a:cxnSpLocks/>
                <a:stCxn id="17" idx="3"/>
              </p:cNvCxnSpPr>
              <p:nvPr/>
            </p:nvCxnSpPr>
            <p:spPr>
              <a:xfrm>
                <a:off x="7021544" y="1650318"/>
                <a:ext cx="1261670" cy="41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B499AC0E-F43A-F81E-F16B-AEB922862BAA}"/>
                  </a:ext>
                </a:extLst>
              </p:cNvPr>
              <p:cNvSpPr/>
              <p:nvPr/>
            </p:nvSpPr>
            <p:spPr bwMode="gray">
              <a:xfrm>
                <a:off x="7187873" y="1177074"/>
                <a:ext cx="973767" cy="54109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ource </a:t>
                </a:r>
                <a:br>
                  <a:rPr kumimoji="0" lang="en-US" sz="800" b="1" i="0" u="none" strike="noStrike" kern="1200" cap="none" spc="0" normalizeH="0" baseline="0" noProof="0">
                    <a:ln>
                      <a:noFill/>
                    </a:ln>
                    <a:solidFill>
                      <a:prstClr val="white"/>
                    </a:solidFill>
                    <a:effectLst/>
                    <a:uLnTx/>
                    <a:uFillTx/>
                    <a:latin typeface="Calibri"/>
                    <a:ea typeface="+mn-ea"/>
                    <a:cs typeface="+mn-cs"/>
                  </a:rPr>
                </a:br>
                <a:r>
                  <a:rPr kumimoji="0" lang="en-US" sz="800" b="1" i="0" u="none" strike="noStrike" kern="1200" cap="none" spc="0" normalizeH="0" baseline="0" noProof="0">
                    <a:ln>
                      <a:noFill/>
                    </a:ln>
                    <a:solidFill>
                      <a:prstClr val="white"/>
                    </a:solidFill>
                    <a:effectLst/>
                    <a:uLnTx/>
                    <a:uFillTx/>
                    <a:latin typeface="Calibri"/>
                    <a:ea typeface="+mn-ea"/>
                    <a:cs typeface="+mn-cs"/>
                  </a:rPr>
                  <a:t>Code</a:t>
                </a:r>
              </a:p>
            </p:txBody>
          </p:sp>
          <p:sp>
            <p:nvSpPr>
              <p:cNvPr id="37" name="Rounded Rectangle 102">
                <a:extLst>
                  <a:ext uri="{FF2B5EF4-FFF2-40B4-BE49-F238E27FC236}">
                    <a16:creationId xmlns:a16="http://schemas.microsoft.com/office/drawing/2014/main" id="{5628D48F-4C44-AC58-E2F0-CBAE966C6F1D}"/>
                  </a:ext>
                </a:extLst>
              </p:cNvPr>
              <p:cNvSpPr/>
              <p:nvPr/>
            </p:nvSpPr>
            <p:spPr bwMode="gray">
              <a:xfrm>
                <a:off x="11169357" y="5592244"/>
                <a:ext cx="877678" cy="545224"/>
              </a:xfrm>
              <a:prstGeom prst="roundRect">
                <a:avLst>
                  <a:gd name="adj" fmla="val 50000"/>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Model Scoring</a:t>
                </a:r>
              </a:p>
            </p:txBody>
          </p:sp>
          <p:sp>
            <p:nvSpPr>
              <p:cNvPr id="39" name="Oval 38">
                <a:extLst>
                  <a:ext uri="{FF2B5EF4-FFF2-40B4-BE49-F238E27FC236}">
                    <a16:creationId xmlns:a16="http://schemas.microsoft.com/office/drawing/2014/main" id="{5CA25ED9-88E1-9B13-692E-D4450EF2B03E}"/>
                  </a:ext>
                </a:extLst>
              </p:cNvPr>
              <p:cNvSpPr/>
              <p:nvPr/>
            </p:nvSpPr>
            <p:spPr bwMode="gray">
              <a:xfrm>
                <a:off x="1543874" y="5619431"/>
                <a:ext cx="1286434" cy="495975"/>
              </a:xfrm>
              <a:prstGeom prst="ellipse">
                <a:avLst/>
              </a:prstGeom>
              <a:solidFill>
                <a:schemeClr val="bg1">
                  <a:lumMod val="85000"/>
                  <a:alpha val="90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riggers</a:t>
                </a:r>
              </a:p>
            </p:txBody>
          </p:sp>
          <p:sp>
            <p:nvSpPr>
              <p:cNvPr id="40" name="Flowchart: Magnetic Disk 39">
                <a:extLst>
                  <a:ext uri="{FF2B5EF4-FFF2-40B4-BE49-F238E27FC236}">
                    <a16:creationId xmlns:a16="http://schemas.microsoft.com/office/drawing/2014/main" id="{D0231D0B-9216-B5A7-51D8-2BC299FC3F8F}"/>
                  </a:ext>
                </a:extLst>
              </p:cNvPr>
              <p:cNvSpPr/>
              <p:nvPr/>
            </p:nvSpPr>
            <p:spPr bwMode="gray">
              <a:xfrm>
                <a:off x="3090664" y="5351988"/>
                <a:ext cx="3833392" cy="378997"/>
              </a:xfrm>
              <a:prstGeom prst="flowChartMagneticDisk">
                <a:avLst/>
              </a:prstGeom>
              <a:solidFill>
                <a:schemeClr val="accent1"/>
              </a:solidFill>
              <a:ln w="1270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achine Learning Metadata</a:t>
                </a:r>
              </a:p>
            </p:txBody>
          </p:sp>
          <p:cxnSp>
            <p:nvCxnSpPr>
              <p:cNvPr id="41" name="Straight Arrow Connector 40">
                <a:extLst>
                  <a:ext uri="{FF2B5EF4-FFF2-40B4-BE49-F238E27FC236}">
                    <a16:creationId xmlns:a16="http://schemas.microsoft.com/office/drawing/2014/main" id="{AE54E743-84CB-65C9-6CEE-B467EDC38D53}"/>
                  </a:ext>
                </a:extLst>
              </p:cNvPr>
              <p:cNvCxnSpPr>
                <a:cxnSpLocks/>
                <a:stCxn id="40" idx="1"/>
                <a:endCxn id="144" idx="2"/>
              </p:cNvCxnSpPr>
              <p:nvPr/>
            </p:nvCxnSpPr>
            <p:spPr>
              <a:xfrm flipH="1" flipV="1">
                <a:off x="4985816" y="5163760"/>
                <a:ext cx="21544" cy="188228"/>
              </a:xfrm>
              <a:prstGeom prst="straightConnector1">
                <a:avLst/>
              </a:prstGeom>
              <a:ln w="15875">
                <a:solidFill>
                  <a:schemeClr val="tx1">
                    <a:lumMod val="65000"/>
                    <a:lumOff val="3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36159AA-7214-C0F2-9140-6F3CC6B73107}"/>
                  </a:ext>
                </a:extLst>
              </p:cNvPr>
              <p:cNvCxnSpPr>
                <a:cxnSpLocks/>
              </p:cNvCxnSpPr>
              <p:nvPr/>
            </p:nvCxnSpPr>
            <p:spPr>
              <a:xfrm>
                <a:off x="9292665" y="1654506"/>
                <a:ext cx="285834" cy="679"/>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119">
                <a:extLst>
                  <a:ext uri="{FF2B5EF4-FFF2-40B4-BE49-F238E27FC236}">
                    <a16:creationId xmlns:a16="http://schemas.microsoft.com/office/drawing/2014/main" id="{7700A1E2-1337-7BF9-ED51-5637949A29AB}"/>
                  </a:ext>
                </a:extLst>
              </p:cNvPr>
              <p:cNvCxnSpPr>
                <a:cxnSpLocks/>
              </p:cNvCxnSpPr>
              <p:nvPr/>
            </p:nvCxnSpPr>
            <p:spPr>
              <a:xfrm>
                <a:off x="10773112" y="1655185"/>
                <a:ext cx="707171" cy="58070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Flowchart: Multidocument 44">
                <a:extLst>
                  <a:ext uri="{FF2B5EF4-FFF2-40B4-BE49-F238E27FC236}">
                    <a16:creationId xmlns:a16="http://schemas.microsoft.com/office/drawing/2014/main" id="{CEBE13B8-93C1-5A62-D413-71DFADC27123}"/>
                  </a:ext>
                </a:extLst>
              </p:cNvPr>
              <p:cNvSpPr/>
              <p:nvPr/>
            </p:nvSpPr>
            <p:spPr bwMode="gray">
              <a:xfrm>
                <a:off x="11040808" y="1386759"/>
                <a:ext cx="897531" cy="545224"/>
              </a:xfrm>
              <a:prstGeom prst="flowChartMulti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Packages/API</a:t>
                </a:r>
              </a:p>
            </p:txBody>
          </p:sp>
          <p:grpSp>
            <p:nvGrpSpPr>
              <p:cNvPr id="47" name="Group 46">
                <a:extLst>
                  <a:ext uri="{FF2B5EF4-FFF2-40B4-BE49-F238E27FC236}">
                    <a16:creationId xmlns:a16="http://schemas.microsoft.com/office/drawing/2014/main" id="{FFA5947A-8615-2FA3-916E-6F136311A6F3}"/>
                  </a:ext>
                </a:extLst>
              </p:cNvPr>
              <p:cNvGrpSpPr/>
              <p:nvPr/>
            </p:nvGrpSpPr>
            <p:grpSpPr>
              <a:xfrm>
                <a:off x="1799825" y="4088210"/>
                <a:ext cx="6371983" cy="1075550"/>
                <a:chOff x="-121346" y="2943017"/>
                <a:chExt cx="6435703" cy="987551"/>
              </a:xfrm>
            </p:grpSpPr>
            <p:sp>
              <p:nvSpPr>
                <p:cNvPr id="144" name="Rectangle 143">
                  <a:extLst>
                    <a:ext uri="{FF2B5EF4-FFF2-40B4-BE49-F238E27FC236}">
                      <a16:creationId xmlns:a16="http://schemas.microsoft.com/office/drawing/2014/main" id="{91B9887E-A1A1-0FB7-4928-11595548B566}"/>
                    </a:ext>
                  </a:extLst>
                </p:cNvPr>
                <p:cNvSpPr/>
                <p:nvPr/>
              </p:nvSpPr>
              <p:spPr bwMode="gray">
                <a:xfrm>
                  <a:off x="-121346" y="2943017"/>
                  <a:ext cx="6435703" cy="987551"/>
                </a:xfrm>
                <a:prstGeom prst="rect">
                  <a:avLst/>
                </a:prstGeom>
                <a:solidFill>
                  <a:schemeClr val="accent1">
                    <a:lumMod val="20000"/>
                    <a:lumOff val="80000"/>
                    <a:alpha val="60000"/>
                  </a:schemeClr>
                </a:solidFill>
                <a:ln w="19050" algn="ctr">
                  <a:noFill/>
                  <a:miter lim="800000"/>
                  <a:headEnd/>
                  <a:tailEnd/>
                </a:ln>
              </p:spPr>
              <p:txBody>
                <a:bodyPr wrap="square" lIns="88900" tIns="360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Automated pipeline to refresh models in Prod (If Triggered )</a:t>
                  </a:r>
                </a:p>
              </p:txBody>
            </p:sp>
            <p:sp>
              <p:nvSpPr>
                <p:cNvPr id="145" name="Rectangle 144">
                  <a:extLst>
                    <a:ext uri="{FF2B5EF4-FFF2-40B4-BE49-F238E27FC236}">
                      <a16:creationId xmlns:a16="http://schemas.microsoft.com/office/drawing/2014/main" id="{DD98D1A7-832A-E864-F911-68E694FE167A}"/>
                    </a:ext>
                  </a:extLst>
                </p:cNvPr>
                <p:cNvSpPr/>
                <p:nvPr/>
              </p:nvSpPr>
              <p:spPr bwMode="gray">
                <a:xfrm>
                  <a:off x="105314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Validation Checks</a:t>
                  </a:r>
                </a:p>
              </p:txBody>
            </p:sp>
            <p:sp>
              <p:nvSpPr>
                <p:cNvPr id="146" name="Rectangle 145">
                  <a:extLst>
                    <a:ext uri="{FF2B5EF4-FFF2-40B4-BE49-F238E27FC236}">
                      <a16:creationId xmlns:a16="http://schemas.microsoft.com/office/drawing/2014/main" id="{71E5ADEA-D05F-9623-DE44-44756A63577A}"/>
                    </a:ext>
                  </a:extLst>
                </p:cNvPr>
                <p:cNvSpPr/>
                <p:nvPr/>
              </p:nvSpPr>
              <p:spPr bwMode="gray">
                <a:xfrm>
                  <a:off x="2130083" y="3264977"/>
                  <a:ext cx="812090"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Feature Engineering</a:t>
                  </a:r>
                </a:p>
              </p:txBody>
            </p:sp>
            <p:sp>
              <p:nvSpPr>
                <p:cNvPr id="147" name="Rectangle 146">
                  <a:extLst>
                    <a:ext uri="{FF2B5EF4-FFF2-40B4-BE49-F238E27FC236}">
                      <a16:creationId xmlns:a16="http://schemas.microsoft.com/office/drawing/2014/main" id="{492E4D9C-089B-28E8-FC16-9B012100CE26}"/>
                    </a:ext>
                  </a:extLst>
                </p:cNvPr>
                <p:cNvSpPr/>
                <p:nvPr/>
              </p:nvSpPr>
              <p:spPr bwMode="gray">
                <a:xfrm>
                  <a:off x="3230903"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Training</a:t>
                  </a:r>
                </a:p>
              </p:txBody>
            </p:sp>
            <p:sp>
              <p:nvSpPr>
                <p:cNvPr id="148" name="Rectangle 147">
                  <a:extLst>
                    <a:ext uri="{FF2B5EF4-FFF2-40B4-BE49-F238E27FC236}">
                      <a16:creationId xmlns:a16="http://schemas.microsoft.com/office/drawing/2014/main" id="{B1FAA321-B46E-14A1-59D5-4163FB58EB01}"/>
                    </a:ext>
                  </a:extLst>
                </p:cNvPr>
                <p:cNvSpPr/>
                <p:nvPr/>
              </p:nvSpPr>
              <p:spPr bwMode="gray">
                <a:xfrm>
                  <a:off x="431185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yper parameter tuning</a:t>
                  </a:r>
                </a:p>
              </p:txBody>
            </p:sp>
            <p:sp>
              <p:nvSpPr>
                <p:cNvPr id="149" name="Rectangle 148">
                  <a:extLst>
                    <a:ext uri="{FF2B5EF4-FFF2-40B4-BE49-F238E27FC236}">
                      <a16:creationId xmlns:a16="http://schemas.microsoft.com/office/drawing/2014/main" id="{45220B92-248F-630C-603E-E1C590455EB6}"/>
                    </a:ext>
                  </a:extLst>
                </p:cNvPr>
                <p:cNvSpPr/>
                <p:nvPr/>
              </p:nvSpPr>
              <p:spPr bwMode="gray">
                <a:xfrm>
                  <a:off x="5392814"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Validation</a:t>
                  </a:r>
                </a:p>
              </p:txBody>
            </p:sp>
            <p:cxnSp>
              <p:nvCxnSpPr>
                <p:cNvPr id="150" name="Straight Arrow Connector 149">
                  <a:extLst>
                    <a:ext uri="{FF2B5EF4-FFF2-40B4-BE49-F238E27FC236}">
                      <a16:creationId xmlns:a16="http://schemas.microsoft.com/office/drawing/2014/main" id="{F6D80C52-3F70-EAB0-DE15-8012D5EFCD6A}"/>
                    </a:ext>
                  </a:extLst>
                </p:cNvPr>
                <p:cNvCxnSpPr>
                  <a:stCxn id="145" idx="3"/>
                  <a:endCxn id="146" idx="1"/>
                </p:cNvCxnSpPr>
                <p:nvPr/>
              </p:nvCxnSpPr>
              <p:spPr>
                <a:xfrm>
                  <a:off x="1841355" y="3529956"/>
                  <a:ext cx="28872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49282984-5782-FDD9-6EA3-1B24E32A26DB}"/>
                    </a:ext>
                  </a:extLst>
                </p:cNvPr>
                <p:cNvCxnSpPr>
                  <a:stCxn id="146" idx="3"/>
                  <a:endCxn id="147" idx="1"/>
                </p:cNvCxnSpPr>
                <p:nvPr/>
              </p:nvCxnSpPr>
              <p:spPr>
                <a:xfrm>
                  <a:off x="2942172" y="3529956"/>
                  <a:ext cx="288731"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2D112E19-BE21-69F0-B6A6-F376960A42F6}"/>
                    </a:ext>
                  </a:extLst>
                </p:cNvPr>
                <p:cNvCxnSpPr>
                  <a:stCxn id="147" idx="3"/>
                  <a:endCxn id="148" idx="1"/>
                </p:cNvCxnSpPr>
                <p:nvPr/>
              </p:nvCxnSpPr>
              <p:spPr>
                <a:xfrm>
                  <a:off x="4019110" y="3529956"/>
                  <a:ext cx="292748"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619822CE-DFF4-15B4-D0F4-C3ED92AC80AC}"/>
                    </a:ext>
                  </a:extLst>
                </p:cNvPr>
                <p:cNvCxnSpPr>
                  <a:stCxn id="148" idx="3"/>
                  <a:endCxn id="149" idx="1"/>
                </p:cNvCxnSpPr>
                <p:nvPr/>
              </p:nvCxnSpPr>
              <p:spPr>
                <a:xfrm>
                  <a:off x="5100064"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9A276DCC-BA74-B3CD-6940-6339E56BFC66}"/>
                    </a:ext>
                  </a:extLst>
                </p:cNvPr>
                <p:cNvSpPr/>
                <p:nvPr/>
              </p:nvSpPr>
              <p:spPr bwMode="gray">
                <a:xfrm>
                  <a:off x="-27808" y="3264977"/>
                  <a:ext cx="788206" cy="529959"/>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Extraction</a:t>
                  </a:r>
                </a:p>
              </p:txBody>
            </p:sp>
            <p:cxnSp>
              <p:nvCxnSpPr>
                <p:cNvPr id="155" name="Straight Arrow Connector 154">
                  <a:extLst>
                    <a:ext uri="{FF2B5EF4-FFF2-40B4-BE49-F238E27FC236}">
                      <a16:creationId xmlns:a16="http://schemas.microsoft.com/office/drawing/2014/main" id="{F9706F91-D0D0-7CFE-D9AA-B401392BB38D}"/>
                    </a:ext>
                  </a:extLst>
                </p:cNvPr>
                <p:cNvCxnSpPr>
                  <a:stCxn id="154" idx="3"/>
                  <a:endCxn id="145" idx="1"/>
                </p:cNvCxnSpPr>
                <p:nvPr/>
              </p:nvCxnSpPr>
              <p:spPr>
                <a:xfrm>
                  <a:off x="760398" y="3529956"/>
                  <a:ext cx="292750" cy="0"/>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Flowchart: Document 47">
                <a:extLst>
                  <a:ext uri="{FF2B5EF4-FFF2-40B4-BE49-F238E27FC236}">
                    <a16:creationId xmlns:a16="http://schemas.microsoft.com/office/drawing/2014/main" id="{682BD861-E5FE-AD5A-D227-76B94784831A}"/>
                  </a:ext>
                </a:extLst>
              </p:cNvPr>
              <p:cNvSpPr/>
              <p:nvPr/>
            </p:nvSpPr>
            <p:spPr bwMode="gray">
              <a:xfrm>
                <a:off x="10308093" y="4070136"/>
                <a:ext cx="830287" cy="545224"/>
              </a:xfrm>
              <a:prstGeom prst="flowChartDocument">
                <a:avLst/>
              </a:prstGeom>
              <a:solidFill>
                <a:srgbClr val="DDDDDD"/>
              </a:solidFill>
              <a:ln w="9525" algn="ctr">
                <a:solidFill>
                  <a:schemeClr val="bg1">
                    <a:lumMod val="9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Trained model</a:t>
                </a:r>
              </a:p>
            </p:txBody>
          </p:sp>
          <p:cxnSp>
            <p:nvCxnSpPr>
              <p:cNvPr id="49" name="Elbow Connector 153">
                <a:extLst>
                  <a:ext uri="{FF2B5EF4-FFF2-40B4-BE49-F238E27FC236}">
                    <a16:creationId xmlns:a16="http://schemas.microsoft.com/office/drawing/2014/main" id="{4A8FCB1E-3634-5FEB-3778-11434684FF34}"/>
                  </a:ext>
                </a:extLst>
              </p:cNvPr>
              <p:cNvCxnSpPr>
                <a:cxnSpLocks/>
                <a:stCxn id="37" idx="1"/>
                <a:endCxn id="2205" idx="3"/>
              </p:cNvCxnSpPr>
              <p:nvPr/>
            </p:nvCxnSpPr>
            <p:spPr>
              <a:xfrm rot="10800000">
                <a:off x="8126951" y="5859749"/>
                <a:ext cx="3042406" cy="5108"/>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156">
                <a:extLst>
                  <a:ext uri="{FF2B5EF4-FFF2-40B4-BE49-F238E27FC236}">
                    <a16:creationId xmlns:a16="http://schemas.microsoft.com/office/drawing/2014/main" id="{D8AF2BBD-0958-49A5-89FE-9F64882E139B}"/>
                  </a:ext>
                </a:extLst>
              </p:cNvPr>
              <p:cNvCxnSpPr>
                <a:cxnSpLocks/>
                <a:stCxn id="2205" idx="1"/>
                <a:endCxn id="39" idx="6"/>
              </p:cNvCxnSpPr>
              <p:nvPr/>
            </p:nvCxnSpPr>
            <p:spPr>
              <a:xfrm rot="10800000" flipV="1">
                <a:off x="2830309" y="5859747"/>
                <a:ext cx="4070216" cy="7671"/>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A9D54D1F-77AA-1B3B-C060-AB7568EA8A01}"/>
                  </a:ext>
                </a:extLst>
              </p:cNvPr>
              <p:cNvSpPr/>
              <p:nvPr/>
            </p:nvSpPr>
            <p:spPr bwMode="gray">
              <a:xfrm>
                <a:off x="3034001" y="5805556"/>
                <a:ext cx="424909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Model Performance / Distribution of Key Variables / Customer Segments</a:t>
                </a:r>
              </a:p>
            </p:txBody>
          </p:sp>
          <p:cxnSp>
            <p:nvCxnSpPr>
              <p:cNvPr id="52" name="Elbow Connector 160">
                <a:extLst>
                  <a:ext uri="{FF2B5EF4-FFF2-40B4-BE49-F238E27FC236}">
                    <a16:creationId xmlns:a16="http://schemas.microsoft.com/office/drawing/2014/main" id="{2AC90B25-2888-3813-64E1-72806B6FEF5D}"/>
                  </a:ext>
                </a:extLst>
              </p:cNvPr>
              <p:cNvCxnSpPr>
                <a:stCxn id="27" idx="1"/>
                <a:endCxn id="17" idx="1"/>
              </p:cNvCxnSpPr>
              <p:nvPr/>
            </p:nvCxnSpPr>
            <p:spPr>
              <a:xfrm rot="5400000" flipH="1" flipV="1">
                <a:off x="946650" y="1605137"/>
                <a:ext cx="540495" cy="630859"/>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167">
                <a:extLst>
                  <a:ext uri="{FF2B5EF4-FFF2-40B4-BE49-F238E27FC236}">
                    <a16:creationId xmlns:a16="http://schemas.microsoft.com/office/drawing/2014/main" id="{6065E023-68F6-2D6E-E9AC-AD7A2DF3FF8F}"/>
                  </a:ext>
                </a:extLst>
              </p:cNvPr>
              <p:cNvCxnSpPr>
                <a:cxnSpLocks/>
                <a:stCxn id="39" idx="0"/>
                <a:endCxn id="144" idx="0"/>
              </p:cNvCxnSpPr>
              <p:nvPr/>
            </p:nvCxnSpPr>
            <p:spPr>
              <a:xfrm rot="5400000" flipH="1" flipV="1">
                <a:off x="2820843" y="3454458"/>
                <a:ext cx="1531222" cy="2798726"/>
              </a:xfrm>
              <a:prstGeom prst="bentConnector5">
                <a:avLst>
                  <a:gd name="adj1" fmla="val 14879"/>
                  <a:gd name="adj2" fmla="val 124"/>
                  <a:gd name="adj3" fmla="val 115243"/>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170">
                <a:extLst>
                  <a:ext uri="{FF2B5EF4-FFF2-40B4-BE49-F238E27FC236}">
                    <a16:creationId xmlns:a16="http://schemas.microsoft.com/office/drawing/2014/main" id="{02DA4AA3-633A-EE1A-666B-CE2311FBE69F}"/>
                  </a:ext>
                </a:extLst>
              </p:cNvPr>
              <p:cNvCxnSpPr>
                <a:stCxn id="27" idx="2"/>
                <a:endCxn id="37" idx="2"/>
              </p:cNvCxnSpPr>
              <p:nvPr/>
            </p:nvCxnSpPr>
            <p:spPr>
              <a:xfrm rot="10800000" flipH="1" flipV="1">
                <a:off x="405240" y="3083546"/>
                <a:ext cx="11202955" cy="3053922"/>
              </a:xfrm>
              <a:prstGeom prst="bentConnector4">
                <a:avLst>
                  <a:gd name="adj1" fmla="val -2083"/>
                  <a:gd name="adj2" fmla="val 116917"/>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178">
                <a:extLst>
                  <a:ext uri="{FF2B5EF4-FFF2-40B4-BE49-F238E27FC236}">
                    <a16:creationId xmlns:a16="http://schemas.microsoft.com/office/drawing/2014/main" id="{B477FF88-DD29-26A9-749F-23CD9E829215}"/>
                  </a:ext>
                </a:extLst>
              </p:cNvPr>
              <p:cNvCxnSpPr>
                <a:stCxn id="27" idx="3"/>
                <a:endCxn id="154" idx="1"/>
              </p:cNvCxnSpPr>
              <p:nvPr/>
            </p:nvCxnSpPr>
            <p:spPr>
              <a:xfrm rot="16200000" flipH="1">
                <a:off x="1021366" y="3856380"/>
                <a:ext cx="751171" cy="990968"/>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17FF8DB-A779-406B-604D-EA0AEB699D2E}"/>
                  </a:ext>
                </a:extLst>
              </p:cNvPr>
              <p:cNvSpPr/>
              <p:nvPr/>
            </p:nvSpPr>
            <p:spPr bwMode="gray">
              <a:xfrm>
                <a:off x="369529" y="1387281"/>
                <a:ext cx="982629" cy="52471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Data Analysis</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Univariate &amp; Bivariate)</a:t>
                </a:r>
              </a:p>
            </p:txBody>
          </p:sp>
          <p:cxnSp>
            <p:nvCxnSpPr>
              <p:cNvPr id="57" name="Elbow Connector 189">
                <a:extLst>
                  <a:ext uri="{FF2B5EF4-FFF2-40B4-BE49-F238E27FC236}">
                    <a16:creationId xmlns:a16="http://schemas.microsoft.com/office/drawing/2014/main" id="{6B2E12A0-9882-ACD2-A86E-BF9CAA6EFE71}"/>
                  </a:ext>
                </a:extLst>
              </p:cNvPr>
              <p:cNvCxnSpPr>
                <a:stCxn id="39" idx="2"/>
                <a:endCxn id="56" idx="1"/>
              </p:cNvCxnSpPr>
              <p:nvPr/>
            </p:nvCxnSpPr>
            <p:spPr>
              <a:xfrm rot="10800000">
                <a:off x="369529" y="1649638"/>
                <a:ext cx="1174345" cy="4217782"/>
              </a:xfrm>
              <a:prstGeom prst="bentConnector3">
                <a:avLst>
                  <a:gd name="adj1" fmla="val 11931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194">
                <a:extLst>
                  <a:ext uri="{FF2B5EF4-FFF2-40B4-BE49-F238E27FC236}">
                    <a16:creationId xmlns:a16="http://schemas.microsoft.com/office/drawing/2014/main" id="{5F42DC4B-1B41-BDF6-0BCD-723622A63174}"/>
                  </a:ext>
                </a:extLst>
              </p:cNvPr>
              <p:cNvCxnSpPr>
                <a:cxnSpLocks/>
                <a:stCxn id="133" idx="3"/>
              </p:cNvCxnSpPr>
              <p:nvPr/>
            </p:nvCxnSpPr>
            <p:spPr>
              <a:xfrm flipH="1" flipV="1">
                <a:off x="8787940" y="1931950"/>
                <a:ext cx="1164050" cy="2512031"/>
              </a:xfrm>
              <a:prstGeom prst="bentConnector4">
                <a:avLst>
                  <a:gd name="adj1" fmla="val -19638"/>
                  <a:gd name="adj2" fmla="val 62944"/>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27CD35F6-C95C-6DFB-B642-BC5F51953C14}"/>
                  </a:ext>
                </a:extLst>
              </p:cNvPr>
              <p:cNvGrpSpPr/>
              <p:nvPr/>
            </p:nvGrpSpPr>
            <p:grpSpPr>
              <a:xfrm>
                <a:off x="9794773" y="3333532"/>
                <a:ext cx="828200" cy="529960"/>
                <a:chOff x="7262366" y="1894930"/>
                <a:chExt cx="1012144" cy="529960"/>
              </a:xfrm>
            </p:grpSpPr>
            <p:cxnSp>
              <p:nvCxnSpPr>
                <p:cNvPr id="141" name="Straight Connector 140">
                  <a:extLst>
                    <a:ext uri="{FF2B5EF4-FFF2-40B4-BE49-F238E27FC236}">
                      <a16:creationId xmlns:a16="http://schemas.microsoft.com/office/drawing/2014/main" id="{9AA8F950-585A-DCAE-68F2-B51964EA9C99}"/>
                    </a:ext>
                  </a:extLst>
                </p:cNvPr>
                <p:cNvCxnSpPr/>
                <p:nvPr/>
              </p:nvCxnSpPr>
              <p:spPr>
                <a:xfrm>
                  <a:off x="7262366" y="1917291"/>
                  <a:ext cx="70792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F5A9166-2CA7-A23E-BE31-028FCAAB0DE9}"/>
                    </a:ext>
                  </a:extLst>
                </p:cNvPr>
                <p:cNvCxnSpPr/>
                <p:nvPr/>
              </p:nvCxnSpPr>
              <p:spPr>
                <a:xfrm>
                  <a:off x="7350391" y="1961537"/>
                  <a:ext cx="531872" cy="0"/>
                </a:xfrm>
                <a:prstGeom prst="line">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86ADAFFC-9123-8650-11D1-4D901AAF4667}"/>
                    </a:ext>
                  </a:extLst>
                </p:cNvPr>
                <p:cNvSpPr/>
                <p:nvPr/>
              </p:nvSpPr>
              <p:spPr bwMode="gray">
                <a:xfrm>
                  <a:off x="7320781" y="1894930"/>
                  <a:ext cx="953729" cy="52996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ource </a:t>
                  </a:r>
                  <a:br>
                    <a:rPr kumimoji="0" lang="en-US" sz="800" b="1" i="0" u="none" strike="noStrike" kern="1200" cap="none" spc="0" normalizeH="0" baseline="0" noProof="0">
                      <a:ln>
                        <a:noFill/>
                      </a:ln>
                      <a:solidFill>
                        <a:prstClr val="white"/>
                      </a:solidFill>
                      <a:effectLst/>
                      <a:uLnTx/>
                      <a:uFillTx/>
                      <a:latin typeface="Calibri"/>
                      <a:ea typeface="+mn-ea"/>
                      <a:cs typeface="+mn-cs"/>
                    </a:rPr>
                  </a:br>
                  <a:r>
                    <a:rPr kumimoji="0" lang="en-US" sz="800" b="1" i="0" u="none" strike="noStrike" kern="1200" cap="none" spc="0" normalizeH="0" baseline="0" noProof="0">
                      <a:ln>
                        <a:noFill/>
                      </a:ln>
                      <a:solidFill>
                        <a:prstClr val="white"/>
                      </a:solidFill>
                      <a:effectLst/>
                      <a:uLnTx/>
                      <a:uFillTx/>
                      <a:latin typeface="Calibri"/>
                      <a:ea typeface="+mn-ea"/>
                      <a:cs typeface="+mn-cs"/>
                    </a:rPr>
                    <a:t>Code</a:t>
                  </a:r>
                </a:p>
              </p:txBody>
            </p:sp>
          </p:grpSp>
          <p:sp>
            <p:nvSpPr>
              <p:cNvPr id="61" name="Rectangle 60">
                <a:extLst>
                  <a:ext uri="{FF2B5EF4-FFF2-40B4-BE49-F238E27FC236}">
                    <a16:creationId xmlns:a16="http://schemas.microsoft.com/office/drawing/2014/main" id="{4A319A9D-4062-EEDD-B7EE-891496ECDE6B}"/>
                  </a:ext>
                </a:extLst>
              </p:cNvPr>
              <p:cNvSpPr/>
              <p:nvPr/>
            </p:nvSpPr>
            <p:spPr bwMode="gray">
              <a:xfrm>
                <a:off x="315909" y="5516314"/>
                <a:ext cx="1243120" cy="234072"/>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ata &amp; Model Logs</a:t>
                </a:r>
              </a:p>
            </p:txBody>
          </p:sp>
          <p:sp>
            <p:nvSpPr>
              <p:cNvPr id="62" name="Rectangle 61">
                <a:extLst>
                  <a:ext uri="{FF2B5EF4-FFF2-40B4-BE49-F238E27FC236}">
                    <a16:creationId xmlns:a16="http://schemas.microsoft.com/office/drawing/2014/main" id="{FF76E6F9-A0CB-B68C-5276-6501C3584977}"/>
                  </a:ext>
                </a:extLst>
              </p:cNvPr>
              <p:cNvSpPr/>
              <p:nvPr/>
            </p:nvSpPr>
            <p:spPr bwMode="gray">
              <a:xfrm>
                <a:off x="2648584" y="3290189"/>
                <a:ext cx="2214979"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Trigger to refresh existing model</a:t>
                </a:r>
              </a:p>
            </p:txBody>
          </p:sp>
          <p:sp>
            <p:nvSpPr>
              <p:cNvPr id="63" name="Rectangle 62">
                <a:extLst>
                  <a:ext uri="{FF2B5EF4-FFF2-40B4-BE49-F238E27FC236}">
                    <a16:creationId xmlns:a16="http://schemas.microsoft.com/office/drawing/2014/main" id="{F8E0DDA9-8789-C41F-E068-D8CFBE23D77A}"/>
                  </a:ext>
                </a:extLst>
              </p:cNvPr>
              <p:cNvSpPr/>
              <p:nvPr/>
            </p:nvSpPr>
            <p:spPr bwMode="gray">
              <a:xfrm>
                <a:off x="9171140" y="5171019"/>
                <a:ext cx="780402" cy="433646"/>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Cockpits &amp; CM</a:t>
                </a:r>
              </a:p>
            </p:txBody>
          </p:sp>
          <p:cxnSp>
            <p:nvCxnSpPr>
              <p:cNvPr id="64" name="Elbow Connector 211">
                <a:extLst>
                  <a:ext uri="{FF2B5EF4-FFF2-40B4-BE49-F238E27FC236}">
                    <a16:creationId xmlns:a16="http://schemas.microsoft.com/office/drawing/2014/main" id="{54E055A0-16E5-0599-F9F1-4D22CB0F9E2A}"/>
                  </a:ext>
                </a:extLst>
              </p:cNvPr>
              <p:cNvCxnSpPr>
                <a:stCxn id="37" idx="1"/>
                <a:endCxn id="63" idx="3"/>
              </p:cNvCxnSpPr>
              <p:nvPr/>
            </p:nvCxnSpPr>
            <p:spPr>
              <a:xfrm rot="10800000">
                <a:off x="9951542" y="5387843"/>
                <a:ext cx="1217815" cy="477014"/>
              </a:xfrm>
              <a:prstGeom prst="bentConnector3">
                <a:avLst>
                  <a:gd name="adj1" fmla="val 50000"/>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6CA6CB57-22EE-9869-2A68-36314244425F}"/>
                  </a:ext>
                </a:extLst>
              </p:cNvPr>
              <p:cNvSpPr/>
              <p:nvPr/>
            </p:nvSpPr>
            <p:spPr bwMode="gray">
              <a:xfrm>
                <a:off x="6911818" y="110232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2</a:t>
                </a:r>
              </a:p>
            </p:txBody>
          </p:sp>
          <p:sp>
            <p:nvSpPr>
              <p:cNvPr id="131" name="Oval 130">
                <a:extLst>
                  <a:ext uri="{FF2B5EF4-FFF2-40B4-BE49-F238E27FC236}">
                    <a16:creationId xmlns:a16="http://schemas.microsoft.com/office/drawing/2014/main" id="{9B6C9F0A-8CE1-EB08-1886-C1A09D5498E3}"/>
                  </a:ext>
                </a:extLst>
              </p:cNvPr>
              <p:cNvSpPr/>
              <p:nvPr/>
            </p:nvSpPr>
            <p:spPr bwMode="gray">
              <a:xfrm>
                <a:off x="8235766" y="5512239"/>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6</a:t>
                </a:r>
              </a:p>
            </p:txBody>
          </p:sp>
          <p:sp>
            <p:nvSpPr>
              <p:cNvPr id="132" name="Oval 131">
                <a:extLst>
                  <a:ext uri="{FF2B5EF4-FFF2-40B4-BE49-F238E27FC236}">
                    <a16:creationId xmlns:a16="http://schemas.microsoft.com/office/drawing/2014/main" id="{B1F61B7C-CE7B-2ACA-0A76-B37DAFB3474D}"/>
                  </a:ext>
                </a:extLst>
              </p:cNvPr>
              <p:cNvSpPr/>
              <p:nvPr/>
            </p:nvSpPr>
            <p:spPr bwMode="gray">
              <a:xfrm>
                <a:off x="2438627" y="3853338"/>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7</a:t>
                </a:r>
              </a:p>
            </p:txBody>
          </p:sp>
          <p:sp>
            <p:nvSpPr>
              <p:cNvPr id="133" name="Rectangle 132">
                <a:extLst>
                  <a:ext uri="{FF2B5EF4-FFF2-40B4-BE49-F238E27FC236}">
                    <a16:creationId xmlns:a16="http://schemas.microsoft.com/office/drawing/2014/main" id="{88ADAF2B-7B1E-B4E9-D7B4-855961E49321}"/>
                  </a:ext>
                </a:extLst>
              </p:cNvPr>
              <p:cNvSpPr/>
              <p:nvPr/>
            </p:nvSpPr>
            <p:spPr bwMode="gray">
              <a:xfrm>
                <a:off x="9171588" y="4246869"/>
                <a:ext cx="780402" cy="394224"/>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odel Analysis</a:t>
                </a:r>
              </a:p>
            </p:txBody>
          </p:sp>
          <p:cxnSp>
            <p:nvCxnSpPr>
              <p:cNvPr id="134" name="Elbow Connector 233">
                <a:extLst>
                  <a:ext uri="{FF2B5EF4-FFF2-40B4-BE49-F238E27FC236}">
                    <a16:creationId xmlns:a16="http://schemas.microsoft.com/office/drawing/2014/main" id="{83A79ECB-6321-ED7A-AAF4-5D6A5D58C575}"/>
                  </a:ext>
                </a:extLst>
              </p:cNvPr>
              <p:cNvCxnSpPr>
                <a:stCxn id="149" idx="3"/>
                <a:endCxn id="133" idx="1"/>
              </p:cNvCxnSpPr>
              <p:nvPr/>
            </p:nvCxnSpPr>
            <p:spPr>
              <a:xfrm flipV="1">
                <a:off x="8039791" y="4443980"/>
                <a:ext cx="1131797" cy="283470"/>
              </a:xfrm>
              <a:prstGeom prst="bentConnector3">
                <a:avLst>
                  <a:gd name="adj1" fmla="val 50000"/>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A3262F30-0B4F-AD02-FBD9-8435A1DEF463}"/>
                  </a:ext>
                </a:extLst>
              </p:cNvPr>
              <p:cNvSpPr/>
              <p:nvPr/>
            </p:nvSpPr>
            <p:spPr bwMode="gray">
              <a:xfrm>
                <a:off x="9043886" y="4114800"/>
                <a:ext cx="1045798" cy="1609505"/>
              </a:xfrm>
              <a:prstGeom prst="rect">
                <a:avLst/>
              </a:prstGeom>
              <a:noFill/>
              <a:ln w="19050" cmpd="dbl" algn="ctr">
                <a:solidFill>
                  <a:srgbClr val="FF0000"/>
                </a:solidFill>
                <a:miter lim="800000"/>
                <a:headEnd/>
                <a:tailEnd/>
              </a:ln>
            </p:spPr>
            <p:txBody>
              <a:bodyPr wrap="square" lIns="88900" tIns="88900" rIns="88900" bIns="126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black"/>
                    </a:solidFill>
                    <a:effectLst/>
                    <a:uLnTx/>
                    <a:uFillTx/>
                    <a:latin typeface="Calibri"/>
                    <a:ea typeface="+mn-ea"/>
                    <a:cs typeface="+mn-cs"/>
                  </a:rPr>
                  <a:t>Technology &amp; Business SME</a:t>
                </a:r>
              </a:p>
            </p:txBody>
          </p:sp>
          <p:cxnSp>
            <p:nvCxnSpPr>
              <p:cNvPr id="137" name="Elbow Connector 89">
                <a:extLst>
                  <a:ext uri="{FF2B5EF4-FFF2-40B4-BE49-F238E27FC236}">
                    <a16:creationId xmlns:a16="http://schemas.microsoft.com/office/drawing/2014/main" id="{7E726362-D6BD-A425-2793-969FB97E7363}"/>
                  </a:ext>
                </a:extLst>
              </p:cNvPr>
              <p:cNvCxnSpPr>
                <a:cxnSpLocks/>
                <a:stCxn id="133" idx="0"/>
                <a:endCxn id="125" idx="3"/>
              </p:cNvCxnSpPr>
              <p:nvPr/>
            </p:nvCxnSpPr>
            <p:spPr>
              <a:xfrm rot="16200000" flipV="1">
                <a:off x="7501807" y="2186886"/>
                <a:ext cx="1262920" cy="2857046"/>
              </a:xfrm>
              <a:prstGeom prst="bentConnector2">
                <a:avLst/>
              </a:prstGeom>
              <a:ln w="15875">
                <a:solidFill>
                  <a:schemeClr val="tx1">
                    <a:lumMod val="65000"/>
                    <a:lumOff val="3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FD734D6E-5599-C194-8313-501751C00AE6}"/>
                  </a:ext>
                </a:extLst>
              </p:cNvPr>
              <p:cNvSpPr/>
              <p:nvPr/>
            </p:nvSpPr>
            <p:spPr bwMode="gray">
              <a:xfrm>
                <a:off x="325090" y="2214845"/>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1</a:t>
                </a:r>
              </a:p>
            </p:txBody>
          </p:sp>
          <p:sp>
            <p:nvSpPr>
              <p:cNvPr id="139" name="Oval 138">
                <a:extLst>
                  <a:ext uri="{FF2B5EF4-FFF2-40B4-BE49-F238E27FC236}">
                    <a16:creationId xmlns:a16="http://schemas.microsoft.com/office/drawing/2014/main" id="{E1128EDF-7A4A-1804-C308-5A7BC012AE56}"/>
                  </a:ext>
                </a:extLst>
              </p:cNvPr>
              <p:cNvSpPr/>
              <p:nvPr/>
            </p:nvSpPr>
            <p:spPr bwMode="gray">
              <a:xfrm>
                <a:off x="9803590" y="4140753"/>
                <a:ext cx="179543" cy="179543"/>
              </a:xfrm>
              <a:prstGeom prst="ellipse">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prstClr val="white"/>
                    </a:solidFill>
                    <a:effectLst/>
                    <a:uLnTx/>
                    <a:uFillTx/>
                    <a:latin typeface="Calibri"/>
                    <a:ea typeface="+mn-ea"/>
                    <a:cs typeface="+mn-cs"/>
                  </a:rPr>
                  <a:t>8</a:t>
                </a:r>
              </a:p>
            </p:txBody>
          </p:sp>
          <p:sp>
            <p:nvSpPr>
              <p:cNvPr id="140" name="Rectangle 139">
                <a:extLst>
                  <a:ext uri="{FF2B5EF4-FFF2-40B4-BE49-F238E27FC236}">
                    <a16:creationId xmlns:a16="http://schemas.microsoft.com/office/drawing/2014/main" id="{C21FDB08-4B71-87C1-6E7D-5E0D1655FEF5}"/>
                  </a:ext>
                </a:extLst>
              </p:cNvPr>
              <p:cNvSpPr/>
              <p:nvPr/>
            </p:nvSpPr>
            <p:spPr bwMode="gray">
              <a:xfrm>
                <a:off x="6244514" y="2992699"/>
                <a:ext cx="4014081" cy="266886"/>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Changes in business drivers leads to manual model re-building</a:t>
                </a:r>
              </a:p>
            </p:txBody>
          </p:sp>
        </p:grpSp>
        <p:sp>
          <p:nvSpPr>
            <p:cNvPr id="15" name="Rectangle 14">
              <a:extLst>
                <a:ext uri="{FF2B5EF4-FFF2-40B4-BE49-F238E27FC236}">
                  <a16:creationId xmlns:a16="http://schemas.microsoft.com/office/drawing/2014/main" id="{3B7CBF6A-719F-43C1-9ADD-34831FE7F05E}"/>
                </a:ext>
              </a:extLst>
            </p:cNvPr>
            <p:cNvSpPr/>
            <p:nvPr/>
          </p:nvSpPr>
          <p:spPr bwMode="gray">
            <a:xfrm>
              <a:off x="1831600" y="3275986"/>
              <a:ext cx="861050" cy="667834"/>
            </a:xfrm>
            <a:prstGeom prst="rect">
              <a:avLst/>
            </a:prstGeom>
            <a:solidFill>
              <a:schemeClr val="bg1">
                <a:lumMod val="85000"/>
              </a:schemeClr>
            </a:solidFill>
            <a:ln w="19050" algn="ctr">
              <a:noFill/>
              <a:miter lim="800000"/>
              <a:headEnd/>
              <a:tailEnd/>
            </a:ln>
          </p:spPr>
          <p:txBody>
            <a:bodyPr wrap="square" lIns="88900" tIns="360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CT: continuous training</a:t>
              </a:r>
            </a:p>
          </p:txBody>
        </p:sp>
      </p:grpSp>
      <p:pic>
        <p:nvPicPr>
          <p:cNvPr id="66" name="Picture 65">
            <a:extLst>
              <a:ext uri="{FF2B5EF4-FFF2-40B4-BE49-F238E27FC236}">
                <a16:creationId xmlns:a16="http://schemas.microsoft.com/office/drawing/2014/main" id="{AE03E41F-A632-40FA-DCB0-2C4B5DDD612D}"/>
              </a:ext>
            </a:extLst>
          </p:cNvPr>
          <p:cNvPicPr>
            <a:picLocks noChangeAspect="1"/>
          </p:cNvPicPr>
          <p:nvPr/>
        </p:nvPicPr>
        <p:blipFill>
          <a:blip r:embed="rId3"/>
          <a:stretch>
            <a:fillRect/>
          </a:stretch>
        </p:blipFill>
        <p:spPr>
          <a:xfrm>
            <a:off x="648977" y="3001934"/>
            <a:ext cx="714842" cy="779568"/>
          </a:xfrm>
          <a:prstGeom prst="rect">
            <a:avLst/>
          </a:prstGeom>
        </p:spPr>
      </p:pic>
      <p:pic>
        <p:nvPicPr>
          <p:cNvPr id="70" name="Picture 69">
            <a:extLst>
              <a:ext uri="{FF2B5EF4-FFF2-40B4-BE49-F238E27FC236}">
                <a16:creationId xmlns:a16="http://schemas.microsoft.com/office/drawing/2014/main" id="{C658D442-FEC6-69C8-6880-E732573E7478}"/>
              </a:ext>
            </a:extLst>
          </p:cNvPr>
          <p:cNvPicPr>
            <a:picLocks noChangeAspect="1"/>
          </p:cNvPicPr>
          <p:nvPr/>
        </p:nvPicPr>
        <p:blipFill>
          <a:blip r:embed="rId4"/>
          <a:stretch>
            <a:fillRect/>
          </a:stretch>
        </p:blipFill>
        <p:spPr>
          <a:xfrm>
            <a:off x="8182030" y="1226157"/>
            <a:ext cx="1097645" cy="498301"/>
          </a:xfrm>
          <a:prstGeom prst="rect">
            <a:avLst/>
          </a:prstGeom>
        </p:spPr>
      </p:pic>
      <p:pic>
        <p:nvPicPr>
          <p:cNvPr id="74" name="Picture 73">
            <a:extLst>
              <a:ext uri="{FF2B5EF4-FFF2-40B4-BE49-F238E27FC236}">
                <a16:creationId xmlns:a16="http://schemas.microsoft.com/office/drawing/2014/main" id="{71C782BB-BFC0-172C-7F9D-EF85FB583902}"/>
              </a:ext>
            </a:extLst>
          </p:cNvPr>
          <p:cNvPicPr>
            <a:picLocks noChangeAspect="1"/>
          </p:cNvPicPr>
          <p:nvPr/>
        </p:nvPicPr>
        <p:blipFill>
          <a:blip r:embed="rId5"/>
          <a:stretch>
            <a:fillRect/>
          </a:stretch>
        </p:blipFill>
        <p:spPr>
          <a:xfrm>
            <a:off x="9558150" y="1138676"/>
            <a:ext cx="999753" cy="809376"/>
          </a:xfrm>
          <a:prstGeom prst="rect">
            <a:avLst/>
          </a:prstGeom>
        </p:spPr>
      </p:pic>
      <p:pic>
        <p:nvPicPr>
          <p:cNvPr id="77" name="Picture 76">
            <a:extLst>
              <a:ext uri="{FF2B5EF4-FFF2-40B4-BE49-F238E27FC236}">
                <a16:creationId xmlns:a16="http://schemas.microsoft.com/office/drawing/2014/main" id="{EC5F2092-2AFA-45C4-58DF-60FDCE979515}"/>
              </a:ext>
            </a:extLst>
          </p:cNvPr>
          <p:cNvPicPr>
            <a:picLocks noChangeAspect="1"/>
          </p:cNvPicPr>
          <p:nvPr/>
        </p:nvPicPr>
        <p:blipFill>
          <a:blip r:embed="rId6"/>
          <a:stretch>
            <a:fillRect/>
          </a:stretch>
        </p:blipFill>
        <p:spPr>
          <a:xfrm>
            <a:off x="10871705" y="1881689"/>
            <a:ext cx="1227512" cy="905290"/>
          </a:xfrm>
          <a:prstGeom prst="rect">
            <a:avLst/>
          </a:prstGeom>
        </p:spPr>
      </p:pic>
      <p:pic>
        <p:nvPicPr>
          <p:cNvPr id="78" name="Picture 77">
            <a:extLst>
              <a:ext uri="{FF2B5EF4-FFF2-40B4-BE49-F238E27FC236}">
                <a16:creationId xmlns:a16="http://schemas.microsoft.com/office/drawing/2014/main" id="{179552A8-9020-D0CD-78C8-FF7E934637C9}"/>
              </a:ext>
            </a:extLst>
          </p:cNvPr>
          <p:cNvPicPr>
            <a:picLocks noChangeAspect="1"/>
          </p:cNvPicPr>
          <p:nvPr/>
        </p:nvPicPr>
        <p:blipFill>
          <a:blip r:embed="rId7"/>
          <a:stretch>
            <a:fillRect/>
          </a:stretch>
        </p:blipFill>
        <p:spPr>
          <a:xfrm>
            <a:off x="9409275" y="2132846"/>
            <a:ext cx="1297501" cy="587831"/>
          </a:xfrm>
          <a:prstGeom prst="rect">
            <a:avLst/>
          </a:prstGeom>
        </p:spPr>
      </p:pic>
      <p:cxnSp>
        <p:nvCxnSpPr>
          <p:cNvPr id="82" name="Straight Arrow Connector 81">
            <a:extLst>
              <a:ext uri="{FF2B5EF4-FFF2-40B4-BE49-F238E27FC236}">
                <a16:creationId xmlns:a16="http://schemas.microsoft.com/office/drawing/2014/main" id="{04B3E3E7-DAFE-B1F9-AF26-6A2A6A0DE96F}"/>
              </a:ext>
            </a:extLst>
          </p:cNvPr>
          <p:cNvCxnSpPr>
            <a:cxnSpLocks/>
            <a:stCxn id="78" idx="0"/>
            <a:endCxn id="74" idx="2"/>
          </p:cNvCxnSpPr>
          <p:nvPr/>
        </p:nvCxnSpPr>
        <p:spPr>
          <a:xfrm flipV="1">
            <a:off x="10058026" y="1948052"/>
            <a:ext cx="1" cy="184794"/>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F3FB5D51-599C-44BD-F707-4759CAADFD84}"/>
              </a:ext>
            </a:extLst>
          </p:cNvPr>
          <p:cNvCxnSpPr>
            <a:cxnSpLocks/>
            <a:stCxn id="78" idx="3"/>
          </p:cNvCxnSpPr>
          <p:nvPr/>
        </p:nvCxnSpPr>
        <p:spPr>
          <a:xfrm>
            <a:off x="10706776" y="2426762"/>
            <a:ext cx="245692" cy="3773"/>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696485A7-CBFC-AF1A-31E0-C989C8DBF59B}"/>
              </a:ext>
            </a:extLst>
          </p:cNvPr>
          <p:cNvCxnSpPr>
            <a:cxnSpLocks/>
          </p:cNvCxnSpPr>
          <p:nvPr/>
        </p:nvCxnSpPr>
        <p:spPr>
          <a:xfrm flipV="1">
            <a:off x="10054252" y="1948052"/>
            <a:ext cx="3775" cy="207796"/>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AD285964-BA4E-B9FA-3BBC-8CFA5CAEC7A8}"/>
              </a:ext>
            </a:extLst>
          </p:cNvPr>
          <p:cNvGrpSpPr/>
          <p:nvPr/>
        </p:nvGrpSpPr>
        <p:grpSpPr>
          <a:xfrm>
            <a:off x="5357661" y="2605946"/>
            <a:ext cx="1374120" cy="596880"/>
            <a:chOff x="5287442" y="2524396"/>
            <a:chExt cx="1374120" cy="596880"/>
          </a:xfrm>
        </p:grpSpPr>
        <p:sp>
          <p:nvSpPr>
            <p:cNvPr id="125" name="Rectangle 124">
              <a:extLst>
                <a:ext uri="{FF2B5EF4-FFF2-40B4-BE49-F238E27FC236}">
                  <a16:creationId xmlns:a16="http://schemas.microsoft.com/office/drawing/2014/main" id="{79675FDB-3D4B-9D7B-AFF4-A651244A0CA7}"/>
                </a:ext>
              </a:extLst>
            </p:cNvPr>
            <p:cNvSpPr/>
            <p:nvPr/>
          </p:nvSpPr>
          <p:spPr bwMode="gray">
            <a:xfrm>
              <a:off x="5287442" y="2524396"/>
              <a:ext cx="1374120" cy="596880"/>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126" name="Picture 12" descr="Introducing MLflow: an Open Source Platform for the Complete Machine  Learning Lifecycle">
              <a:extLst>
                <a:ext uri="{FF2B5EF4-FFF2-40B4-BE49-F238E27FC236}">
                  <a16:creationId xmlns:a16="http://schemas.microsoft.com/office/drawing/2014/main" id="{26EED5D9-411F-843D-B9C3-8B0E692D424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539" r="27841" b="65037"/>
            <a:stretch/>
          </p:blipFill>
          <p:spPr bwMode="auto">
            <a:xfrm>
              <a:off x="5347081" y="2599389"/>
              <a:ext cx="1145893" cy="42934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7" name="Connector: Elbow 166">
            <a:extLst>
              <a:ext uri="{FF2B5EF4-FFF2-40B4-BE49-F238E27FC236}">
                <a16:creationId xmlns:a16="http://schemas.microsoft.com/office/drawing/2014/main" id="{B409F9AF-244B-6CC0-4519-30DBD3FDC314}"/>
              </a:ext>
            </a:extLst>
          </p:cNvPr>
          <p:cNvCxnSpPr>
            <a:cxnSpLocks/>
          </p:cNvCxnSpPr>
          <p:nvPr/>
        </p:nvCxnSpPr>
        <p:spPr>
          <a:xfrm rot="16200000" flipH="1">
            <a:off x="4929374" y="1490598"/>
            <a:ext cx="539907" cy="1690790"/>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57D2A44D-B6A5-7A1B-AB54-2F2ACB205B2D}"/>
              </a:ext>
            </a:extLst>
          </p:cNvPr>
          <p:cNvCxnSpPr>
            <a:cxnSpLocks/>
          </p:cNvCxnSpPr>
          <p:nvPr/>
        </p:nvCxnSpPr>
        <p:spPr>
          <a:xfrm rot="5400000">
            <a:off x="5238792" y="3223492"/>
            <a:ext cx="826601" cy="785261"/>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E155D2A3-9B6A-A056-570F-99B51BA6A9F9}"/>
              </a:ext>
            </a:extLst>
          </p:cNvPr>
          <p:cNvGrpSpPr/>
          <p:nvPr/>
        </p:nvGrpSpPr>
        <p:grpSpPr>
          <a:xfrm>
            <a:off x="2147732" y="2349705"/>
            <a:ext cx="2063037" cy="589052"/>
            <a:chOff x="2500056" y="2564477"/>
            <a:chExt cx="2063037" cy="589052"/>
          </a:xfrm>
        </p:grpSpPr>
        <p:sp>
          <p:nvSpPr>
            <p:cNvPr id="174" name="Rectangle 173">
              <a:extLst>
                <a:ext uri="{FF2B5EF4-FFF2-40B4-BE49-F238E27FC236}">
                  <a16:creationId xmlns:a16="http://schemas.microsoft.com/office/drawing/2014/main" id="{7C4F63A0-42A4-8714-2E9F-83105EBBB331}"/>
                </a:ext>
              </a:extLst>
            </p:cNvPr>
            <p:cNvSpPr/>
            <p:nvPr/>
          </p:nvSpPr>
          <p:spPr bwMode="gray">
            <a:xfrm>
              <a:off x="2500056" y="2564477"/>
              <a:ext cx="2063037" cy="587367"/>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srgbClr val="002060"/>
                  </a:solidFill>
                  <a:effectLst/>
                  <a:uLnTx/>
                  <a:uFillTx/>
                  <a:latin typeface="Calibri"/>
                  <a:ea typeface="+mn-ea"/>
                  <a:cs typeface="+mn-cs"/>
                </a:rPr>
                <a:t>Model Registry</a:t>
              </a:r>
            </a:p>
          </p:txBody>
        </p:sp>
        <p:pic>
          <p:nvPicPr>
            <p:cNvPr id="178" name="Picture 177">
              <a:extLst>
                <a:ext uri="{FF2B5EF4-FFF2-40B4-BE49-F238E27FC236}">
                  <a16:creationId xmlns:a16="http://schemas.microsoft.com/office/drawing/2014/main" id="{8A7592DF-D987-7507-3E96-252F74028B4E}"/>
                </a:ext>
              </a:extLst>
            </p:cNvPr>
            <p:cNvPicPr>
              <a:picLocks noChangeAspect="1"/>
            </p:cNvPicPr>
            <p:nvPr/>
          </p:nvPicPr>
          <p:blipFill>
            <a:blip r:embed="rId9"/>
            <a:stretch>
              <a:fillRect/>
            </a:stretch>
          </p:blipFill>
          <p:spPr>
            <a:xfrm>
              <a:off x="2572955" y="2583309"/>
              <a:ext cx="626807" cy="570220"/>
            </a:xfrm>
            <a:prstGeom prst="rect">
              <a:avLst/>
            </a:prstGeom>
          </p:spPr>
        </p:pic>
      </p:grpSp>
      <p:cxnSp>
        <p:nvCxnSpPr>
          <p:cNvPr id="180" name="Connector: Elbow 179">
            <a:extLst>
              <a:ext uri="{FF2B5EF4-FFF2-40B4-BE49-F238E27FC236}">
                <a16:creationId xmlns:a16="http://schemas.microsoft.com/office/drawing/2014/main" id="{F6F76111-8A40-0A9E-0D85-E1A662FBDD39}"/>
              </a:ext>
            </a:extLst>
          </p:cNvPr>
          <p:cNvCxnSpPr>
            <a:cxnSpLocks/>
            <a:stCxn id="174" idx="3"/>
            <a:endCxn id="126" idx="1"/>
          </p:cNvCxnSpPr>
          <p:nvPr/>
        </p:nvCxnSpPr>
        <p:spPr>
          <a:xfrm>
            <a:off x="4210769" y="2643389"/>
            <a:ext cx="1206531" cy="252222"/>
          </a:xfrm>
          <a:prstGeom prst="bentConnector3">
            <a:avLst>
              <a:gd name="adj1" fmla="val 5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51" name="Picture 2050">
            <a:extLst>
              <a:ext uri="{FF2B5EF4-FFF2-40B4-BE49-F238E27FC236}">
                <a16:creationId xmlns:a16="http://schemas.microsoft.com/office/drawing/2014/main" id="{39D34C8D-F803-7F20-1D0A-A7CD94817118}"/>
              </a:ext>
            </a:extLst>
          </p:cNvPr>
          <p:cNvPicPr>
            <a:picLocks noChangeAspect="1"/>
          </p:cNvPicPr>
          <p:nvPr/>
        </p:nvPicPr>
        <p:blipFill>
          <a:blip r:embed="rId10"/>
          <a:stretch>
            <a:fillRect/>
          </a:stretch>
        </p:blipFill>
        <p:spPr>
          <a:xfrm>
            <a:off x="11322096" y="3779067"/>
            <a:ext cx="889522" cy="645189"/>
          </a:xfrm>
          <a:prstGeom prst="rect">
            <a:avLst/>
          </a:prstGeom>
        </p:spPr>
      </p:pic>
      <p:cxnSp>
        <p:nvCxnSpPr>
          <p:cNvPr id="2058" name="Connector: Elbow 2057">
            <a:extLst>
              <a:ext uri="{FF2B5EF4-FFF2-40B4-BE49-F238E27FC236}">
                <a16:creationId xmlns:a16="http://schemas.microsoft.com/office/drawing/2014/main" id="{C7EE57B8-C5E3-6B50-5B6B-4B3DE55D82F4}"/>
              </a:ext>
            </a:extLst>
          </p:cNvPr>
          <p:cNvCxnSpPr>
            <a:stCxn id="77" idx="2"/>
            <a:endCxn id="2051" idx="0"/>
          </p:cNvCxnSpPr>
          <p:nvPr/>
        </p:nvCxnSpPr>
        <p:spPr>
          <a:xfrm rot="16200000" flipH="1">
            <a:off x="11130115" y="3142325"/>
            <a:ext cx="992088" cy="281396"/>
          </a:xfrm>
          <a:prstGeom prst="bentConnector3">
            <a:avLst>
              <a:gd name="adj1" fmla="val 5931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1" name="Connector: Elbow 2060">
            <a:extLst>
              <a:ext uri="{FF2B5EF4-FFF2-40B4-BE49-F238E27FC236}">
                <a16:creationId xmlns:a16="http://schemas.microsoft.com/office/drawing/2014/main" id="{2F3AEA89-5A72-E716-2AEF-B054CEDFBFCF}"/>
              </a:ext>
            </a:extLst>
          </p:cNvPr>
          <p:cNvCxnSpPr>
            <a:cxnSpLocks/>
            <a:stCxn id="77" idx="2"/>
          </p:cNvCxnSpPr>
          <p:nvPr/>
        </p:nvCxnSpPr>
        <p:spPr>
          <a:xfrm rot="5400000">
            <a:off x="10485901" y="2968663"/>
            <a:ext cx="1181244" cy="817876"/>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067" name="Straight Arrow Connector 2066">
            <a:extLst>
              <a:ext uri="{FF2B5EF4-FFF2-40B4-BE49-F238E27FC236}">
                <a16:creationId xmlns:a16="http://schemas.microsoft.com/office/drawing/2014/main" id="{2D7A3C3D-983F-9FB5-9683-782C98254889}"/>
              </a:ext>
            </a:extLst>
          </p:cNvPr>
          <p:cNvCxnSpPr>
            <a:cxnSpLocks/>
          </p:cNvCxnSpPr>
          <p:nvPr/>
        </p:nvCxnSpPr>
        <p:spPr>
          <a:xfrm>
            <a:off x="11074186" y="4235226"/>
            <a:ext cx="411275" cy="11119"/>
          </a:xfrm>
          <a:prstGeom prst="straightConnector1">
            <a:avLst/>
          </a:prstGeom>
          <a:ln>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68" name="Connector: Elbow 2067">
            <a:extLst>
              <a:ext uri="{FF2B5EF4-FFF2-40B4-BE49-F238E27FC236}">
                <a16:creationId xmlns:a16="http://schemas.microsoft.com/office/drawing/2014/main" id="{07CC2FCE-1541-D209-07C0-2FF97C3D76F3}"/>
              </a:ext>
            </a:extLst>
          </p:cNvPr>
          <p:cNvCxnSpPr>
            <a:cxnSpLocks/>
          </p:cNvCxnSpPr>
          <p:nvPr/>
        </p:nvCxnSpPr>
        <p:spPr>
          <a:xfrm rot="16200000" flipH="1">
            <a:off x="10604917" y="4529592"/>
            <a:ext cx="992087" cy="866750"/>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198" name="Group 2197">
            <a:extLst>
              <a:ext uri="{FF2B5EF4-FFF2-40B4-BE49-F238E27FC236}">
                <a16:creationId xmlns:a16="http://schemas.microsoft.com/office/drawing/2014/main" id="{3EA518EF-7BB8-D828-17F7-75D047455565}"/>
              </a:ext>
            </a:extLst>
          </p:cNvPr>
          <p:cNvGrpSpPr/>
          <p:nvPr/>
        </p:nvGrpSpPr>
        <p:grpSpPr>
          <a:xfrm>
            <a:off x="1511220" y="474174"/>
            <a:ext cx="5626796" cy="4711529"/>
            <a:chOff x="1511220" y="772120"/>
            <a:chExt cx="5626796" cy="4711529"/>
          </a:xfrm>
        </p:grpSpPr>
        <p:sp>
          <p:nvSpPr>
            <p:cNvPr id="2196" name="Rectangle 2195">
              <a:extLst>
                <a:ext uri="{FF2B5EF4-FFF2-40B4-BE49-F238E27FC236}">
                  <a16:creationId xmlns:a16="http://schemas.microsoft.com/office/drawing/2014/main" id="{0ED6AE8C-6073-3583-F13B-FCDFD8E9DCC4}"/>
                </a:ext>
              </a:extLst>
            </p:cNvPr>
            <p:cNvSpPr/>
            <p:nvPr/>
          </p:nvSpPr>
          <p:spPr>
            <a:xfrm>
              <a:off x="1511220" y="772120"/>
              <a:ext cx="5626796" cy="4711529"/>
            </a:xfrm>
            <a:prstGeom prst="rect">
              <a:avLst/>
            </a:prstGeom>
            <a:noFill/>
            <a:ln w="1905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197" name="Picture 8" descr="Apache Airflow - Wikipedia">
              <a:extLst>
                <a:ext uri="{FF2B5EF4-FFF2-40B4-BE49-F238E27FC236}">
                  <a16:creationId xmlns:a16="http://schemas.microsoft.com/office/drawing/2014/main" id="{7E6DBC9A-D2A0-FBC8-FD41-67623EE9E72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10150" y="882164"/>
              <a:ext cx="916682" cy="354140"/>
            </a:xfrm>
            <a:prstGeom prst="rect">
              <a:avLst/>
            </a:prstGeom>
            <a:noFill/>
            <a:extLst>
              <a:ext uri="{909E8E84-426E-40DD-AFC4-6F175D3DCCD1}">
                <a14:hiddenFill xmlns:a14="http://schemas.microsoft.com/office/drawing/2010/main">
                  <a:solidFill>
                    <a:srgbClr val="FFFFFF"/>
                  </a:solidFill>
                </a14:hiddenFill>
              </a:ext>
            </a:extLst>
          </p:spPr>
        </p:pic>
      </p:grpSp>
      <p:sp>
        <p:nvSpPr>
          <p:cNvPr id="2200" name="Rectangle 2199">
            <a:extLst>
              <a:ext uri="{FF2B5EF4-FFF2-40B4-BE49-F238E27FC236}">
                <a16:creationId xmlns:a16="http://schemas.microsoft.com/office/drawing/2014/main" id="{9E34CA7D-B54B-37E0-077D-F42DC3E8A8EF}"/>
              </a:ext>
            </a:extLst>
          </p:cNvPr>
          <p:cNvSpPr/>
          <p:nvPr/>
        </p:nvSpPr>
        <p:spPr bwMode="gray">
          <a:xfrm>
            <a:off x="2605249" y="678819"/>
            <a:ext cx="2169401" cy="277399"/>
          </a:xfrm>
          <a:prstGeom prst="rect">
            <a:avLst/>
          </a:prstGeom>
          <a:noFill/>
          <a:ln w="19050" algn="ctr">
            <a:noFill/>
            <a:prstDash val="dash"/>
            <a:miter lim="800000"/>
            <a:headEnd/>
            <a:tailEnd/>
          </a:ln>
        </p:spPr>
        <p:txBody>
          <a:bodyPr wrap="square" lIns="88900" tIns="72000" rIns="88900" bIns="720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Orchestration of services</a:t>
            </a:r>
          </a:p>
        </p:txBody>
      </p:sp>
      <p:pic>
        <p:nvPicPr>
          <p:cNvPr id="2205" name="Picture 2204">
            <a:extLst>
              <a:ext uri="{FF2B5EF4-FFF2-40B4-BE49-F238E27FC236}">
                <a16:creationId xmlns:a16="http://schemas.microsoft.com/office/drawing/2014/main" id="{1022DFEC-F56B-5A79-5242-F9A2C18C2683}"/>
              </a:ext>
            </a:extLst>
          </p:cNvPr>
          <p:cNvPicPr>
            <a:picLocks noChangeAspect="1"/>
          </p:cNvPicPr>
          <p:nvPr/>
        </p:nvPicPr>
        <p:blipFill>
          <a:blip r:embed="rId12"/>
          <a:stretch>
            <a:fillRect/>
          </a:stretch>
        </p:blipFill>
        <p:spPr>
          <a:xfrm>
            <a:off x="6923533" y="5483969"/>
            <a:ext cx="1201191" cy="474084"/>
          </a:xfrm>
          <a:prstGeom prst="rect">
            <a:avLst/>
          </a:prstGeom>
        </p:spPr>
      </p:pic>
      <p:sp>
        <p:nvSpPr>
          <p:cNvPr id="2211" name="Rectangle 2210">
            <a:extLst>
              <a:ext uri="{FF2B5EF4-FFF2-40B4-BE49-F238E27FC236}">
                <a16:creationId xmlns:a16="http://schemas.microsoft.com/office/drawing/2014/main" id="{78BD5F5B-9A8B-2032-5DD0-5723E535A375}"/>
              </a:ext>
            </a:extLst>
          </p:cNvPr>
          <p:cNvSpPr/>
          <p:nvPr/>
        </p:nvSpPr>
        <p:spPr bwMode="gray">
          <a:xfrm>
            <a:off x="6772354" y="5906860"/>
            <a:ext cx="1685646" cy="247695"/>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Performance monitor</a:t>
            </a:r>
          </a:p>
        </p:txBody>
      </p:sp>
      <p:sp>
        <p:nvSpPr>
          <p:cNvPr id="16" name="Rectangle 15">
            <a:extLst>
              <a:ext uri="{FF2B5EF4-FFF2-40B4-BE49-F238E27FC236}">
                <a16:creationId xmlns:a16="http://schemas.microsoft.com/office/drawing/2014/main" id="{EE43F421-3E4F-DD5A-0BC8-02BC064D7F9A}"/>
              </a:ext>
            </a:extLst>
          </p:cNvPr>
          <p:cNvSpPr/>
          <p:nvPr/>
        </p:nvSpPr>
        <p:spPr bwMode="gray">
          <a:xfrm>
            <a:off x="8124750" y="2283127"/>
            <a:ext cx="1442130" cy="312888"/>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a:ln>
                  <a:noFill/>
                </a:ln>
                <a:solidFill>
                  <a:srgbClr val="002060"/>
                </a:solidFill>
                <a:effectLst/>
                <a:uLnTx/>
                <a:uFillTx/>
                <a:latin typeface="Calibri"/>
                <a:ea typeface="+mn-ea"/>
                <a:cs typeface="+mn-cs"/>
              </a:rPr>
              <a:t>Auto scaling and resource management(CPU,GPU)</a:t>
            </a:r>
          </a:p>
        </p:txBody>
      </p:sp>
      <p:cxnSp>
        <p:nvCxnSpPr>
          <p:cNvPr id="35" name="Elbow Connector 211">
            <a:extLst>
              <a:ext uri="{FF2B5EF4-FFF2-40B4-BE49-F238E27FC236}">
                <a16:creationId xmlns:a16="http://schemas.microsoft.com/office/drawing/2014/main" id="{F5579C02-C7F8-77C0-432F-E8D4F7F28652}"/>
              </a:ext>
            </a:extLst>
          </p:cNvPr>
          <p:cNvCxnSpPr>
            <a:cxnSpLocks/>
            <a:stCxn id="2211" idx="2"/>
            <a:endCxn id="46" idx="3"/>
          </p:cNvCxnSpPr>
          <p:nvPr/>
        </p:nvCxnSpPr>
        <p:spPr>
          <a:xfrm rot="5400000">
            <a:off x="6580288" y="5142092"/>
            <a:ext cx="22427" cy="2047353"/>
          </a:xfrm>
          <a:prstGeom prst="bentConnector2">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0447DF2E-0FBC-9D8B-13D9-7F9645A8FE7F}"/>
              </a:ext>
            </a:extLst>
          </p:cNvPr>
          <p:cNvGrpSpPr/>
          <p:nvPr/>
        </p:nvGrpSpPr>
        <p:grpSpPr>
          <a:xfrm>
            <a:off x="3969007" y="5957017"/>
            <a:ext cx="1598817" cy="439930"/>
            <a:chOff x="2979031" y="6026584"/>
            <a:chExt cx="1598817" cy="439930"/>
          </a:xfrm>
        </p:grpSpPr>
        <p:sp>
          <p:nvSpPr>
            <p:cNvPr id="46" name="Rectangle 45">
              <a:extLst>
                <a:ext uri="{FF2B5EF4-FFF2-40B4-BE49-F238E27FC236}">
                  <a16:creationId xmlns:a16="http://schemas.microsoft.com/office/drawing/2014/main" id="{CF4758B5-DB1C-A99D-AC59-48B999A3BD11}"/>
                </a:ext>
              </a:extLst>
            </p:cNvPr>
            <p:cNvSpPr/>
            <p:nvPr/>
          </p:nvSpPr>
          <p:spPr bwMode="gray">
            <a:xfrm>
              <a:off x="2979031" y="6026584"/>
              <a:ext cx="1598817" cy="43993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a:ln>
                    <a:noFill/>
                  </a:ln>
                  <a:solidFill>
                    <a:srgbClr val="002060"/>
                  </a:solidFill>
                  <a:effectLst/>
                  <a:uLnTx/>
                  <a:uFillTx/>
                  <a:latin typeface="Open Sans"/>
                  <a:ea typeface="+mn-ea"/>
                  <a:cs typeface="+mn-cs"/>
                </a:rPr>
                <a:t>Email Alerts</a:t>
              </a:r>
            </a:p>
          </p:txBody>
        </p:sp>
        <p:pic>
          <p:nvPicPr>
            <p:cNvPr id="68" name="Picture 67">
              <a:extLst>
                <a:ext uri="{FF2B5EF4-FFF2-40B4-BE49-F238E27FC236}">
                  <a16:creationId xmlns:a16="http://schemas.microsoft.com/office/drawing/2014/main" id="{5FEF86BB-5E23-7053-10B1-B5DF08364E42}"/>
                </a:ext>
              </a:extLst>
            </p:cNvPr>
            <p:cNvPicPr>
              <a:picLocks noChangeAspect="1"/>
            </p:cNvPicPr>
            <p:nvPr/>
          </p:nvPicPr>
          <p:blipFill>
            <a:blip r:embed="rId13"/>
            <a:stretch>
              <a:fillRect/>
            </a:stretch>
          </p:blipFill>
          <p:spPr>
            <a:xfrm>
              <a:off x="4077141" y="6056423"/>
              <a:ext cx="414203" cy="399023"/>
            </a:xfrm>
            <a:prstGeom prst="rect">
              <a:avLst/>
            </a:prstGeom>
          </p:spPr>
        </p:pic>
      </p:grpSp>
      <p:pic>
        <p:nvPicPr>
          <p:cNvPr id="1026" name="Picture 2" descr="Python (programming language) - Wikipedia">
            <a:extLst>
              <a:ext uri="{FF2B5EF4-FFF2-40B4-BE49-F238E27FC236}">
                <a16:creationId xmlns:a16="http://schemas.microsoft.com/office/drawing/2014/main" id="{684A4C40-A402-0E5D-2D69-98A4B6BFE38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044767" y="1154144"/>
            <a:ext cx="202723" cy="22261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Python (programming language) - Wikipedia">
            <a:extLst>
              <a:ext uri="{FF2B5EF4-FFF2-40B4-BE49-F238E27FC236}">
                <a16:creationId xmlns:a16="http://schemas.microsoft.com/office/drawing/2014/main" id="{FABD9A72-78AF-0174-EF79-3EAE5FA7DE3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21062" y="4042206"/>
            <a:ext cx="202723" cy="222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0922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8C0101B-6418-1D0B-2865-6DF501ED193E}"/>
              </a:ext>
            </a:extLst>
          </p:cNvPr>
          <p:cNvGrpSpPr/>
          <p:nvPr/>
        </p:nvGrpSpPr>
        <p:grpSpPr>
          <a:xfrm>
            <a:off x="408911" y="1101067"/>
            <a:ext cx="11374176" cy="4935486"/>
            <a:chOff x="315909" y="1229278"/>
            <a:chExt cx="11613140" cy="5039177"/>
          </a:xfrm>
        </p:grpSpPr>
        <p:grpSp>
          <p:nvGrpSpPr>
            <p:cNvPr id="5" name="Group 4">
              <a:extLst>
                <a:ext uri="{FF2B5EF4-FFF2-40B4-BE49-F238E27FC236}">
                  <a16:creationId xmlns:a16="http://schemas.microsoft.com/office/drawing/2014/main" id="{54DDA567-2F51-9EBF-742E-E5517EB81FCB}"/>
                </a:ext>
              </a:extLst>
            </p:cNvPr>
            <p:cNvGrpSpPr/>
            <p:nvPr/>
          </p:nvGrpSpPr>
          <p:grpSpPr>
            <a:xfrm>
              <a:off x="315909" y="1229278"/>
              <a:ext cx="11613140" cy="5039177"/>
              <a:chOff x="315909" y="1102325"/>
              <a:chExt cx="11613140" cy="5039177"/>
            </a:xfrm>
          </p:grpSpPr>
          <p:sp>
            <p:nvSpPr>
              <p:cNvPr id="8" name="Rectangle 7">
                <a:extLst>
                  <a:ext uri="{FF2B5EF4-FFF2-40B4-BE49-F238E27FC236}">
                    <a16:creationId xmlns:a16="http://schemas.microsoft.com/office/drawing/2014/main" id="{75F305D7-5E2D-23D2-C6A9-2E0B95803869}"/>
                  </a:ext>
                </a:extLst>
              </p:cNvPr>
              <p:cNvSpPr/>
              <p:nvPr/>
            </p:nvSpPr>
            <p:spPr bwMode="gray">
              <a:xfrm>
                <a:off x="1532327" y="1161431"/>
                <a:ext cx="5489217" cy="977774"/>
              </a:xfrm>
              <a:prstGeom prst="rect">
                <a:avLst/>
              </a:prstGeom>
              <a:solidFill>
                <a:srgbClr val="86BC25">
                  <a:lumMod val="20000"/>
                  <a:lumOff val="80000"/>
                  <a:alpha val="60000"/>
                </a:srgbClr>
              </a:solidFill>
              <a:ln w="19050" algn="ctr">
                <a:noFill/>
                <a:miter lim="800000"/>
                <a:headEnd/>
                <a:tailEnd/>
              </a:ln>
            </p:spPr>
            <p:txBody>
              <a:bodyPr wrap="square" lIns="88900" tIns="360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black"/>
                    </a:solidFill>
                    <a:effectLst/>
                    <a:uLnTx/>
                    <a:uFillTx/>
                  </a:rPr>
                  <a:t>Existing Use Cases/Models</a:t>
                </a:r>
              </a:p>
            </p:txBody>
          </p:sp>
          <p:sp>
            <p:nvSpPr>
              <p:cNvPr id="9" name="Rectangle 8">
                <a:extLst>
                  <a:ext uri="{FF2B5EF4-FFF2-40B4-BE49-F238E27FC236}">
                    <a16:creationId xmlns:a16="http://schemas.microsoft.com/office/drawing/2014/main" id="{1ECCBEBE-EE0A-DA53-3051-C04EAC2F4306}"/>
                  </a:ext>
                </a:extLst>
              </p:cNvPr>
              <p:cNvSpPr/>
              <p:nvPr/>
            </p:nvSpPr>
            <p:spPr bwMode="gray">
              <a:xfrm>
                <a:off x="1603711" y="1450557"/>
                <a:ext cx="780402" cy="524712"/>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Data Validation Checks</a:t>
                </a:r>
              </a:p>
            </p:txBody>
          </p:sp>
          <p:sp>
            <p:nvSpPr>
              <p:cNvPr id="10" name="Rectangle 9">
                <a:extLst>
                  <a:ext uri="{FF2B5EF4-FFF2-40B4-BE49-F238E27FC236}">
                    <a16:creationId xmlns:a16="http://schemas.microsoft.com/office/drawing/2014/main" id="{4BFCE57F-8063-93FD-F6A9-66908D839B55}"/>
                  </a:ext>
                </a:extLst>
              </p:cNvPr>
              <p:cNvSpPr/>
              <p:nvPr/>
            </p:nvSpPr>
            <p:spPr bwMode="gray">
              <a:xfrm>
                <a:off x="2718242" y="1450557"/>
                <a:ext cx="804049" cy="524712"/>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Feature Engineering</a:t>
                </a:r>
              </a:p>
            </p:txBody>
          </p:sp>
          <p:sp>
            <p:nvSpPr>
              <p:cNvPr id="11" name="Rectangle 10">
                <a:extLst>
                  <a:ext uri="{FF2B5EF4-FFF2-40B4-BE49-F238E27FC236}">
                    <a16:creationId xmlns:a16="http://schemas.microsoft.com/office/drawing/2014/main" id="{A7B77D46-1A5B-1514-6878-BC2AA2895102}"/>
                  </a:ext>
                </a:extLst>
              </p:cNvPr>
              <p:cNvSpPr/>
              <p:nvPr/>
            </p:nvSpPr>
            <p:spPr bwMode="gray">
              <a:xfrm>
                <a:off x="3856418" y="1450557"/>
                <a:ext cx="780402" cy="524712"/>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odel Training</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800" b="1" kern="0">
                    <a:solidFill>
                      <a:prstClr val="white"/>
                    </a:solidFill>
                  </a:rPr>
                  <a:t>(GPU/CPU)</a:t>
                </a:r>
                <a:endParaRPr kumimoji="0" lang="en-US" sz="800" b="1" i="0" u="none" strike="noStrike" kern="0" cap="none" spc="0" normalizeH="0" baseline="0" noProof="0">
                  <a:ln>
                    <a:noFill/>
                  </a:ln>
                  <a:solidFill>
                    <a:prstClr val="white"/>
                  </a:solidFill>
                  <a:effectLst/>
                  <a:uLnTx/>
                  <a:uFillTx/>
                </a:endParaRPr>
              </a:p>
            </p:txBody>
          </p:sp>
          <p:sp>
            <p:nvSpPr>
              <p:cNvPr id="12" name="Rectangle 11">
                <a:extLst>
                  <a:ext uri="{FF2B5EF4-FFF2-40B4-BE49-F238E27FC236}">
                    <a16:creationId xmlns:a16="http://schemas.microsoft.com/office/drawing/2014/main" id="{2C66D6BF-2E16-34E5-164F-8DA16D9FD83D}"/>
                  </a:ext>
                </a:extLst>
              </p:cNvPr>
              <p:cNvSpPr/>
              <p:nvPr/>
            </p:nvSpPr>
            <p:spPr bwMode="gray">
              <a:xfrm>
                <a:off x="4982772" y="1450557"/>
                <a:ext cx="780402" cy="524712"/>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Hyper parameter tuning</a:t>
                </a:r>
              </a:p>
            </p:txBody>
          </p:sp>
          <p:sp>
            <p:nvSpPr>
              <p:cNvPr id="13" name="Rectangle 12">
                <a:extLst>
                  <a:ext uri="{FF2B5EF4-FFF2-40B4-BE49-F238E27FC236}">
                    <a16:creationId xmlns:a16="http://schemas.microsoft.com/office/drawing/2014/main" id="{EA6BBBA8-EF73-19B5-7E2E-CBEB2CE20756}"/>
                  </a:ext>
                </a:extLst>
              </p:cNvPr>
              <p:cNvSpPr/>
              <p:nvPr/>
            </p:nvSpPr>
            <p:spPr bwMode="gray">
              <a:xfrm>
                <a:off x="6109124" y="1450557"/>
                <a:ext cx="780402" cy="524712"/>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odel Validation</a:t>
                </a:r>
              </a:p>
            </p:txBody>
          </p:sp>
          <p:cxnSp>
            <p:nvCxnSpPr>
              <p:cNvPr id="14" name="Straight Arrow Connector 13">
                <a:extLst>
                  <a:ext uri="{FF2B5EF4-FFF2-40B4-BE49-F238E27FC236}">
                    <a16:creationId xmlns:a16="http://schemas.microsoft.com/office/drawing/2014/main" id="{38405855-0A63-F5D5-8D29-B139D27A6955}"/>
                  </a:ext>
                </a:extLst>
              </p:cNvPr>
              <p:cNvCxnSpPr>
                <a:cxnSpLocks/>
                <a:stCxn id="9" idx="3"/>
                <a:endCxn id="10" idx="1"/>
              </p:cNvCxnSpPr>
              <p:nvPr/>
            </p:nvCxnSpPr>
            <p:spPr>
              <a:xfrm>
                <a:off x="2384113" y="1712913"/>
                <a:ext cx="334129"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15" name="Straight Arrow Connector 14">
                <a:extLst>
                  <a:ext uri="{FF2B5EF4-FFF2-40B4-BE49-F238E27FC236}">
                    <a16:creationId xmlns:a16="http://schemas.microsoft.com/office/drawing/2014/main" id="{99E4B992-487C-1432-81EF-CDA8A1450DA6}"/>
                  </a:ext>
                </a:extLst>
              </p:cNvPr>
              <p:cNvCxnSpPr>
                <a:cxnSpLocks/>
                <a:stCxn id="10" idx="3"/>
                <a:endCxn id="11" idx="1"/>
              </p:cNvCxnSpPr>
              <p:nvPr/>
            </p:nvCxnSpPr>
            <p:spPr>
              <a:xfrm>
                <a:off x="3522291" y="1712913"/>
                <a:ext cx="334127"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16" name="Straight Arrow Connector 15">
                <a:extLst>
                  <a:ext uri="{FF2B5EF4-FFF2-40B4-BE49-F238E27FC236}">
                    <a16:creationId xmlns:a16="http://schemas.microsoft.com/office/drawing/2014/main" id="{F68B9DBC-C007-CFAC-D463-C07A4D47CF04}"/>
                  </a:ext>
                </a:extLst>
              </p:cNvPr>
              <p:cNvCxnSpPr>
                <a:cxnSpLocks/>
                <a:stCxn id="11" idx="3"/>
                <a:endCxn id="12" idx="1"/>
              </p:cNvCxnSpPr>
              <p:nvPr/>
            </p:nvCxnSpPr>
            <p:spPr>
              <a:xfrm>
                <a:off x="4636820" y="1712914"/>
                <a:ext cx="345951"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17" name="Straight Arrow Connector 16">
                <a:extLst>
                  <a:ext uri="{FF2B5EF4-FFF2-40B4-BE49-F238E27FC236}">
                    <a16:creationId xmlns:a16="http://schemas.microsoft.com/office/drawing/2014/main" id="{369C0EE7-8C83-61CF-3DD9-D4F6FB6436E4}"/>
                  </a:ext>
                </a:extLst>
              </p:cNvPr>
              <p:cNvCxnSpPr>
                <a:cxnSpLocks/>
                <a:stCxn id="12" idx="3"/>
                <a:endCxn id="13" idx="1"/>
              </p:cNvCxnSpPr>
              <p:nvPr/>
            </p:nvCxnSpPr>
            <p:spPr>
              <a:xfrm>
                <a:off x="5763174" y="1712914"/>
                <a:ext cx="345951" cy="0"/>
              </a:xfrm>
              <a:prstGeom prst="straightConnector1">
                <a:avLst/>
              </a:prstGeom>
              <a:noFill/>
              <a:ln w="15875" cap="flat" cmpd="sng" algn="ctr">
                <a:solidFill>
                  <a:sysClr val="windowText" lastClr="000000">
                    <a:lumMod val="65000"/>
                    <a:lumOff val="35000"/>
                  </a:sysClr>
                </a:solidFill>
                <a:prstDash val="solid"/>
                <a:tailEnd type="triangle"/>
              </a:ln>
              <a:effectLst/>
            </p:spPr>
          </p:cxnSp>
          <p:sp>
            <p:nvSpPr>
              <p:cNvPr id="19" name="Rectangle 18">
                <a:extLst>
                  <a:ext uri="{FF2B5EF4-FFF2-40B4-BE49-F238E27FC236}">
                    <a16:creationId xmlns:a16="http://schemas.microsoft.com/office/drawing/2014/main" id="{E0AF822F-E7A2-3ADF-BAA8-ABD2FAD03EA0}"/>
                  </a:ext>
                </a:extLst>
              </p:cNvPr>
              <p:cNvSpPr/>
              <p:nvPr/>
            </p:nvSpPr>
            <p:spPr bwMode="gray">
              <a:xfrm>
                <a:off x="4428687" y="2946618"/>
                <a:ext cx="944286" cy="264498"/>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odel Analysis</a:t>
                </a:r>
              </a:p>
            </p:txBody>
          </p:sp>
          <p:cxnSp>
            <p:nvCxnSpPr>
              <p:cNvPr id="20" name="Elbow Connector 36">
                <a:extLst>
                  <a:ext uri="{FF2B5EF4-FFF2-40B4-BE49-F238E27FC236}">
                    <a16:creationId xmlns:a16="http://schemas.microsoft.com/office/drawing/2014/main" id="{1B565727-E452-0592-08BB-9F4E17287985}"/>
                  </a:ext>
                </a:extLst>
              </p:cNvPr>
              <p:cNvCxnSpPr>
                <a:cxnSpLocks/>
                <a:stCxn id="13" idx="3"/>
                <a:endCxn id="19" idx="3"/>
              </p:cNvCxnSpPr>
              <p:nvPr/>
            </p:nvCxnSpPr>
            <p:spPr>
              <a:xfrm flipH="1">
                <a:off x="5372973" y="1712914"/>
                <a:ext cx="1516553" cy="1365953"/>
              </a:xfrm>
              <a:prstGeom prst="bentConnector3">
                <a:avLst>
                  <a:gd name="adj1" fmla="val -15390"/>
                </a:avLst>
              </a:prstGeom>
              <a:noFill/>
              <a:ln w="15875" cap="flat" cmpd="sng" algn="ctr">
                <a:solidFill>
                  <a:sysClr val="windowText" lastClr="000000">
                    <a:lumMod val="65000"/>
                    <a:lumOff val="35000"/>
                  </a:sysClr>
                </a:solidFill>
                <a:prstDash val="solid"/>
                <a:tailEnd type="triangle"/>
              </a:ln>
              <a:effectLst/>
            </p:spPr>
          </p:cxnSp>
          <p:cxnSp>
            <p:nvCxnSpPr>
              <p:cNvPr id="21" name="Elbow Connector 37">
                <a:extLst>
                  <a:ext uri="{FF2B5EF4-FFF2-40B4-BE49-F238E27FC236}">
                    <a16:creationId xmlns:a16="http://schemas.microsoft.com/office/drawing/2014/main" id="{AA660210-4A4F-7479-54E0-9C8F3C1D2216}"/>
                  </a:ext>
                </a:extLst>
              </p:cNvPr>
              <p:cNvCxnSpPr>
                <a:cxnSpLocks/>
                <a:stCxn id="19" idx="1"/>
                <a:endCxn id="8" idx="2"/>
              </p:cNvCxnSpPr>
              <p:nvPr/>
            </p:nvCxnSpPr>
            <p:spPr>
              <a:xfrm rot="10800000">
                <a:off x="4276937" y="2139206"/>
                <a:ext cx="151751" cy="939661"/>
              </a:xfrm>
              <a:prstGeom prst="bentConnector2">
                <a:avLst/>
              </a:prstGeom>
              <a:noFill/>
              <a:ln w="15875" cap="flat" cmpd="sng" algn="ctr">
                <a:solidFill>
                  <a:sysClr val="windowText" lastClr="000000">
                    <a:lumMod val="65000"/>
                    <a:lumOff val="35000"/>
                  </a:sysClr>
                </a:solidFill>
                <a:prstDash val="solid"/>
                <a:tailEnd type="triangle"/>
              </a:ln>
              <a:effectLst/>
            </p:spPr>
          </p:cxnSp>
          <p:sp>
            <p:nvSpPr>
              <p:cNvPr id="22" name="Flowchart: Magnetic Disk 21">
                <a:extLst>
                  <a:ext uri="{FF2B5EF4-FFF2-40B4-BE49-F238E27FC236}">
                    <a16:creationId xmlns:a16="http://schemas.microsoft.com/office/drawing/2014/main" id="{334CB6E8-94AD-12E4-95EA-EF90E5D7DC07}"/>
                  </a:ext>
                </a:extLst>
              </p:cNvPr>
              <p:cNvSpPr/>
              <p:nvPr/>
            </p:nvSpPr>
            <p:spPr bwMode="gray">
              <a:xfrm>
                <a:off x="8283214" y="1377060"/>
                <a:ext cx="1009451" cy="554890"/>
              </a:xfrm>
              <a:prstGeom prst="flowChartMagneticDisk">
                <a:avLst/>
              </a:prstGeom>
              <a:solidFill>
                <a:srgbClr val="86BC25"/>
              </a:solidFill>
              <a:ln w="12700" algn="ctr">
                <a:solidFill>
                  <a:sysClr val="window" lastClr="FFFFF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Source Repository</a:t>
                </a:r>
              </a:p>
            </p:txBody>
          </p:sp>
          <p:cxnSp>
            <p:nvCxnSpPr>
              <p:cNvPr id="23" name="Straight Arrow Connector 22">
                <a:extLst>
                  <a:ext uri="{FF2B5EF4-FFF2-40B4-BE49-F238E27FC236}">
                    <a16:creationId xmlns:a16="http://schemas.microsoft.com/office/drawing/2014/main" id="{F4BF9B35-01D1-F401-05DF-34FB0E8AB3D8}"/>
                  </a:ext>
                </a:extLst>
              </p:cNvPr>
              <p:cNvCxnSpPr>
                <a:cxnSpLocks/>
                <a:stCxn id="8" idx="3"/>
                <a:endCxn id="22" idx="2"/>
              </p:cNvCxnSpPr>
              <p:nvPr/>
            </p:nvCxnSpPr>
            <p:spPr>
              <a:xfrm>
                <a:off x="7021544" y="1650318"/>
                <a:ext cx="1261670" cy="4187"/>
              </a:xfrm>
              <a:prstGeom prst="straightConnector1">
                <a:avLst/>
              </a:prstGeom>
              <a:noFill/>
              <a:ln w="15875" cap="flat" cmpd="sng" algn="ctr">
                <a:solidFill>
                  <a:sysClr val="windowText" lastClr="000000">
                    <a:lumMod val="65000"/>
                    <a:lumOff val="35000"/>
                  </a:sysClr>
                </a:solidFill>
                <a:prstDash val="solid"/>
                <a:tailEnd type="triangle"/>
              </a:ln>
              <a:effectLst/>
            </p:spPr>
          </p:cxnSp>
          <p:grpSp>
            <p:nvGrpSpPr>
              <p:cNvPr id="24" name="Group 23">
                <a:extLst>
                  <a:ext uri="{FF2B5EF4-FFF2-40B4-BE49-F238E27FC236}">
                    <a16:creationId xmlns:a16="http://schemas.microsoft.com/office/drawing/2014/main" id="{DBE02304-77D6-7E44-6C8C-8025052787A2}"/>
                  </a:ext>
                </a:extLst>
              </p:cNvPr>
              <p:cNvGrpSpPr/>
              <p:nvPr/>
            </p:nvGrpSpPr>
            <p:grpSpPr>
              <a:xfrm>
                <a:off x="7187873" y="1177074"/>
                <a:ext cx="973767" cy="986939"/>
                <a:chOff x="7051316" y="974598"/>
                <a:chExt cx="1190040" cy="986939"/>
              </a:xfrm>
            </p:grpSpPr>
            <p:cxnSp>
              <p:nvCxnSpPr>
                <p:cNvPr id="85" name="Straight Connector 84">
                  <a:extLst>
                    <a:ext uri="{FF2B5EF4-FFF2-40B4-BE49-F238E27FC236}">
                      <a16:creationId xmlns:a16="http://schemas.microsoft.com/office/drawing/2014/main" id="{A3C3309C-021A-3B82-5461-42F7690FDB21}"/>
                    </a:ext>
                  </a:extLst>
                </p:cNvPr>
                <p:cNvCxnSpPr/>
                <p:nvPr/>
              </p:nvCxnSpPr>
              <p:spPr>
                <a:xfrm>
                  <a:off x="7262366" y="1917291"/>
                  <a:ext cx="707922" cy="0"/>
                </a:xfrm>
                <a:prstGeom prst="line">
                  <a:avLst/>
                </a:prstGeom>
                <a:noFill/>
                <a:ln w="15875" cap="flat" cmpd="sng" algn="ctr">
                  <a:solidFill>
                    <a:srgbClr val="86BC25">
                      <a:lumMod val="40000"/>
                      <a:lumOff val="60000"/>
                    </a:srgbClr>
                  </a:solidFill>
                  <a:prstDash val="solid"/>
                </a:ln>
                <a:effectLst/>
              </p:spPr>
            </p:cxnSp>
            <p:cxnSp>
              <p:nvCxnSpPr>
                <p:cNvPr id="86" name="Straight Connector 85">
                  <a:extLst>
                    <a:ext uri="{FF2B5EF4-FFF2-40B4-BE49-F238E27FC236}">
                      <a16:creationId xmlns:a16="http://schemas.microsoft.com/office/drawing/2014/main" id="{416BC7D9-323E-D241-332B-450BE8606C08}"/>
                    </a:ext>
                  </a:extLst>
                </p:cNvPr>
                <p:cNvCxnSpPr/>
                <p:nvPr/>
              </p:nvCxnSpPr>
              <p:spPr>
                <a:xfrm>
                  <a:off x="7350391" y="1961537"/>
                  <a:ext cx="531872" cy="0"/>
                </a:xfrm>
                <a:prstGeom prst="line">
                  <a:avLst/>
                </a:prstGeom>
                <a:noFill/>
                <a:ln w="15875" cap="flat" cmpd="sng" algn="ctr">
                  <a:solidFill>
                    <a:srgbClr val="86BC25">
                      <a:lumMod val="40000"/>
                      <a:lumOff val="60000"/>
                    </a:srgbClr>
                  </a:solidFill>
                  <a:prstDash val="solid"/>
                </a:ln>
                <a:effectLst/>
              </p:spPr>
            </p:cxnSp>
            <p:sp>
              <p:nvSpPr>
                <p:cNvPr id="87" name="Rectangle 86">
                  <a:extLst>
                    <a:ext uri="{FF2B5EF4-FFF2-40B4-BE49-F238E27FC236}">
                      <a16:creationId xmlns:a16="http://schemas.microsoft.com/office/drawing/2014/main" id="{F8AD364F-F967-75CD-422C-67272391CBDA}"/>
                    </a:ext>
                  </a:extLst>
                </p:cNvPr>
                <p:cNvSpPr/>
                <p:nvPr/>
              </p:nvSpPr>
              <p:spPr bwMode="gray">
                <a:xfrm>
                  <a:off x="7051316" y="974598"/>
                  <a:ext cx="1190040" cy="541093"/>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Source </a:t>
                  </a:r>
                  <a:br>
                    <a:rPr kumimoji="0" lang="en-US" sz="800" b="1" i="0" u="none" strike="noStrike" kern="0" cap="none" spc="0" normalizeH="0" baseline="0" noProof="0">
                      <a:ln>
                        <a:noFill/>
                      </a:ln>
                      <a:solidFill>
                        <a:prstClr val="white"/>
                      </a:solidFill>
                      <a:effectLst/>
                      <a:uLnTx/>
                      <a:uFillTx/>
                    </a:rPr>
                  </a:br>
                  <a:r>
                    <a:rPr kumimoji="0" lang="en-US" sz="800" b="1" i="0" u="none" strike="noStrike" kern="0" cap="none" spc="0" normalizeH="0" baseline="0" noProof="0">
                      <a:ln>
                        <a:noFill/>
                      </a:ln>
                      <a:solidFill>
                        <a:prstClr val="white"/>
                      </a:solidFill>
                      <a:effectLst/>
                      <a:uLnTx/>
                      <a:uFillTx/>
                    </a:rPr>
                    <a:t>Code</a:t>
                  </a:r>
                </a:p>
              </p:txBody>
            </p:sp>
          </p:grpSp>
          <p:sp>
            <p:nvSpPr>
              <p:cNvPr id="25" name="Rectangle 24">
                <a:extLst>
                  <a:ext uri="{FF2B5EF4-FFF2-40B4-BE49-F238E27FC236}">
                    <a16:creationId xmlns:a16="http://schemas.microsoft.com/office/drawing/2014/main" id="{EE807577-9CE0-4778-6101-603526CEC08C}"/>
                  </a:ext>
                </a:extLst>
              </p:cNvPr>
              <p:cNvSpPr/>
              <p:nvPr/>
            </p:nvSpPr>
            <p:spPr bwMode="gray">
              <a:xfrm>
                <a:off x="9578498" y="1379220"/>
                <a:ext cx="1194614" cy="551929"/>
              </a:xfrm>
              <a:prstGeom prst="rect">
                <a:avLst/>
              </a:prstGeom>
              <a:solidFill>
                <a:sysClr val="window" lastClr="FFFFFF">
                  <a:lumMod val="85000"/>
                  <a:alpha val="90000"/>
                </a:sysClr>
              </a:solidFill>
              <a:ln w="19050" algn="ctr">
                <a:noFill/>
                <a:miter lim="800000"/>
                <a:headEnd/>
                <a:tailEnd/>
              </a:ln>
            </p:spPr>
            <p:txBody>
              <a:bodyPr wrap="square" lIns="88900" tIns="108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CI: Build, Test &amp; Package Pipeline components</a:t>
                </a:r>
              </a:p>
            </p:txBody>
          </p:sp>
          <p:sp>
            <p:nvSpPr>
              <p:cNvPr id="26" name="Rectangle 25">
                <a:extLst>
                  <a:ext uri="{FF2B5EF4-FFF2-40B4-BE49-F238E27FC236}">
                    <a16:creationId xmlns:a16="http://schemas.microsoft.com/office/drawing/2014/main" id="{501102A4-7DF6-24A1-C65E-D165CDBE3B33}"/>
                  </a:ext>
                </a:extLst>
              </p:cNvPr>
              <p:cNvSpPr/>
              <p:nvPr/>
            </p:nvSpPr>
            <p:spPr bwMode="gray">
              <a:xfrm>
                <a:off x="11031518" y="2665044"/>
                <a:ext cx="897531" cy="551929"/>
              </a:xfrm>
              <a:prstGeom prst="rect">
                <a:avLst/>
              </a:prstGeom>
              <a:solidFill>
                <a:sysClr val="window" lastClr="FFFFFF">
                  <a:lumMod val="85000"/>
                  <a:alpha val="90000"/>
                </a:sysClr>
              </a:solidFill>
              <a:ln w="19050" algn="ctr">
                <a:noFill/>
                <a:miter lim="800000"/>
                <a:headEnd/>
                <a:tailEnd/>
              </a:ln>
            </p:spPr>
            <p:txBody>
              <a:bodyPr wrap="square" lIns="88900" tIns="108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CD: Pipeline Deployment</a:t>
                </a:r>
              </a:p>
            </p:txBody>
          </p:sp>
          <p:sp>
            <p:nvSpPr>
              <p:cNvPr id="27" name="Rectangle 26">
                <a:extLst>
                  <a:ext uri="{FF2B5EF4-FFF2-40B4-BE49-F238E27FC236}">
                    <a16:creationId xmlns:a16="http://schemas.microsoft.com/office/drawing/2014/main" id="{364C45A6-5660-C3FF-1123-F40BB6CD8F35}"/>
                  </a:ext>
                </a:extLst>
              </p:cNvPr>
              <p:cNvSpPr/>
              <p:nvPr/>
            </p:nvSpPr>
            <p:spPr bwMode="gray">
              <a:xfrm>
                <a:off x="11046936" y="4374728"/>
                <a:ext cx="861050" cy="987554"/>
              </a:xfrm>
              <a:prstGeom prst="rect">
                <a:avLst/>
              </a:prstGeom>
              <a:solidFill>
                <a:sysClr val="window" lastClr="FFFFFF">
                  <a:lumMod val="85000"/>
                  <a:alpha val="90000"/>
                </a:sysClr>
              </a:solidFill>
              <a:ln w="19050" algn="ctr">
                <a:noFill/>
                <a:miter lim="800000"/>
                <a:headEnd/>
                <a:tailEnd/>
              </a:ln>
            </p:spPr>
            <p:txBody>
              <a:bodyPr wrap="square" lIns="88900" tIns="36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CD: Model Serving</a:t>
                </a:r>
              </a:p>
            </p:txBody>
          </p:sp>
          <p:sp>
            <p:nvSpPr>
              <p:cNvPr id="28" name="Rounded Rectangle 102">
                <a:extLst>
                  <a:ext uri="{FF2B5EF4-FFF2-40B4-BE49-F238E27FC236}">
                    <a16:creationId xmlns:a16="http://schemas.microsoft.com/office/drawing/2014/main" id="{56778536-D0E2-2319-1EE9-F7CDE8C1FC34}"/>
                  </a:ext>
                </a:extLst>
              </p:cNvPr>
              <p:cNvSpPr/>
              <p:nvPr/>
            </p:nvSpPr>
            <p:spPr bwMode="gray">
              <a:xfrm>
                <a:off x="11040806" y="5592244"/>
                <a:ext cx="877678" cy="545224"/>
              </a:xfrm>
              <a:prstGeom prst="roundRect">
                <a:avLst>
                  <a:gd name="adj" fmla="val 50000"/>
                </a:avLst>
              </a:prstGeom>
              <a:solidFill>
                <a:srgbClr val="DDDDDD"/>
              </a:solidFill>
              <a:ln w="9525" algn="ctr">
                <a:solidFill>
                  <a:sysClr val="window" lastClr="FFFFFF">
                    <a:lumMod val="9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Model Scoring</a:t>
                </a:r>
              </a:p>
            </p:txBody>
          </p:sp>
          <p:sp>
            <p:nvSpPr>
              <p:cNvPr id="29" name="Rectangle 28">
                <a:extLst>
                  <a:ext uri="{FF2B5EF4-FFF2-40B4-BE49-F238E27FC236}">
                    <a16:creationId xmlns:a16="http://schemas.microsoft.com/office/drawing/2014/main" id="{C25A06EE-24DE-8786-ACD5-6A8C55EB6EC6}"/>
                  </a:ext>
                </a:extLst>
              </p:cNvPr>
              <p:cNvSpPr/>
              <p:nvPr/>
            </p:nvSpPr>
            <p:spPr bwMode="gray">
              <a:xfrm>
                <a:off x="9029749" y="5589573"/>
                <a:ext cx="1146057" cy="551929"/>
              </a:xfrm>
              <a:prstGeom prst="rect">
                <a:avLst/>
              </a:prstGeom>
              <a:solidFill>
                <a:sysClr val="window" lastClr="FFFFFF">
                  <a:lumMod val="85000"/>
                  <a:alpha val="90000"/>
                </a:sysClr>
              </a:solidFill>
              <a:ln w="19050" algn="ctr">
                <a:noFill/>
                <a:miter lim="800000"/>
                <a:headEnd/>
                <a:tailEnd/>
              </a:ln>
            </p:spPr>
            <p:txBody>
              <a:bodyPr wrap="square" lIns="88900" tIns="36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black"/>
                    </a:solidFill>
                    <a:effectLst/>
                    <a:uLnTx/>
                    <a:uFillTx/>
                  </a:rPr>
                  <a:t>Performance Monitoring</a:t>
                </a:r>
              </a:p>
            </p:txBody>
          </p:sp>
          <p:sp>
            <p:nvSpPr>
              <p:cNvPr id="30" name="Oval 29">
                <a:extLst>
                  <a:ext uri="{FF2B5EF4-FFF2-40B4-BE49-F238E27FC236}">
                    <a16:creationId xmlns:a16="http://schemas.microsoft.com/office/drawing/2014/main" id="{B40A3602-7B9D-6482-8322-91C616860804}"/>
                  </a:ext>
                </a:extLst>
              </p:cNvPr>
              <p:cNvSpPr/>
              <p:nvPr/>
            </p:nvSpPr>
            <p:spPr bwMode="gray">
              <a:xfrm>
                <a:off x="1543874" y="5619431"/>
                <a:ext cx="1286434" cy="495975"/>
              </a:xfrm>
              <a:prstGeom prst="ellipse">
                <a:avLst/>
              </a:prstGeom>
              <a:solidFill>
                <a:sysClr val="window" lastClr="FFFFFF">
                  <a:lumMod val="85000"/>
                  <a:alpha val="90000"/>
                </a:sysClr>
              </a:solidFill>
              <a:ln w="19050" algn="ctr">
                <a:noFill/>
                <a:miter lim="800000"/>
                <a:headEnd/>
                <a:tailEnd/>
              </a:ln>
            </p:spPr>
            <p:txBody>
              <a:bodyPr wrap="square" lIns="88900" tIns="36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black"/>
                    </a:solidFill>
                    <a:effectLst/>
                    <a:uLnTx/>
                    <a:uFillTx/>
                  </a:rPr>
                  <a:t>Triggers</a:t>
                </a:r>
              </a:p>
            </p:txBody>
          </p:sp>
          <p:sp>
            <p:nvSpPr>
              <p:cNvPr id="31" name="Flowchart: Magnetic Disk 30">
                <a:extLst>
                  <a:ext uri="{FF2B5EF4-FFF2-40B4-BE49-F238E27FC236}">
                    <a16:creationId xmlns:a16="http://schemas.microsoft.com/office/drawing/2014/main" id="{30DC7BA9-7A9D-5870-C0AD-DEE81E29043D}"/>
                  </a:ext>
                </a:extLst>
              </p:cNvPr>
              <p:cNvSpPr/>
              <p:nvPr/>
            </p:nvSpPr>
            <p:spPr bwMode="gray">
              <a:xfrm>
                <a:off x="3756074" y="5125340"/>
                <a:ext cx="3833392" cy="378997"/>
              </a:xfrm>
              <a:prstGeom prst="flowChartMagneticDisk">
                <a:avLst/>
              </a:prstGeom>
              <a:solidFill>
                <a:srgbClr val="86BC25"/>
              </a:solidFill>
              <a:ln w="12700" algn="ctr">
                <a:solidFill>
                  <a:sysClr val="window" lastClr="FFFFF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achine Learning Metadata</a:t>
                </a:r>
              </a:p>
            </p:txBody>
          </p:sp>
          <p:cxnSp>
            <p:nvCxnSpPr>
              <p:cNvPr id="32" name="Straight Arrow Connector 31">
                <a:extLst>
                  <a:ext uri="{FF2B5EF4-FFF2-40B4-BE49-F238E27FC236}">
                    <a16:creationId xmlns:a16="http://schemas.microsoft.com/office/drawing/2014/main" id="{8FCBC9A7-F963-8F5D-2B3A-CBC473DD9DCB}"/>
                  </a:ext>
                </a:extLst>
              </p:cNvPr>
              <p:cNvCxnSpPr>
                <a:cxnSpLocks/>
                <a:stCxn id="31" idx="1"/>
                <a:endCxn id="73" idx="2"/>
              </p:cNvCxnSpPr>
              <p:nvPr/>
            </p:nvCxnSpPr>
            <p:spPr>
              <a:xfrm flipH="1" flipV="1">
                <a:off x="5670586" y="4879795"/>
                <a:ext cx="2184" cy="245545"/>
              </a:xfrm>
              <a:prstGeom prst="straightConnector1">
                <a:avLst/>
              </a:prstGeom>
              <a:noFill/>
              <a:ln w="15875" cap="flat" cmpd="sng" algn="ctr">
                <a:solidFill>
                  <a:sysClr val="windowText" lastClr="000000">
                    <a:lumMod val="65000"/>
                    <a:lumOff val="35000"/>
                  </a:sysClr>
                </a:solidFill>
                <a:prstDash val="sysDot"/>
                <a:headEnd type="triangle"/>
                <a:tailEnd type="triangle"/>
              </a:ln>
              <a:effectLst/>
            </p:spPr>
          </p:cxnSp>
          <p:cxnSp>
            <p:nvCxnSpPr>
              <p:cNvPr id="33" name="Straight Arrow Connector 32">
                <a:extLst>
                  <a:ext uri="{FF2B5EF4-FFF2-40B4-BE49-F238E27FC236}">
                    <a16:creationId xmlns:a16="http://schemas.microsoft.com/office/drawing/2014/main" id="{4DF75CFA-FA3C-39E6-2C10-DAD29E67F943}"/>
                  </a:ext>
                </a:extLst>
              </p:cNvPr>
              <p:cNvCxnSpPr>
                <a:cxnSpLocks/>
                <a:stCxn id="22" idx="4"/>
                <a:endCxn id="25" idx="1"/>
              </p:cNvCxnSpPr>
              <p:nvPr/>
            </p:nvCxnSpPr>
            <p:spPr>
              <a:xfrm>
                <a:off x="9292665" y="1654506"/>
                <a:ext cx="285834" cy="679"/>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34" name="Straight Arrow Connector 33">
                <a:extLst>
                  <a:ext uri="{FF2B5EF4-FFF2-40B4-BE49-F238E27FC236}">
                    <a16:creationId xmlns:a16="http://schemas.microsoft.com/office/drawing/2014/main" id="{D04346EF-3D5A-612C-B6CF-12D0B705CA61}"/>
                  </a:ext>
                </a:extLst>
              </p:cNvPr>
              <p:cNvCxnSpPr>
                <a:cxnSpLocks/>
                <a:stCxn id="26" idx="2"/>
                <a:endCxn id="39" idx="0"/>
              </p:cNvCxnSpPr>
              <p:nvPr/>
            </p:nvCxnSpPr>
            <p:spPr>
              <a:xfrm flipH="1">
                <a:off x="11479646" y="3216973"/>
                <a:ext cx="638" cy="484672"/>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35" name="Elbow Connector 119">
                <a:extLst>
                  <a:ext uri="{FF2B5EF4-FFF2-40B4-BE49-F238E27FC236}">
                    <a16:creationId xmlns:a16="http://schemas.microsoft.com/office/drawing/2014/main" id="{9460BC1D-2768-0824-7F2E-96C04F0DE900}"/>
                  </a:ext>
                </a:extLst>
              </p:cNvPr>
              <p:cNvCxnSpPr>
                <a:cxnSpLocks/>
                <a:stCxn id="25" idx="3"/>
                <a:endCxn id="26" idx="0"/>
              </p:cNvCxnSpPr>
              <p:nvPr/>
            </p:nvCxnSpPr>
            <p:spPr>
              <a:xfrm>
                <a:off x="10773112" y="1655185"/>
                <a:ext cx="707172" cy="1009860"/>
              </a:xfrm>
              <a:prstGeom prst="bentConnector2">
                <a:avLst/>
              </a:prstGeom>
              <a:noFill/>
              <a:ln w="15875" cap="flat" cmpd="sng" algn="ctr">
                <a:solidFill>
                  <a:sysClr val="windowText" lastClr="000000">
                    <a:lumMod val="65000"/>
                    <a:lumOff val="35000"/>
                  </a:sysClr>
                </a:solidFill>
                <a:prstDash val="solid"/>
                <a:tailEnd type="triangle"/>
              </a:ln>
              <a:effectLst/>
            </p:spPr>
          </p:cxnSp>
          <p:sp>
            <p:nvSpPr>
              <p:cNvPr id="36" name="Flowchart: Multidocument 35">
                <a:extLst>
                  <a:ext uri="{FF2B5EF4-FFF2-40B4-BE49-F238E27FC236}">
                    <a16:creationId xmlns:a16="http://schemas.microsoft.com/office/drawing/2014/main" id="{CDE64FA1-F465-A34C-44F0-CD2057AC1E8C}"/>
                  </a:ext>
                </a:extLst>
              </p:cNvPr>
              <p:cNvSpPr/>
              <p:nvPr/>
            </p:nvSpPr>
            <p:spPr bwMode="gray">
              <a:xfrm>
                <a:off x="11040808" y="1386759"/>
                <a:ext cx="877678" cy="545224"/>
              </a:xfrm>
              <a:prstGeom prst="flowChartMultidocument">
                <a:avLst/>
              </a:prstGeom>
              <a:solidFill>
                <a:srgbClr val="DDDDDD"/>
              </a:solidFill>
              <a:ln w="9525" algn="ctr">
                <a:solidFill>
                  <a:sysClr val="window" lastClr="FFFFFF">
                    <a:lumMod val="9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Packages</a:t>
                </a:r>
              </a:p>
            </p:txBody>
          </p:sp>
          <p:cxnSp>
            <p:nvCxnSpPr>
              <p:cNvPr id="37" name="Straight Arrow Connector 36">
                <a:extLst>
                  <a:ext uri="{FF2B5EF4-FFF2-40B4-BE49-F238E27FC236}">
                    <a16:creationId xmlns:a16="http://schemas.microsoft.com/office/drawing/2014/main" id="{E3AD4F11-0131-25C3-A5F4-6ACE3308652F}"/>
                  </a:ext>
                </a:extLst>
              </p:cNvPr>
              <p:cNvCxnSpPr>
                <a:cxnSpLocks/>
                <a:stCxn id="27" idx="2"/>
                <a:endCxn id="28" idx="0"/>
              </p:cNvCxnSpPr>
              <p:nvPr/>
            </p:nvCxnSpPr>
            <p:spPr>
              <a:xfrm>
                <a:off x="11477461" y="5362282"/>
                <a:ext cx="2184" cy="229962"/>
              </a:xfrm>
              <a:prstGeom prst="straightConnector1">
                <a:avLst/>
              </a:prstGeom>
              <a:noFill/>
              <a:ln w="15875" cap="flat" cmpd="sng" algn="ctr">
                <a:solidFill>
                  <a:sysClr val="windowText" lastClr="000000">
                    <a:lumMod val="65000"/>
                    <a:lumOff val="35000"/>
                  </a:sysClr>
                </a:solidFill>
                <a:prstDash val="solid"/>
                <a:tailEnd type="triangle"/>
              </a:ln>
              <a:effectLst/>
            </p:spPr>
          </p:cxnSp>
          <p:grpSp>
            <p:nvGrpSpPr>
              <p:cNvPr id="38" name="Group 37">
                <a:extLst>
                  <a:ext uri="{FF2B5EF4-FFF2-40B4-BE49-F238E27FC236}">
                    <a16:creationId xmlns:a16="http://schemas.microsoft.com/office/drawing/2014/main" id="{1D6751F4-B591-431B-51AF-C25A2E043968}"/>
                  </a:ext>
                </a:extLst>
              </p:cNvPr>
              <p:cNvGrpSpPr/>
              <p:nvPr/>
            </p:nvGrpSpPr>
            <p:grpSpPr>
              <a:xfrm>
                <a:off x="2484595" y="3804245"/>
                <a:ext cx="6371983" cy="1075550"/>
                <a:chOff x="570272" y="2682286"/>
                <a:chExt cx="6435703" cy="987551"/>
              </a:xfrm>
            </p:grpSpPr>
            <p:sp>
              <p:nvSpPr>
                <p:cNvPr id="73" name="Rectangle 72">
                  <a:extLst>
                    <a:ext uri="{FF2B5EF4-FFF2-40B4-BE49-F238E27FC236}">
                      <a16:creationId xmlns:a16="http://schemas.microsoft.com/office/drawing/2014/main" id="{9CFA2C0F-10D0-CDB3-54A8-21D9FF95416D}"/>
                    </a:ext>
                  </a:extLst>
                </p:cNvPr>
                <p:cNvSpPr/>
                <p:nvPr/>
              </p:nvSpPr>
              <p:spPr bwMode="gray">
                <a:xfrm>
                  <a:off x="570272" y="2682286"/>
                  <a:ext cx="6435703" cy="987551"/>
                </a:xfrm>
                <a:prstGeom prst="rect">
                  <a:avLst/>
                </a:prstGeom>
                <a:solidFill>
                  <a:srgbClr val="86BC25">
                    <a:lumMod val="20000"/>
                    <a:lumOff val="80000"/>
                    <a:alpha val="60000"/>
                  </a:srgbClr>
                </a:solidFill>
                <a:ln w="19050" algn="ctr">
                  <a:noFill/>
                  <a:miter lim="800000"/>
                  <a:headEnd/>
                  <a:tailEnd/>
                </a:ln>
              </p:spPr>
              <p:txBody>
                <a:bodyPr wrap="square" lIns="88900" tIns="36000" rIns="88900" bIns="88900" rtlCol="0" anchor="t"/>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0" cap="none" spc="0" normalizeH="0" baseline="0" noProof="0">
                      <a:ln>
                        <a:noFill/>
                      </a:ln>
                      <a:solidFill>
                        <a:prstClr val="black"/>
                      </a:solidFill>
                      <a:effectLst/>
                      <a:uLnTx/>
                      <a:uFillTx/>
                    </a:rPr>
                    <a:t>Automated pipeline to refresh models (If Triggered)</a:t>
                  </a:r>
                </a:p>
              </p:txBody>
            </p:sp>
            <p:sp>
              <p:nvSpPr>
                <p:cNvPr id="74" name="Rectangle 73">
                  <a:extLst>
                    <a:ext uri="{FF2B5EF4-FFF2-40B4-BE49-F238E27FC236}">
                      <a16:creationId xmlns:a16="http://schemas.microsoft.com/office/drawing/2014/main" id="{8C92F030-7827-DD2F-A2B6-45732B76A042}"/>
                    </a:ext>
                  </a:extLst>
                </p:cNvPr>
                <p:cNvSpPr/>
                <p:nvPr/>
              </p:nvSpPr>
              <p:spPr bwMode="gray">
                <a:xfrm>
                  <a:off x="1744763" y="3004245"/>
                  <a:ext cx="788206"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Data Validation Checks</a:t>
                  </a:r>
                </a:p>
              </p:txBody>
            </p:sp>
            <p:sp>
              <p:nvSpPr>
                <p:cNvPr id="75" name="Rectangle 74">
                  <a:extLst>
                    <a:ext uri="{FF2B5EF4-FFF2-40B4-BE49-F238E27FC236}">
                      <a16:creationId xmlns:a16="http://schemas.microsoft.com/office/drawing/2014/main" id="{633A6EA9-69C3-97F2-E8AD-E23180BE1272}"/>
                    </a:ext>
                  </a:extLst>
                </p:cNvPr>
                <p:cNvSpPr/>
                <p:nvPr/>
              </p:nvSpPr>
              <p:spPr bwMode="gray">
                <a:xfrm>
                  <a:off x="2821699" y="3004245"/>
                  <a:ext cx="812090"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Feature Engineering</a:t>
                  </a:r>
                </a:p>
              </p:txBody>
            </p:sp>
            <p:sp>
              <p:nvSpPr>
                <p:cNvPr id="76" name="Rectangle 75">
                  <a:extLst>
                    <a:ext uri="{FF2B5EF4-FFF2-40B4-BE49-F238E27FC236}">
                      <a16:creationId xmlns:a16="http://schemas.microsoft.com/office/drawing/2014/main" id="{24D5FABB-B2CE-B577-4CB9-B8267DD98BC4}"/>
                    </a:ext>
                  </a:extLst>
                </p:cNvPr>
                <p:cNvSpPr/>
                <p:nvPr/>
              </p:nvSpPr>
              <p:spPr bwMode="gray">
                <a:xfrm>
                  <a:off x="3922518" y="3004245"/>
                  <a:ext cx="788206"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odel Training</a:t>
                  </a:r>
                </a:p>
              </p:txBody>
            </p:sp>
            <p:sp>
              <p:nvSpPr>
                <p:cNvPr id="77" name="Rectangle 76">
                  <a:extLst>
                    <a:ext uri="{FF2B5EF4-FFF2-40B4-BE49-F238E27FC236}">
                      <a16:creationId xmlns:a16="http://schemas.microsoft.com/office/drawing/2014/main" id="{10BDA835-92F3-6FD8-89D5-B2090E1F45E6}"/>
                    </a:ext>
                  </a:extLst>
                </p:cNvPr>
                <p:cNvSpPr/>
                <p:nvPr/>
              </p:nvSpPr>
              <p:spPr bwMode="gray">
                <a:xfrm>
                  <a:off x="5003474" y="3004245"/>
                  <a:ext cx="788206"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Hyper parameter tuning</a:t>
                  </a:r>
                </a:p>
              </p:txBody>
            </p:sp>
            <p:sp>
              <p:nvSpPr>
                <p:cNvPr id="78" name="Rectangle 77">
                  <a:extLst>
                    <a:ext uri="{FF2B5EF4-FFF2-40B4-BE49-F238E27FC236}">
                      <a16:creationId xmlns:a16="http://schemas.microsoft.com/office/drawing/2014/main" id="{80EBF2B9-58C6-2753-015F-D81136BAEFBD}"/>
                    </a:ext>
                  </a:extLst>
                </p:cNvPr>
                <p:cNvSpPr/>
                <p:nvPr/>
              </p:nvSpPr>
              <p:spPr bwMode="gray">
                <a:xfrm>
                  <a:off x="6084430" y="3004245"/>
                  <a:ext cx="788206"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Model Validation</a:t>
                  </a:r>
                </a:p>
              </p:txBody>
            </p:sp>
            <p:cxnSp>
              <p:nvCxnSpPr>
                <p:cNvPr id="79" name="Straight Arrow Connector 78">
                  <a:extLst>
                    <a:ext uri="{FF2B5EF4-FFF2-40B4-BE49-F238E27FC236}">
                      <a16:creationId xmlns:a16="http://schemas.microsoft.com/office/drawing/2014/main" id="{7A7EF13D-ACCD-43AA-C068-2F14E2FCA321}"/>
                    </a:ext>
                  </a:extLst>
                </p:cNvPr>
                <p:cNvCxnSpPr>
                  <a:cxnSpLocks/>
                  <a:stCxn id="74" idx="3"/>
                  <a:endCxn id="75" idx="1"/>
                </p:cNvCxnSpPr>
                <p:nvPr/>
              </p:nvCxnSpPr>
              <p:spPr>
                <a:xfrm>
                  <a:off x="2532969" y="3269225"/>
                  <a:ext cx="288731"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80" name="Straight Arrow Connector 79">
                  <a:extLst>
                    <a:ext uri="{FF2B5EF4-FFF2-40B4-BE49-F238E27FC236}">
                      <a16:creationId xmlns:a16="http://schemas.microsoft.com/office/drawing/2014/main" id="{66990C9D-D2CB-1542-802E-6B0137B267F5}"/>
                    </a:ext>
                  </a:extLst>
                </p:cNvPr>
                <p:cNvCxnSpPr>
                  <a:cxnSpLocks/>
                  <a:stCxn id="75" idx="3"/>
                  <a:endCxn id="76" idx="1"/>
                </p:cNvCxnSpPr>
                <p:nvPr/>
              </p:nvCxnSpPr>
              <p:spPr>
                <a:xfrm>
                  <a:off x="3633789" y="3269225"/>
                  <a:ext cx="288729"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81" name="Straight Arrow Connector 80">
                  <a:extLst>
                    <a:ext uri="{FF2B5EF4-FFF2-40B4-BE49-F238E27FC236}">
                      <a16:creationId xmlns:a16="http://schemas.microsoft.com/office/drawing/2014/main" id="{48DAEAEF-1702-55BF-6D2E-6D0CD998B674}"/>
                    </a:ext>
                  </a:extLst>
                </p:cNvPr>
                <p:cNvCxnSpPr>
                  <a:cxnSpLocks/>
                  <a:stCxn id="76" idx="3"/>
                  <a:endCxn id="77" idx="1"/>
                </p:cNvCxnSpPr>
                <p:nvPr/>
              </p:nvCxnSpPr>
              <p:spPr>
                <a:xfrm>
                  <a:off x="4710724" y="3269225"/>
                  <a:ext cx="292750" cy="0"/>
                </a:xfrm>
                <a:prstGeom prst="straightConnector1">
                  <a:avLst/>
                </a:prstGeom>
                <a:noFill/>
                <a:ln w="15875" cap="flat" cmpd="sng" algn="ctr">
                  <a:solidFill>
                    <a:sysClr val="windowText" lastClr="000000">
                      <a:lumMod val="65000"/>
                      <a:lumOff val="35000"/>
                    </a:sysClr>
                  </a:solidFill>
                  <a:prstDash val="solid"/>
                  <a:tailEnd type="triangle"/>
                </a:ln>
                <a:effectLst/>
              </p:spPr>
            </p:cxnSp>
            <p:cxnSp>
              <p:nvCxnSpPr>
                <p:cNvPr id="82" name="Straight Arrow Connector 81">
                  <a:extLst>
                    <a:ext uri="{FF2B5EF4-FFF2-40B4-BE49-F238E27FC236}">
                      <a16:creationId xmlns:a16="http://schemas.microsoft.com/office/drawing/2014/main" id="{825832B7-8767-F6AA-7436-F36195A8D095}"/>
                    </a:ext>
                  </a:extLst>
                </p:cNvPr>
                <p:cNvCxnSpPr>
                  <a:cxnSpLocks/>
                  <a:stCxn id="77" idx="3"/>
                  <a:endCxn id="78" idx="1"/>
                </p:cNvCxnSpPr>
                <p:nvPr/>
              </p:nvCxnSpPr>
              <p:spPr>
                <a:xfrm>
                  <a:off x="5791680" y="3269225"/>
                  <a:ext cx="292750" cy="0"/>
                </a:xfrm>
                <a:prstGeom prst="straightConnector1">
                  <a:avLst/>
                </a:prstGeom>
                <a:noFill/>
                <a:ln w="15875" cap="flat" cmpd="sng" algn="ctr">
                  <a:solidFill>
                    <a:sysClr val="windowText" lastClr="000000">
                      <a:lumMod val="65000"/>
                      <a:lumOff val="35000"/>
                    </a:sysClr>
                  </a:solidFill>
                  <a:prstDash val="solid"/>
                  <a:tailEnd type="triangle"/>
                </a:ln>
                <a:effectLst/>
              </p:spPr>
            </p:cxnSp>
            <p:sp>
              <p:nvSpPr>
                <p:cNvPr id="83" name="Rectangle 82">
                  <a:extLst>
                    <a:ext uri="{FF2B5EF4-FFF2-40B4-BE49-F238E27FC236}">
                      <a16:creationId xmlns:a16="http://schemas.microsoft.com/office/drawing/2014/main" id="{8E9168C4-3701-4A68-D6FD-ADA335F78F9E}"/>
                    </a:ext>
                  </a:extLst>
                </p:cNvPr>
                <p:cNvSpPr/>
                <p:nvPr/>
              </p:nvSpPr>
              <p:spPr bwMode="gray">
                <a:xfrm>
                  <a:off x="663807" y="3004245"/>
                  <a:ext cx="788206" cy="529959"/>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Data Extraction</a:t>
                  </a:r>
                </a:p>
              </p:txBody>
            </p:sp>
            <p:cxnSp>
              <p:nvCxnSpPr>
                <p:cNvPr id="84" name="Straight Arrow Connector 83">
                  <a:extLst>
                    <a:ext uri="{FF2B5EF4-FFF2-40B4-BE49-F238E27FC236}">
                      <a16:creationId xmlns:a16="http://schemas.microsoft.com/office/drawing/2014/main" id="{9D30F872-B664-451C-00E7-C64E25737361}"/>
                    </a:ext>
                  </a:extLst>
                </p:cNvPr>
                <p:cNvCxnSpPr>
                  <a:cxnSpLocks/>
                  <a:stCxn id="83" idx="3"/>
                  <a:endCxn id="74" idx="1"/>
                </p:cNvCxnSpPr>
                <p:nvPr/>
              </p:nvCxnSpPr>
              <p:spPr>
                <a:xfrm>
                  <a:off x="1452013" y="3269225"/>
                  <a:ext cx="292750" cy="0"/>
                </a:xfrm>
                <a:prstGeom prst="straightConnector1">
                  <a:avLst/>
                </a:prstGeom>
                <a:noFill/>
                <a:ln w="15875" cap="flat" cmpd="sng" algn="ctr">
                  <a:solidFill>
                    <a:sysClr val="windowText" lastClr="000000">
                      <a:lumMod val="65000"/>
                      <a:lumOff val="35000"/>
                    </a:sysClr>
                  </a:solidFill>
                  <a:prstDash val="solid"/>
                  <a:tailEnd type="triangle"/>
                </a:ln>
                <a:effectLst/>
              </p:spPr>
            </p:cxnSp>
          </p:grpSp>
          <p:sp>
            <p:nvSpPr>
              <p:cNvPr id="39" name="Flowchart: Document 38">
                <a:extLst>
                  <a:ext uri="{FF2B5EF4-FFF2-40B4-BE49-F238E27FC236}">
                    <a16:creationId xmlns:a16="http://schemas.microsoft.com/office/drawing/2014/main" id="{FC67E10C-6E21-B9E9-C9A9-0E7BFCC984BA}"/>
                  </a:ext>
                </a:extLst>
              </p:cNvPr>
              <p:cNvSpPr/>
              <p:nvPr/>
            </p:nvSpPr>
            <p:spPr bwMode="gray">
              <a:xfrm>
                <a:off x="11064502" y="3701645"/>
                <a:ext cx="830287" cy="545224"/>
              </a:xfrm>
              <a:prstGeom prst="flowChartDocument">
                <a:avLst/>
              </a:prstGeom>
              <a:solidFill>
                <a:srgbClr val="DDDDDD"/>
              </a:solidFill>
              <a:ln w="9525" algn="ctr">
                <a:solidFill>
                  <a:sysClr val="window" lastClr="FFFFFF">
                    <a:lumMod val="9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Trained model</a:t>
                </a:r>
              </a:p>
            </p:txBody>
          </p:sp>
          <p:cxnSp>
            <p:nvCxnSpPr>
              <p:cNvPr id="40" name="Elbow Connector 153">
                <a:extLst>
                  <a:ext uri="{FF2B5EF4-FFF2-40B4-BE49-F238E27FC236}">
                    <a16:creationId xmlns:a16="http://schemas.microsoft.com/office/drawing/2014/main" id="{10C6127F-40BC-297D-9DE9-B9E610339035}"/>
                  </a:ext>
                </a:extLst>
              </p:cNvPr>
              <p:cNvCxnSpPr>
                <a:cxnSpLocks/>
                <a:stCxn id="28" idx="1"/>
                <a:endCxn id="29" idx="3"/>
              </p:cNvCxnSpPr>
              <p:nvPr/>
            </p:nvCxnSpPr>
            <p:spPr>
              <a:xfrm rot="10800000" flipV="1">
                <a:off x="10175806" y="5864856"/>
                <a:ext cx="865000" cy="681"/>
              </a:xfrm>
              <a:prstGeom prst="bentConnector3">
                <a:avLst>
                  <a:gd name="adj1" fmla="val 50000"/>
                </a:avLst>
              </a:prstGeom>
              <a:noFill/>
              <a:ln w="15875" cap="flat" cmpd="sng" algn="ctr">
                <a:solidFill>
                  <a:sysClr val="windowText" lastClr="000000">
                    <a:lumMod val="65000"/>
                    <a:lumOff val="35000"/>
                  </a:sysClr>
                </a:solidFill>
                <a:prstDash val="sysDot"/>
                <a:tailEnd type="triangle"/>
              </a:ln>
              <a:effectLst/>
            </p:spPr>
          </p:cxnSp>
          <p:cxnSp>
            <p:nvCxnSpPr>
              <p:cNvPr id="41" name="Elbow Connector 156">
                <a:extLst>
                  <a:ext uri="{FF2B5EF4-FFF2-40B4-BE49-F238E27FC236}">
                    <a16:creationId xmlns:a16="http://schemas.microsoft.com/office/drawing/2014/main" id="{FAF48959-10DB-34CC-F1E2-EE693754BC36}"/>
                  </a:ext>
                </a:extLst>
              </p:cNvPr>
              <p:cNvCxnSpPr>
                <a:cxnSpLocks/>
                <a:stCxn id="29" idx="1"/>
                <a:endCxn id="30" idx="6"/>
              </p:cNvCxnSpPr>
              <p:nvPr/>
            </p:nvCxnSpPr>
            <p:spPr>
              <a:xfrm rot="10800000" flipV="1">
                <a:off x="2830308" y="5865537"/>
                <a:ext cx="6199441" cy="1882"/>
              </a:xfrm>
              <a:prstGeom prst="bentConnector3">
                <a:avLst>
                  <a:gd name="adj1" fmla="val 50000"/>
                </a:avLst>
              </a:prstGeom>
              <a:noFill/>
              <a:ln w="15875" cap="flat" cmpd="sng" algn="ctr">
                <a:solidFill>
                  <a:sysClr val="windowText" lastClr="000000">
                    <a:lumMod val="65000"/>
                    <a:lumOff val="35000"/>
                  </a:sysClr>
                </a:solidFill>
                <a:prstDash val="sysDot"/>
                <a:tailEnd type="triangle"/>
              </a:ln>
              <a:effectLst/>
            </p:spPr>
          </p:cxnSp>
          <p:sp>
            <p:nvSpPr>
              <p:cNvPr id="42" name="Rectangle 41">
                <a:extLst>
                  <a:ext uri="{FF2B5EF4-FFF2-40B4-BE49-F238E27FC236}">
                    <a16:creationId xmlns:a16="http://schemas.microsoft.com/office/drawing/2014/main" id="{411671AC-BF4F-E98D-3587-558ED649E2DC}"/>
                  </a:ext>
                </a:extLst>
              </p:cNvPr>
              <p:cNvSpPr/>
              <p:nvPr/>
            </p:nvSpPr>
            <p:spPr bwMode="gray">
              <a:xfrm>
                <a:off x="2993977" y="5587633"/>
                <a:ext cx="424909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0" cap="none" spc="0" normalizeH="0" baseline="0" noProof="0">
                    <a:ln>
                      <a:noFill/>
                    </a:ln>
                    <a:solidFill>
                      <a:prstClr val="black"/>
                    </a:solidFill>
                    <a:effectLst/>
                    <a:uLnTx/>
                    <a:uFillTx/>
                  </a:rPr>
                  <a:t>Model Performance / Distribution of Key Variables / Customer Segments</a:t>
                </a:r>
              </a:p>
            </p:txBody>
          </p:sp>
          <p:cxnSp>
            <p:nvCxnSpPr>
              <p:cNvPr id="43" name="Elbow Connector 160">
                <a:extLst>
                  <a:ext uri="{FF2B5EF4-FFF2-40B4-BE49-F238E27FC236}">
                    <a16:creationId xmlns:a16="http://schemas.microsoft.com/office/drawing/2014/main" id="{516B696F-9F9A-6E6B-78CC-0FC27660B526}"/>
                  </a:ext>
                </a:extLst>
              </p:cNvPr>
              <p:cNvCxnSpPr>
                <a:cxnSpLocks/>
                <a:endCxn id="8" idx="1"/>
              </p:cNvCxnSpPr>
              <p:nvPr/>
            </p:nvCxnSpPr>
            <p:spPr>
              <a:xfrm rot="5400000" flipH="1" flipV="1">
                <a:off x="899485" y="1717386"/>
                <a:ext cx="699909" cy="565776"/>
              </a:xfrm>
              <a:prstGeom prst="bentConnector2">
                <a:avLst/>
              </a:prstGeom>
              <a:noFill/>
              <a:ln w="15875" cap="flat" cmpd="sng" algn="ctr">
                <a:solidFill>
                  <a:sysClr val="windowText" lastClr="000000">
                    <a:lumMod val="65000"/>
                    <a:lumOff val="35000"/>
                  </a:sysClr>
                </a:solidFill>
                <a:prstDash val="solid"/>
                <a:tailEnd type="triangle"/>
              </a:ln>
              <a:effectLst/>
            </p:spPr>
          </p:cxnSp>
          <p:cxnSp>
            <p:nvCxnSpPr>
              <p:cNvPr id="44" name="Elbow Connector 167">
                <a:extLst>
                  <a:ext uri="{FF2B5EF4-FFF2-40B4-BE49-F238E27FC236}">
                    <a16:creationId xmlns:a16="http://schemas.microsoft.com/office/drawing/2014/main" id="{17479270-3B2A-5293-C22C-7028F1F1A824}"/>
                  </a:ext>
                </a:extLst>
              </p:cNvPr>
              <p:cNvCxnSpPr>
                <a:cxnSpLocks/>
                <a:stCxn id="30" idx="0"/>
                <a:endCxn id="73" idx="0"/>
              </p:cNvCxnSpPr>
              <p:nvPr/>
            </p:nvCxnSpPr>
            <p:spPr>
              <a:xfrm rot="5400000" flipH="1" flipV="1">
                <a:off x="3021245" y="2970091"/>
                <a:ext cx="1815186" cy="3483495"/>
              </a:xfrm>
              <a:prstGeom prst="bentConnector3">
                <a:avLst>
                  <a:gd name="adj1" fmla="val 112594"/>
                </a:avLst>
              </a:prstGeom>
              <a:noFill/>
              <a:ln w="15875" cap="flat" cmpd="sng" algn="ctr">
                <a:solidFill>
                  <a:sysClr val="windowText" lastClr="000000">
                    <a:lumMod val="65000"/>
                    <a:lumOff val="35000"/>
                  </a:sysClr>
                </a:solidFill>
                <a:prstDash val="solid"/>
                <a:tailEnd type="triangle"/>
              </a:ln>
              <a:effectLst/>
            </p:spPr>
          </p:cxnSp>
          <p:cxnSp>
            <p:nvCxnSpPr>
              <p:cNvPr id="45" name="Elbow Connector 170">
                <a:extLst>
                  <a:ext uri="{FF2B5EF4-FFF2-40B4-BE49-F238E27FC236}">
                    <a16:creationId xmlns:a16="http://schemas.microsoft.com/office/drawing/2014/main" id="{0C92F72C-9272-E68F-FD12-FCF5B26E7022}"/>
                  </a:ext>
                </a:extLst>
              </p:cNvPr>
              <p:cNvCxnSpPr>
                <a:cxnSpLocks/>
                <a:endCxn id="28" idx="2"/>
              </p:cNvCxnSpPr>
              <p:nvPr/>
            </p:nvCxnSpPr>
            <p:spPr>
              <a:xfrm rot="10800000" flipH="1" flipV="1">
                <a:off x="491727" y="2945097"/>
                <a:ext cx="10987918" cy="3192370"/>
              </a:xfrm>
              <a:prstGeom prst="bentConnector4">
                <a:avLst>
                  <a:gd name="adj1" fmla="val -2124"/>
                  <a:gd name="adj2" fmla="val 107311"/>
                </a:avLst>
              </a:prstGeom>
              <a:noFill/>
              <a:ln w="15875" cap="flat" cmpd="sng" algn="ctr">
                <a:solidFill>
                  <a:sysClr val="windowText" lastClr="000000">
                    <a:lumMod val="65000"/>
                    <a:lumOff val="35000"/>
                  </a:sysClr>
                </a:solidFill>
                <a:prstDash val="solid"/>
                <a:tailEnd type="triangle"/>
              </a:ln>
              <a:effectLst/>
            </p:spPr>
          </p:cxnSp>
          <p:cxnSp>
            <p:nvCxnSpPr>
              <p:cNvPr id="46" name="Elbow Connector 178">
                <a:extLst>
                  <a:ext uri="{FF2B5EF4-FFF2-40B4-BE49-F238E27FC236}">
                    <a16:creationId xmlns:a16="http://schemas.microsoft.com/office/drawing/2014/main" id="{970FFDEC-5A18-44BC-C718-590742E47775}"/>
                  </a:ext>
                </a:extLst>
              </p:cNvPr>
              <p:cNvCxnSpPr>
                <a:cxnSpLocks/>
                <a:endCxn id="83" idx="1"/>
              </p:cNvCxnSpPr>
              <p:nvPr/>
            </p:nvCxnSpPr>
            <p:spPr>
              <a:xfrm rot="16200000" flipH="1">
                <a:off x="1320120" y="3186400"/>
                <a:ext cx="903515" cy="1610653"/>
              </a:xfrm>
              <a:prstGeom prst="bentConnector2">
                <a:avLst/>
              </a:prstGeom>
              <a:noFill/>
              <a:ln w="15875" cap="flat" cmpd="sng" algn="ctr">
                <a:solidFill>
                  <a:sysClr val="windowText" lastClr="000000">
                    <a:lumMod val="65000"/>
                    <a:lumOff val="35000"/>
                  </a:sysClr>
                </a:solidFill>
                <a:prstDash val="solid"/>
                <a:tailEnd type="triangle"/>
              </a:ln>
              <a:effectLst/>
            </p:spPr>
          </p:cxnSp>
          <p:sp>
            <p:nvSpPr>
              <p:cNvPr id="47" name="Rectangle 46">
                <a:extLst>
                  <a:ext uri="{FF2B5EF4-FFF2-40B4-BE49-F238E27FC236}">
                    <a16:creationId xmlns:a16="http://schemas.microsoft.com/office/drawing/2014/main" id="{9A480314-CB94-07CA-2526-B9785DE8512D}"/>
                  </a:ext>
                </a:extLst>
              </p:cNvPr>
              <p:cNvSpPr/>
              <p:nvPr/>
            </p:nvSpPr>
            <p:spPr bwMode="gray">
              <a:xfrm>
                <a:off x="369529" y="1387281"/>
                <a:ext cx="982629" cy="524712"/>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Data Analysis</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Univariate &amp; Bivariate)</a:t>
                </a:r>
              </a:p>
            </p:txBody>
          </p:sp>
          <p:cxnSp>
            <p:nvCxnSpPr>
              <p:cNvPr id="48" name="Elbow Connector 189">
                <a:extLst>
                  <a:ext uri="{FF2B5EF4-FFF2-40B4-BE49-F238E27FC236}">
                    <a16:creationId xmlns:a16="http://schemas.microsoft.com/office/drawing/2014/main" id="{5C7C9445-2359-3EFC-2E3A-13AB3A28881E}"/>
                  </a:ext>
                </a:extLst>
              </p:cNvPr>
              <p:cNvCxnSpPr>
                <a:cxnSpLocks/>
                <a:stCxn id="30" idx="2"/>
                <a:endCxn id="47" idx="1"/>
              </p:cNvCxnSpPr>
              <p:nvPr/>
            </p:nvCxnSpPr>
            <p:spPr>
              <a:xfrm rot="10800000">
                <a:off x="369529" y="1649638"/>
                <a:ext cx="1174345" cy="4217782"/>
              </a:xfrm>
              <a:prstGeom prst="bentConnector3">
                <a:avLst>
                  <a:gd name="adj1" fmla="val 119314"/>
                </a:avLst>
              </a:prstGeom>
              <a:noFill/>
              <a:ln w="15875" cap="flat" cmpd="sng" algn="ctr">
                <a:solidFill>
                  <a:sysClr val="windowText" lastClr="000000">
                    <a:lumMod val="65000"/>
                    <a:lumOff val="35000"/>
                  </a:sysClr>
                </a:solidFill>
                <a:prstDash val="sysDot"/>
                <a:tailEnd type="triangle"/>
              </a:ln>
              <a:effectLst/>
            </p:spPr>
          </p:cxnSp>
          <p:sp>
            <p:nvSpPr>
              <p:cNvPr id="49" name="Rectangle 48">
                <a:extLst>
                  <a:ext uri="{FF2B5EF4-FFF2-40B4-BE49-F238E27FC236}">
                    <a16:creationId xmlns:a16="http://schemas.microsoft.com/office/drawing/2014/main" id="{4B7FAE41-76CC-FA10-91B2-C3686B11B896}"/>
                  </a:ext>
                </a:extLst>
              </p:cNvPr>
              <p:cNvSpPr/>
              <p:nvPr/>
            </p:nvSpPr>
            <p:spPr bwMode="gray">
              <a:xfrm>
                <a:off x="1557570" y="2532090"/>
                <a:ext cx="2560762"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0" cap="none" spc="0" normalizeH="0" baseline="0" noProof="0">
                    <a:ln>
                      <a:noFill/>
                    </a:ln>
                    <a:solidFill>
                      <a:prstClr val="black"/>
                    </a:solidFill>
                    <a:effectLst/>
                    <a:uLnTx/>
                    <a:uFillTx/>
                  </a:rPr>
                  <a:t>ETL Development, Staging, </a:t>
                </a:r>
                <a:br>
                  <a:rPr kumimoji="0" lang="en-US" sz="900" b="0" i="0" u="none" strike="noStrike" kern="0" cap="none" spc="0" normalizeH="0" baseline="0" noProof="0">
                    <a:ln>
                      <a:noFill/>
                    </a:ln>
                    <a:solidFill>
                      <a:prstClr val="black"/>
                    </a:solidFill>
                    <a:effectLst/>
                    <a:uLnTx/>
                    <a:uFillTx/>
                  </a:rPr>
                </a:br>
                <a:r>
                  <a:rPr kumimoji="0" lang="en-US" sz="900" b="0" i="0" u="none" strike="noStrike" kern="0" cap="none" spc="0" normalizeH="0" baseline="0" noProof="0">
                    <a:ln>
                      <a:noFill/>
                    </a:ln>
                    <a:solidFill>
                      <a:prstClr val="black"/>
                    </a:solidFill>
                    <a:effectLst/>
                    <a:uLnTx/>
                    <a:uFillTx/>
                  </a:rPr>
                  <a:t>Testing, Preproduction, Production</a:t>
                </a:r>
              </a:p>
            </p:txBody>
          </p:sp>
          <p:cxnSp>
            <p:nvCxnSpPr>
              <p:cNvPr id="50" name="Elbow Connector 194">
                <a:extLst>
                  <a:ext uri="{FF2B5EF4-FFF2-40B4-BE49-F238E27FC236}">
                    <a16:creationId xmlns:a16="http://schemas.microsoft.com/office/drawing/2014/main" id="{41B4113E-8144-D7E5-FED5-860D9BD9A49E}"/>
                  </a:ext>
                </a:extLst>
              </p:cNvPr>
              <p:cNvCxnSpPr>
                <a:cxnSpLocks/>
              </p:cNvCxnSpPr>
              <p:nvPr/>
            </p:nvCxnSpPr>
            <p:spPr>
              <a:xfrm flipH="1" flipV="1">
                <a:off x="7691537" y="1931932"/>
                <a:ext cx="1164050" cy="2512032"/>
              </a:xfrm>
              <a:prstGeom prst="bentConnector4">
                <a:avLst>
                  <a:gd name="adj1" fmla="val -19638"/>
                  <a:gd name="adj2" fmla="val 65571"/>
                </a:avLst>
              </a:prstGeom>
              <a:noFill/>
              <a:ln w="15875" cap="flat" cmpd="sng" algn="ctr">
                <a:solidFill>
                  <a:sysClr val="windowText" lastClr="000000">
                    <a:lumMod val="65000"/>
                    <a:lumOff val="35000"/>
                  </a:sysClr>
                </a:solidFill>
                <a:prstDash val="sysDot"/>
                <a:tailEnd type="triangle"/>
              </a:ln>
              <a:effectLst/>
            </p:spPr>
          </p:cxnSp>
          <p:sp>
            <p:nvSpPr>
              <p:cNvPr id="72" name="Rectangle 71">
                <a:extLst>
                  <a:ext uri="{FF2B5EF4-FFF2-40B4-BE49-F238E27FC236}">
                    <a16:creationId xmlns:a16="http://schemas.microsoft.com/office/drawing/2014/main" id="{F173218F-E8F1-EC09-0DB0-D795C9503E78}"/>
                  </a:ext>
                </a:extLst>
              </p:cNvPr>
              <p:cNvSpPr/>
              <p:nvPr/>
            </p:nvSpPr>
            <p:spPr bwMode="gray">
              <a:xfrm>
                <a:off x="8610374" y="2711871"/>
                <a:ext cx="780401" cy="529960"/>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white"/>
                    </a:solidFill>
                    <a:effectLst/>
                    <a:uLnTx/>
                    <a:uFillTx/>
                  </a:rPr>
                  <a:t>Source </a:t>
                </a:r>
                <a:br>
                  <a:rPr kumimoji="0" lang="en-US" sz="800" b="1" i="0" u="none" strike="noStrike" kern="0" cap="none" spc="0" normalizeH="0" baseline="0" noProof="0">
                    <a:ln>
                      <a:noFill/>
                    </a:ln>
                    <a:solidFill>
                      <a:prstClr val="white"/>
                    </a:solidFill>
                    <a:effectLst/>
                    <a:uLnTx/>
                    <a:uFillTx/>
                  </a:rPr>
                </a:br>
                <a:r>
                  <a:rPr kumimoji="0" lang="en-US" sz="800" b="1" i="0" u="none" strike="noStrike" kern="0" cap="none" spc="0" normalizeH="0" baseline="0" noProof="0">
                    <a:ln>
                      <a:noFill/>
                    </a:ln>
                    <a:solidFill>
                      <a:prstClr val="white"/>
                    </a:solidFill>
                    <a:effectLst/>
                    <a:uLnTx/>
                    <a:uFillTx/>
                  </a:rPr>
                  <a:t>Code</a:t>
                </a:r>
              </a:p>
            </p:txBody>
          </p:sp>
          <p:sp>
            <p:nvSpPr>
              <p:cNvPr id="52" name="Rectangle 51">
                <a:extLst>
                  <a:ext uri="{FF2B5EF4-FFF2-40B4-BE49-F238E27FC236}">
                    <a16:creationId xmlns:a16="http://schemas.microsoft.com/office/drawing/2014/main" id="{482D32C7-4A0B-C368-5184-0D723F178B78}"/>
                  </a:ext>
                </a:extLst>
              </p:cNvPr>
              <p:cNvSpPr/>
              <p:nvPr/>
            </p:nvSpPr>
            <p:spPr bwMode="gray">
              <a:xfrm>
                <a:off x="315909" y="5516314"/>
                <a:ext cx="1243120" cy="234072"/>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0" cap="none" spc="0" normalizeH="0" baseline="0" noProof="0">
                    <a:ln>
                      <a:noFill/>
                    </a:ln>
                    <a:solidFill>
                      <a:prstClr val="black"/>
                    </a:solidFill>
                    <a:effectLst/>
                    <a:uLnTx/>
                    <a:uFillTx/>
                  </a:rPr>
                  <a:t>Data &amp; Model Logs</a:t>
                </a:r>
              </a:p>
            </p:txBody>
          </p:sp>
          <p:sp>
            <p:nvSpPr>
              <p:cNvPr id="53" name="Rectangle 52">
                <a:extLst>
                  <a:ext uri="{FF2B5EF4-FFF2-40B4-BE49-F238E27FC236}">
                    <a16:creationId xmlns:a16="http://schemas.microsoft.com/office/drawing/2014/main" id="{D62BC0CE-4746-91CB-773C-7E7F57CD8DC7}"/>
                  </a:ext>
                </a:extLst>
              </p:cNvPr>
              <p:cNvSpPr/>
              <p:nvPr/>
            </p:nvSpPr>
            <p:spPr bwMode="gray">
              <a:xfrm>
                <a:off x="2647177" y="3537528"/>
                <a:ext cx="2214979"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0" cap="none" spc="0" normalizeH="0" baseline="0" noProof="0">
                    <a:ln>
                      <a:noFill/>
                    </a:ln>
                    <a:solidFill>
                      <a:prstClr val="black"/>
                    </a:solidFill>
                    <a:effectLst/>
                    <a:uLnTx/>
                    <a:uFillTx/>
                  </a:rPr>
                  <a:t>Trigger to refresh existing model</a:t>
                </a:r>
              </a:p>
            </p:txBody>
          </p:sp>
          <p:sp>
            <p:nvSpPr>
              <p:cNvPr id="56" name="Oval 55">
                <a:extLst>
                  <a:ext uri="{FF2B5EF4-FFF2-40B4-BE49-F238E27FC236}">
                    <a16:creationId xmlns:a16="http://schemas.microsoft.com/office/drawing/2014/main" id="{DE9EAE61-8A79-CB5F-DFA2-7AEFF7E0B1A8}"/>
                  </a:ext>
                </a:extLst>
              </p:cNvPr>
              <p:cNvSpPr/>
              <p:nvPr/>
            </p:nvSpPr>
            <p:spPr bwMode="gray">
              <a:xfrm>
                <a:off x="6911818" y="1102325"/>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2</a:t>
                </a:r>
              </a:p>
            </p:txBody>
          </p:sp>
          <p:sp>
            <p:nvSpPr>
              <p:cNvPr id="57" name="Oval 56">
                <a:extLst>
                  <a:ext uri="{FF2B5EF4-FFF2-40B4-BE49-F238E27FC236}">
                    <a16:creationId xmlns:a16="http://schemas.microsoft.com/office/drawing/2014/main" id="{DAC6C61E-1049-1E5E-5CB5-023A21E42046}"/>
                  </a:ext>
                </a:extLst>
              </p:cNvPr>
              <p:cNvSpPr/>
              <p:nvPr/>
            </p:nvSpPr>
            <p:spPr bwMode="gray">
              <a:xfrm>
                <a:off x="10645156" y="1253216"/>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3</a:t>
                </a:r>
              </a:p>
            </p:txBody>
          </p:sp>
          <p:sp>
            <p:nvSpPr>
              <p:cNvPr id="58" name="Oval 57">
                <a:extLst>
                  <a:ext uri="{FF2B5EF4-FFF2-40B4-BE49-F238E27FC236}">
                    <a16:creationId xmlns:a16="http://schemas.microsoft.com/office/drawing/2014/main" id="{5A1849D4-1B7E-86FC-4271-6914C58366A4}"/>
                  </a:ext>
                </a:extLst>
              </p:cNvPr>
              <p:cNvSpPr/>
              <p:nvPr/>
            </p:nvSpPr>
            <p:spPr bwMode="gray">
              <a:xfrm>
                <a:off x="10912867" y="2397069"/>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4</a:t>
                </a:r>
              </a:p>
            </p:txBody>
          </p:sp>
          <p:sp>
            <p:nvSpPr>
              <p:cNvPr id="59" name="Oval 58">
                <a:extLst>
                  <a:ext uri="{FF2B5EF4-FFF2-40B4-BE49-F238E27FC236}">
                    <a16:creationId xmlns:a16="http://schemas.microsoft.com/office/drawing/2014/main" id="{7B1A4265-8BB8-F045-B049-6164670EE451}"/>
                  </a:ext>
                </a:extLst>
              </p:cNvPr>
              <p:cNvSpPr/>
              <p:nvPr/>
            </p:nvSpPr>
            <p:spPr bwMode="gray">
              <a:xfrm>
                <a:off x="10937203" y="4300243"/>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5</a:t>
                </a:r>
              </a:p>
            </p:txBody>
          </p:sp>
          <p:sp>
            <p:nvSpPr>
              <p:cNvPr id="60" name="Oval 59">
                <a:extLst>
                  <a:ext uri="{FF2B5EF4-FFF2-40B4-BE49-F238E27FC236}">
                    <a16:creationId xmlns:a16="http://schemas.microsoft.com/office/drawing/2014/main" id="{DF3025E2-A2DE-0EBB-5FDC-0BF88E25FC26}"/>
                  </a:ext>
                </a:extLst>
              </p:cNvPr>
              <p:cNvSpPr/>
              <p:nvPr/>
            </p:nvSpPr>
            <p:spPr bwMode="gray">
              <a:xfrm>
                <a:off x="8962395" y="5494835"/>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6</a:t>
                </a:r>
              </a:p>
            </p:txBody>
          </p:sp>
          <p:sp>
            <p:nvSpPr>
              <p:cNvPr id="61" name="Oval 60">
                <a:extLst>
                  <a:ext uri="{FF2B5EF4-FFF2-40B4-BE49-F238E27FC236}">
                    <a16:creationId xmlns:a16="http://schemas.microsoft.com/office/drawing/2014/main" id="{4DDA8BEF-DF77-79F3-9D0B-C79879704894}"/>
                  </a:ext>
                </a:extLst>
              </p:cNvPr>
              <p:cNvSpPr/>
              <p:nvPr/>
            </p:nvSpPr>
            <p:spPr bwMode="gray">
              <a:xfrm>
                <a:off x="2438627" y="3853338"/>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7</a:t>
                </a:r>
              </a:p>
            </p:txBody>
          </p:sp>
          <p:cxnSp>
            <p:nvCxnSpPr>
              <p:cNvPr id="63" name="Elbow Connector 233">
                <a:extLst>
                  <a:ext uri="{FF2B5EF4-FFF2-40B4-BE49-F238E27FC236}">
                    <a16:creationId xmlns:a16="http://schemas.microsoft.com/office/drawing/2014/main" id="{B5909828-9F06-3C7A-676F-FD8CB3ED9474}"/>
                  </a:ext>
                </a:extLst>
              </p:cNvPr>
              <p:cNvCxnSpPr>
                <a:cxnSpLocks/>
                <a:stCxn id="78" idx="3"/>
              </p:cNvCxnSpPr>
              <p:nvPr/>
            </p:nvCxnSpPr>
            <p:spPr>
              <a:xfrm>
                <a:off x="8724559" y="4443485"/>
                <a:ext cx="447029" cy="496"/>
              </a:xfrm>
              <a:prstGeom prst="bentConnector3">
                <a:avLst>
                  <a:gd name="adj1" fmla="val 50000"/>
                </a:avLst>
              </a:prstGeom>
              <a:noFill/>
              <a:ln w="15875" cap="flat" cmpd="sng" algn="ctr">
                <a:solidFill>
                  <a:sysClr val="windowText" lastClr="000000">
                    <a:lumMod val="65000"/>
                    <a:lumOff val="35000"/>
                  </a:sysClr>
                </a:solidFill>
                <a:prstDash val="sysDot"/>
                <a:tailEnd type="triangle"/>
              </a:ln>
              <a:effectLst/>
            </p:spPr>
          </p:cxnSp>
          <p:cxnSp>
            <p:nvCxnSpPr>
              <p:cNvPr id="65" name="Straight Arrow Connector 64">
                <a:extLst>
                  <a:ext uri="{FF2B5EF4-FFF2-40B4-BE49-F238E27FC236}">
                    <a16:creationId xmlns:a16="http://schemas.microsoft.com/office/drawing/2014/main" id="{9124F1C2-735D-720F-464F-CF2D9F43C981}"/>
                  </a:ext>
                </a:extLst>
              </p:cNvPr>
              <p:cNvCxnSpPr>
                <a:cxnSpLocks/>
                <a:stCxn id="39" idx="2"/>
                <a:endCxn id="27" idx="0"/>
              </p:cNvCxnSpPr>
              <p:nvPr/>
            </p:nvCxnSpPr>
            <p:spPr>
              <a:xfrm flipH="1">
                <a:off x="11477461" y="4210824"/>
                <a:ext cx="2185" cy="163905"/>
              </a:xfrm>
              <a:prstGeom prst="straightConnector1">
                <a:avLst/>
              </a:prstGeom>
              <a:noFill/>
              <a:ln w="15875" cap="flat" cmpd="sng" algn="ctr">
                <a:solidFill>
                  <a:sysClr val="windowText" lastClr="000000">
                    <a:lumMod val="65000"/>
                    <a:lumOff val="35000"/>
                  </a:sysClr>
                </a:solidFill>
                <a:prstDash val="solid"/>
                <a:tailEnd type="triangle"/>
              </a:ln>
              <a:effectLst/>
            </p:spPr>
          </p:cxnSp>
          <p:sp>
            <p:nvSpPr>
              <p:cNvPr id="67" name="Oval 66">
                <a:extLst>
                  <a:ext uri="{FF2B5EF4-FFF2-40B4-BE49-F238E27FC236}">
                    <a16:creationId xmlns:a16="http://schemas.microsoft.com/office/drawing/2014/main" id="{F6C7A66D-556C-C97C-8C61-F66C5B5D5634}"/>
                  </a:ext>
                </a:extLst>
              </p:cNvPr>
              <p:cNvSpPr/>
              <p:nvPr/>
            </p:nvSpPr>
            <p:spPr bwMode="gray">
              <a:xfrm>
                <a:off x="325090" y="2214845"/>
                <a:ext cx="179543" cy="179543"/>
              </a:xfrm>
              <a:prstGeom prst="ellipse">
                <a:avLst/>
              </a:prstGeom>
              <a:solidFill>
                <a:sysClr val="windowText" lastClr="000000">
                  <a:lumMod val="75000"/>
                  <a:lumOff val="2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0" cap="none" spc="0" normalizeH="0" baseline="0" noProof="0">
                    <a:ln>
                      <a:noFill/>
                    </a:ln>
                    <a:solidFill>
                      <a:prstClr val="white"/>
                    </a:solidFill>
                    <a:effectLst/>
                    <a:uLnTx/>
                    <a:uFillTx/>
                  </a:rPr>
                  <a:t>1</a:t>
                </a:r>
              </a:p>
            </p:txBody>
          </p:sp>
          <p:sp>
            <p:nvSpPr>
              <p:cNvPr id="69" name="Rectangle 68">
                <a:extLst>
                  <a:ext uri="{FF2B5EF4-FFF2-40B4-BE49-F238E27FC236}">
                    <a16:creationId xmlns:a16="http://schemas.microsoft.com/office/drawing/2014/main" id="{75E002E8-BA84-C0BE-53AA-C26DB0BE73B3}"/>
                  </a:ext>
                </a:extLst>
              </p:cNvPr>
              <p:cNvSpPr/>
              <p:nvPr/>
            </p:nvSpPr>
            <p:spPr bwMode="gray">
              <a:xfrm>
                <a:off x="4982771" y="3545254"/>
                <a:ext cx="4674006" cy="283227"/>
              </a:xfrm>
              <a:prstGeom prst="rect">
                <a:avLst/>
              </a:prstGeom>
              <a:noFill/>
              <a:ln w="19050" algn="ctr">
                <a:noFill/>
                <a:prstDash val="dash"/>
                <a:miter lim="800000"/>
                <a:headEnd/>
                <a:tailEnd/>
              </a:ln>
            </p:spPr>
            <p:txBody>
              <a:bodyPr wrap="square" lIns="88900" tIns="72000" rIns="88900" bIns="720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900" b="0" i="0" u="none" strike="noStrike" kern="0" cap="none" spc="0" normalizeH="0" baseline="0" noProof="0">
                    <a:ln>
                      <a:noFill/>
                    </a:ln>
                    <a:solidFill>
                      <a:prstClr val="black"/>
                    </a:solidFill>
                    <a:effectLst/>
                    <a:uLnTx/>
                    <a:uFillTx/>
                  </a:rPr>
                  <a:t>Changes in business drivers leads to manual model re-building</a:t>
                </a:r>
              </a:p>
            </p:txBody>
          </p:sp>
        </p:grpSp>
        <p:sp>
          <p:nvSpPr>
            <p:cNvPr id="6" name="Rectangle 5">
              <a:extLst>
                <a:ext uri="{FF2B5EF4-FFF2-40B4-BE49-F238E27FC236}">
                  <a16:creationId xmlns:a16="http://schemas.microsoft.com/office/drawing/2014/main" id="{69ABBAB6-323D-6EA4-6CC4-8C0F6FD2AA69}"/>
                </a:ext>
              </a:extLst>
            </p:cNvPr>
            <p:cNvSpPr/>
            <p:nvPr/>
          </p:nvSpPr>
          <p:spPr bwMode="gray">
            <a:xfrm>
              <a:off x="1604065" y="3666922"/>
              <a:ext cx="861050" cy="667834"/>
            </a:xfrm>
            <a:prstGeom prst="rect">
              <a:avLst/>
            </a:prstGeom>
            <a:solidFill>
              <a:sysClr val="window" lastClr="FFFFFF">
                <a:lumMod val="85000"/>
              </a:sysClr>
            </a:solidFill>
            <a:ln w="19050" algn="ctr">
              <a:noFill/>
              <a:miter lim="800000"/>
              <a:headEnd/>
              <a:tailEnd/>
            </a:ln>
          </p:spPr>
          <p:txBody>
            <a:bodyPr wrap="square" lIns="88900" tIns="360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a:ln>
                    <a:noFill/>
                  </a:ln>
                  <a:solidFill>
                    <a:prstClr val="black"/>
                  </a:solidFill>
                  <a:effectLst/>
                  <a:uLnTx/>
                  <a:uFillTx/>
                </a:rPr>
                <a:t>CT: continuous training</a:t>
              </a:r>
            </a:p>
          </p:txBody>
        </p:sp>
      </p:grpSp>
      <p:sp>
        <p:nvSpPr>
          <p:cNvPr id="18" name="Can 33">
            <a:extLst>
              <a:ext uri="{FF2B5EF4-FFF2-40B4-BE49-F238E27FC236}">
                <a16:creationId xmlns:a16="http://schemas.microsoft.com/office/drawing/2014/main" id="{7FB8C969-23E0-7556-C83D-E1683755AF04}"/>
              </a:ext>
            </a:extLst>
          </p:cNvPr>
          <p:cNvSpPr/>
          <p:nvPr/>
        </p:nvSpPr>
        <p:spPr bwMode="gray">
          <a:xfrm>
            <a:off x="496406" y="2247584"/>
            <a:ext cx="972032" cy="1748728"/>
          </a:xfrm>
          <a:prstGeom prst="can">
            <a:avLst>
              <a:gd name="adj" fmla="val 21037"/>
            </a:avLst>
          </a:prstGeom>
          <a:solidFill>
            <a:srgbClr val="86BC25"/>
          </a:solidFill>
          <a:ln w="19050" algn="ctr">
            <a:noFill/>
            <a:miter lim="800000"/>
            <a:headEnd/>
            <a:tailEnd/>
          </a:ln>
        </p:spPr>
        <p:txBody>
          <a:bodyPr wrap="square" lIns="88900" tIns="88900" rIns="88900" bIns="88900" rtlCol="0" anchor="t"/>
          <a:lstStyle/>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SAP data</a:t>
            </a:r>
          </a:p>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Nielsen data</a:t>
            </a:r>
          </a:p>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Household panel data</a:t>
            </a:r>
          </a:p>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Brand health data</a:t>
            </a:r>
          </a:p>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800" b="1" i="0" u="none" strike="noStrike" kern="1200" cap="none" spc="0" normalizeH="0" baseline="0" noProof="0">
                <a:ln>
                  <a:noFill/>
                </a:ln>
                <a:solidFill>
                  <a:prstClr val="white"/>
                </a:solidFill>
                <a:effectLst/>
                <a:uLnTx/>
                <a:uFillTx/>
                <a:latin typeface="Calibri"/>
                <a:ea typeface="+mn-ea"/>
                <a:cs typeface="+mn-cs"/>
              </a:rPr>
              <a:t>Media data</a:t>
            </a:r>
          </a:p>
          <a:p>
            <a:pPr marL="88900" marR="0" lvl="0" indent="-88900" algn="l" defTabSz="91440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800" b="1" i="0" u="none" strike="noStrike" kern="1200" cap="none" spc="0" normalizeH="0" baseline="0" noProof="0">
              <a:ln>
                <a:noFill/>
              </a:ln>
              <a:solidFill>
                <a:prstClr val="white"/>
              </a:solidFill>
              <a:effectLst/>
              <a:uLnTx/>
              <a:uFillTx/>
              <a:latin typeface="Calibri"/>
              <a:ea typeface="+mn-ea"/>
              <a:cs typeface="+mn-cs"/>
            </a:endParaRPr>
          </a:p>
        </p:txBody>
      </p:sp>
      <p:pic>
        <p:nvPicPr>
          <p:cNvPr id="88" name="Picture 87">
            <a:extLst>
              <a:ext uri="{FF2B5EF4-FFF2-40B4-BE49-F238E27FC236}">
                <a16:creationId xmlns:a16="http://schemas.microsoft.com/office/drawing/2014/main" id="{F7233778-F30C-4928-74C1-C786C12C9388}"/>
              </a:ext>
            </a:extLst>
          </p:cNvPr>
          <p:cNvPicPr>
            <a:picLocks noChangeAspect="1"/>
          </p:cNvPicPr>
          <p:nvPr/>
        </p:nvPicPr>
        <p:blipFill>
          <a:blip r:embed="rId2"/>
          <a:stretch>
            <a:fillRect/>
          </a:stretch>
        </p:blipFill>
        <p:spPr>
          <a:xfrm>
            <a:off x="611075" y="3463038"/>
            <a:ext cx="714842" cy="458578"/>
          </a:xfrm>
          <a:prstGeom prst="rect">
            <a:avLst/>
          </a:prstGeom>
        </p:spPr>
      </p:pic>
      <p:pic>
        <p:nvPicPr>
          <p:cNvPr id="89" name="Picture 88">
            <a:extLst>
              <a:ext uri="{FF2B5EF4-FFF2-40B4-BE49-F238E27FC236}">
                <a16:creationId xmlns:a16="http://schemas.microsoft.com/office/drawing/2014/main" id="{BC3C3806-E556-C7FB-79B2-C9603CAC32A9}"/>
              </a:ext>
            </a:extLst>
          </p:cNvPr>
          <p:cNvPicPr>
            <a:picLocks noChangeAspect="1"/>
          </p:cNvPicPr>
          <p:nvPr/>
        </p:nvPicPr>
        <p:blipFill>
          <a:blip r:embed="rId3"/>
          <a:stretch>
            <a:fillRect/>
          </a:stretch>
        </p:blipFill>
        <p:spPr>
          <a:xfrm>
            <a:off x="7153873" y="1765354"/>
            <a:ext cx="876826" cy="331480"/>
          </a:xfrm>
          <a:prstGeom prst="rect">
            <a:avLst/>
          </a:prstGeom>
        </p:spPr>
      </p:pic>
      <p:sp>
        <p:nvSpPr>
          <p:cNvPr id="90" name="Rectangle 89">
            <a:extLst>
              <a:ext uri="{FF2B5EF4-FFF2-40B4-BE49-F238E27FC236}">
                <a16:creationId xmlns:a16="http://schemas.microsoft.com/office/drawing/2014/main" id="{E0A432EF-7A44-B8BA-5163-934605A2C4C8}"/>
              </a:ext>
            </a:extLst>
          </p:cNvPr>
          <p:cNvSpPr/>
          <p:nvPr/>
        </p:nvSpPr>
        <p:spPr>
          <a:xfrm>
            <a:off x="7135038" y="1187900"/>
            <a:ext cx="2083680" cy="992642"/>
          </a:xfrm>
          <a:prstGeom prst="rect">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2CDEBCCD-1FF7-1C89-45DA-E44860400285}"/>
              </a:ext>
            </a:extLst>
          </p:cNvPr>
          <p:cNvSpPr/>
          <p:nvPr/>
        </p:nvSpPr>
        <p:spPr>
          <a:xfrm>
            <a:off x="1511219" y="965065"/>
            <a:ext cx="10487947" cy="2469708"/>
          </a:xfrm>
          <a:prstGeom prst="rect">
            <a:avLst/>
          </a:prstGeom>
          <a:noFill/>
          <a:ln w="9525">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Kubernetes Logo, symbol, meaning ...">
            <a:extLst>
              <a:ext uri="{FF2B5EF4-FFF2-40B4-BE49-F238E27FC236}">
                <a16:creationId xmlns:a16="http://schemas.microsoft.com/office/drawing/2014/main" id="{AB399A4A-E8C4-DFAF-D5C5-98C018AD1C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227" b="31350"/>
          <a:stretch/>
        </p:blipFill>
        <p:spPr bwMode="auto">
          <a:xfrm>
            <a:off x="9575649" y="574268"/>
            <a:ext cx="2075775" cy="38852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7E57C400-8672-09CE-EC7A-3FD19F67EC38}"/>
              </a:ext>
            </a:extLst>
          </p:cNvPr>
          <p:cNvPicPr>
            <a:picLocks noChangeAspect="1"/>
          </p:cNvPicPr>
          <p:nvPr/>
        </p:nvPicPr>
        <p:blipFill>
          <a:blip r:embed="rId5"/>
          <a:stretch>
            <a:fillRect/>
          </a:stretch>
        </p:blipFill>
        <p:spPr>
          <a:xfrm>
            <a:off x="9972699" y="2590890"/>
            <a:ext cx="692620" cy="639763"/>
          </a:xfrm>
          <a:prstGeom prst="rect">
            <a:avLst/>
          </a:prstGeom>
        </p:spPr>
      </p:pic>
      <p:pic>
        <p:nvPicPr>
          <p:cNvPr id="1032" name="Picture 8" descr="Docker full logo transparent PNG - StickPNG">
            <a:extLst>
              <a:ext uri="{FF2B5EF4-FFF2-40B4-BE49-F238E27FC236}">
                <a16:creationId xmlns:a16="http://schemas.microsoft.com/office/drawing/2014/main" id="{FA17C367-AD8B-ACD9-4B77-1DF5FCEB81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64102" y="1910913"/>
            <a:ext cx="692620" cy="692620"/>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3AE5AFA2-7658-A88C-CB63-45EC33CA390B}"/>
              </a:ext>
            </a:extLst>
          </p:cNvPr>
          <p:cNvSpPr/>
          <p:nvPr/>
        </p:nvSpPr>
        <p:spPr>
          <a:xfrm>
            <a:off x="9464100" y="1194831"/>
            <a:ext cx="2398566" cy="2094359"/>
          </a:xfrm>
          <a:prstGeom prst="rect">
            <a:avLst/>
          </a:prstGeom>
          <a:noFill/>
          <a:ln>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4" name="Picture 10" descr="MLflow | MLflow">
            <a:extLst>
              <a:ext uri="{FF2B5EF4-FFF2-40B4-BE49-F238E27FC236}">
                <a16:creationId xmlns:a16="http://schemas.microsoft.com/office/drawing/2014/main" id="{88BCB726-5448-C33F-AA1F-9798D487DC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24617" y="2049138"/>
            <a:ext cx="924432" cy="517682"/>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123">
            <a:extLst>
              <a:ext uri="{FF2B5EF4-FFF2-40B4-BE49-F238E27FC236}">
                <a16:creationId xmlns:a16="http://schemas.microsoft.com/office/drawing/2014/main" id="{ADEACEA9-CF43-2509-E548-81C8DC48C615}"/>
              </a:ext>
            </a:extLst>
          </p:cNvPr>
          <p:cNvSpPr txBox="1"/>
          <p:nvPr/>
        </p:nvSpPr>
        <p:spPr>
          <a:xfrm>
            <a:off x="5615607" y="2499153"/>
            <a:ext cx="1417228" cy="507831"/>
          </a:xfrm>
          <a:prstGeom prst="rect">
            <a:avLst/>
          </a:prstGeom>
          <a:solidFill>
            <a:srgbClr val="D9D9D9"/>
          </a:solidFill>
        </p:spPr>
        <p:txBody>
          <a:bodyPr wrap="square" rtlCol="0">
            <a:spAutoFit/>
          </a:bodyPr>
          <a:lstStyle/>
          <a:p>
            <a:r>
              <a:rPr lang="en-US" sz="900" dirty="0"/>
              <a:t>Model Tracking &amp; alerts.</a:t>
            </a:r>
          </a:p>
          <a:p>
            <a:r>
              <a:rPr lang="en-US" sz="900" dirty="0"/>
              <a:t>Model registry</a:t>
            </a:r>
          </a:p>
          <a:p>
            <a:r>
              <a:rPr lang="en-US" sz="900" dirty="0"/>
              <a:t>Scheduling</a:t>
            </a:r>
          </a:p>
        </p:txBody>
      </p:sp>
      <p:pic>
        <p:nvPicPr>
          <p:cNvPr id="1038" name="Picture 14" descr="Grafana - Wikipedia">
            <a:extLst>
              <a:ext uri="{FF2B5EF4-FFF2-40B4-BE49-F238E27FC236}">
                <a16:creationId xmlns:a16="http://schemas.microsoft.com/office/drawing/2014/main" id="{BC966B3A-BFFB-A4DD-4649-D6AA1132DB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50626" y="5068090"/>
            <a:ext cx="600177" cy="613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65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601E59-A21C-4B3E-AF42-72DA9E4F0D0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46F556-D78A-4BB4-8762-8AE907C1453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7457D1CC-9106-46C6-9061-606AB0041A75}"/>
              </a:ext>
            </a:extLst>
          </p:cNvPr>
          <p:cNvSpPr/>
          <p:nvPr/>
        </p:nvSpPr>
        <p:spPr>
          <a:xfrm>
            <a:off x="706650" y="262968"/>
            <a:ext cx="10216091" cy="1509373"/>
          </a:xfrm>
          <a:custGeom>
            <a:avLst/>
            <a:gdLst>
              <a:gd name="connsiteX0" fmla="*/ 0 w 10216091"/>
              <a:gd name="connsiteY0" fmla="*/ 40361 h 1509373"/>
              <a:gd name="connsiteX1" fmla="*/ 40361 w 10216091"/>
              <a:gd name="connsiteY1" fmla="*/ 0 h 1509373"/>
              <a:gd name="connsiteX2" fmla="*/ 614699 w 10216091"/>
              <a:gd name="connsiteY2" fmla="*/ 0 h 1509373"/>
              <a:gd name="connsiteX3" fmla="*/ 1087682 w 10216091"/>
              <a:gd name="connsiteY3" fmla="*/ 0 h 1509373"/>
              <a:gd name="connsiteX4" fmla="*/ 1662020 w 10216091"/>
              <a:gd name="connsiteY4" fmla="*/ 0 h 1509373"/>
              <a:gd name="connsiteX5" fmla="*/ 2033650 w 10216091"/>
              <a:gd name="connsiteY5" fmla="*/ 0 h 1509373"/>
              <a:gd name="connsiteX6" fmla="*/ 2912049 w 10216091"/>
              <a:gd name="connsiteY6" fmla="*/ 0 h 1509373"/>
              <a:gd name="connsiteX7" fmla="*/ 3385033 w 10216091"/>
              <a:gd name="connsiteY7" fmla="*/ 0 h 1509373"/>
              <a:gd name="connsiteX8" fmla="*/ 4060724 w 10216091"/>
              <a:gd name="connsiteY8" fmla="*/ 0 h 1509373"/>
              <a:gd name="connsiteX9" fmla="*/ 4939123 w 10216091"/>
              <a:gd name="connsiteY9" fmla="*/ 0 h 1509373"/>
              <a:gd name="connsiteX10" fmla="*/ 5310753 w 10216091"/>
              <a:gd name="connsiteY10" fmla="*/ 0 h 1509373"/>
              <a:gd name="connsiteX11" fmla="*/ 5783737 w 10216091"/>
              <a:gd name="connsiteY11" fmla="*/ 0 h 1509373"/>
              <a:gd name="connsiteX12" fmla="*/ 6459428 w 10216091"/>
              <a:gd name="connsiteY12" fmla="*/ 0 h 1509373"/>
              <a:gd name="connsiteX13" fmla="*/ 7337827 w 10216091"/>
              <a:gd name="connsiteY13" fmla="*/ 0 h 1509373"/>
              <a:gd name="connsiteX14" fmla="*/ 7810811 w 10216091"/>
              <a:gd name="connsiteY14" fmla="*/ 0 h 1509373"/>
              <a:gd name="connsiteX15" fmla="*/ 8283794 w 10216091"/>
              <a:gd name="connsiteY15" fmla="*/ 0 h 1509373"/>
              <a:gd name="connsiteX16" fmla="*/ 8858132 w 10216091"/>
              <a:gd name="connsiteY16" fmla="*/ 0 h 1509373"/>
              <a:gd name="connsiteX17" fmla="*/ 10175730 w 10216091"/>
              <a:gd name="connsiteY17" fmla="*/ 0 h 1509373"/>
              <a:gd name="connsiteX18" fmla="*/ 10216091 w 10216091"/>
              <a:gd name="connsiteY18" fmla="*/ 40361 h 1509373"/>
              <a:gd name="connsiteX19" fmla="*/ 10216091 w 10216091"/>
              <a:gd name="connsiteY19" fmla="*/ 473718 h 1509373"/>
              <a:gd name="connsiteX20" fmla="*/ 10216091 w 10216091"/>
              <a:gd name="connsiteY20" fmla="*/ 907076 h 1509373"/>
              <a:gd name="connsiteX21" fmla="*/ 10216091 w 10216091"/>
              <a:gd name="connsiteY21" fmla="*/ 1469012 h 1509373"/>
              <a:gd name="connsiteX22" fmla="*/ 10175730 w 10216091"/>
              <a:gd name="connsiteY22" fmla="*/ 1509373 h 1509373"/>
              <a:gd name="connsiteX23" fmla="*/ 9702746 w 10216091"/>
              <a:gd name="connsiteY23" fmla="*/ 1509373 h 1509373"/>
              <a:gd name="connsiteX24" fmla="*/ 9331116 w 10216091"/>
              <a:gd name="connsiteY24" fmla="*/ 1509373 h 1509373"/>
              <a:gd name="connsiteX25" fmla="*/ 8959486 w 10216091"/>
              <a:gd name="connsiteY25" fmla="*/ 1509373 h 1509373"/>
              <a:gd name="connsiteX26" fmla="*/ 8081087 w 10216091"/>
              <a:gd name="connsiteY26" fmla="*/ 1509373 h 1509373"/>
              <a:gd name="connsiteX27" fmla="*/ 7506749 w 10216091"/>
              <a:gd name="connsiteY27" fmla="*/ 1509373 h 1509373"/>
              <a:gd name="connsiteX28" fmla="*/ 6932412 w 10216091"/>
              <a:gd name="connsiteY28" fmla="*/ 1509373 h 1509373"/>
              <a:gd name="connsiteX29" fmla="*/ 6459428 w 10216091"/>
              <a:gd name="connsiteY29" fmla="*/ 1509373 h 1509373"/>
              <a:gd name="connsiteX30" fmla="*/ 5885090 w 10216091"/>
              <a:gd name="connsiteY30" fmla="*/ 1509373 h 1509373"/>
              <a:gd name="connsiteX31" fmla="*/ 5108046 w 10216091"/>
              <a:gd name="connsiteY31" fmla="*/ 1509373 h 1509373"/>
              <a:gd name="connsiteX32" fmla="*/ 4229647 w 10216091"/>
              <a:gd name="connsiteY32" fmla="*/ 1509373 h 1509373"/>
              <a:gd name="connsiteX33" fmla="*/ 3858017 w 10216091"/>
              <a:gd name="connsiteY33" fmla="*/ 1509373 h 1509373"/>
              <a:gd name="connsiteX34" fmla="*/ 3283679 w 10216091"/>
              <a:gd name="connsiteY34" fmla="*/ 1509373 h 1509373"/>
              <a:gd name="connsiteX35" fmla="*/ 2506634 w 10216091"/>
              <a:gd name="connsiteY35" fmla="*/ 1509373 h 1509373"/>
              <a:gd name="connsiteX36" fmla="*/ 1830943 w 10216091"/>
              <a:gd name="connsiteY36" fmla="*/ 1509373 h 1509373"/>
              <a:gd name="connsiteX37" fmla="*/ 952544 w 10216091"/>
              <a:gd name="connsiteY37" fmla="*/ 1509373 h 1509373"/>
              <a:gd name="connsiteX38" fmla="*/ 40361 w 10216091"/>
              <a:gd name="connsiteY38" fmla="*/ 1509373 h 1509373"/>
              <a:gd name="connsiteX39" fmla="*/ 0 w 10216091"/>
              <a:gd name="connsiteY39" fmla="*/ 1469012 h 1509373"/>
              <a:gd name="connsiteX40" fmla="*/ 0 w 10216091"/>
              <a:gd name="connsiteY40" fmla="*/ 1035655 h 1509373"/>
              <a:gd name="connsiteX41" fmla="*/ 0 w 10216091"/>
              <a:gd name="connsiteY41" fmla="*/ 573724 h 1509373"/>
              <a:gd name="connsiteX42" fmla="*/ 0 w 10216091"/>
              <a:gd name="connsiteY42" fmla="*/ 40361 h 150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216091" h="1509373" fill="none" extrusionOk="0">
                <a:moveTo>
                  <a:pt x="0" y="40361"/>
                </a:moveTo>
                <a:cubicBezTo>
                  <a:pt x="3615" y="15473"/>
                  <a:pt x="17484" y="-3766"/>
                  <a:pt x="40361" y="0"/>
                </a:cubicBezTo>
                <a:cubicBezTo>
                  <a:pt x="178783" y="11526"/>
                  <a:pt x="396467" y="4855"/>
                  <a:pt x="614699" y="0"/>
                </a:cubicBezTo>
                <a:cubicBezTo>
                  <a:pt x="832931" y="-4855"/>
                  <a:pt x="857702" y="-8289"/>
                  <a:pt x="1087682" y="0"/>
                </a:cubicBezTo>
                <a:cubicBezTo>
                  <a:pt x="1317662" y="8289"/>
                  <a:pt x="1471574" y="-7319"/>
                  <a:pt x="1662020" y="0"/>
                </a:cubicBezTo>
                <a:cubicBezTo>
                  <a:pt x="1852466" y="7319"/>
                  <a:pt x="1946757" y="-5030"/>
                  <a:pt x="2033650" y="0"/>
                </a:cubicBezTo>
                <a:cubicBezTo>
                  <a:pt x="2120543" y="5030"/>
                  <a:pt x="2722848" y="-37015"/>
                  <a:pt x="2912049" y="0"/>
                </a:cubicBezTo>
                <a:cubicBezTo>
                  <a:pt x="3101250" y="37015"/>
                  <a:pt x="3249117" y="13950"/>
                  <a:pt x="3385033" y="0"/>
                </a:cubicBezTo>
                <a:cubicBezTo>
                  <a:pt x="3520949" y="-13950"/>
                  <a:pt x="3790994" y="-31395"/>
                  <a:pt x="4060724" y="0"/>
                </a:cubicBezTo>
                <a:cubicBezTo>
                  <a:pt x="4330454" y="31395"/>
                  <a:pt x="4664315" y="-28913"/>
                  <a:pt x="4939123" y="0"/>
                </a:cubicBezTo>
                <a:cubicBezTo>
                  <a:pt x="5213931" y="28913"/>
                  <a:pt x="5222756" y="8835"/>
                  <a:pt x="5310753" y="0"/>
                </a:cubicBezTo>
                <a:cubicBezTo>
                  <a:pt x="5398750" y="-8835"/>
                  <a:pt x="5680612" y="17075"/>
                  <a:pt x="5783737" y="0"/>
                </a:cubicBezTo>
                <a:cubicBezTo>
                  <a:pt x="5886862" y="-17075"/>
                  <a:pt x="6312659" y="-24364"/>
                  <a:pt x="6459428" y="0"/>
                </a:cubicBezTo>
                <a:cubicBezTo>
                  <a:pt x="6606197" y="24364"/>
                  <a:pt x="6951615" y="17775"/>
                  <a:pt x="7337827" y="0"/>
                </a:cubicBezTo>
                <a:cubicBezTo>
                  <a:pt x="7724039" y="-17775"/>
                  <a:pt x="7625281" y="3873"/>
                  <a:pt x="7810811" y="0"/>
                </a:cubicBezTo>
                <a:cubicBezTo>
                  <a:pt x="7996341" y="-3873"/>
                  <a:pt x="8177611" y="9318"/>
                  <a:pt x="8283794" y="0"/>
                </a:cubicBezTo>
                <a:cubicBezTo>
                  <a:pt x="8389977" y="-9318"/>
                  <a:pt x="8606841" y="-10684"/>
                  <a:pt x="8858132" y="0"/>
                </a:cubicBezTo>
                <a:cubicBezTo>
                  <a:pt x="9109423" y="10684"/>
                  <a:pt x="9772857" y="8417"/>
                  <a:pt x="10175730" y="0"/>
                </a:cubicBezTo>
                <a:cubicBezTo>
                  <a:pt x="10199278" y="4866"/>
                  <a:pt x="10214721" y="16979"/>
                  <a:pt x="10216091" y="40361"/>
                </a:cubicBezTo>
                <a:cubicBezTo>
                  <a:pt x="10219724" y="135023"/>
                  <a:pt x="10235183" y="332800"/>
                  <a:pt x="10216091" y="473718"/>
                </a:cubicBezTo>
                <a:cubicBezTo>
                  <a:pt x="10196999" y="614636"/>
                  <a:pt x="10223053" y="724463"/>
                  <a:pt x="10216091" y="907076"/>
                </a:cubicBezTo>
                <a:cubicBezTo>
                  <a:pt x="10209129" y="1089689"/>
                  <a:pt x="10239490" y="1248766"/>
                  <a:pt x="10216091" y="1469012"/>
                </a:cubicBezTo>
                <a:cubicBezTo>
                  <a:pt x="10215223" y="1494783"/>
                  <a:pt x="10196788" y="1514234"/>
                  <a:pt x="10175730" y="1509373"/>
                </a:cubicBezTo>
                <a:cubicBezTo>
                  <a:pt x="10077370" y="1526594"/>
                  <a:pt x="9869827" y="1492519"/>
                  <a:pt x="9702746" y="1509373"/>
                </a:cubicBezTo>
                <a:cubicBezTo>
                  <a:pt x="9535665" y="1526227"/>
                  <a:pt x="9471949" y="1520467"/>
                  <a:pt x="9331116" y="1509373"/>
                </a:cubicBezTo>
                <a:cubicBezTo>
                  <a:pt x="9190283" y="1498280"/>
                  <a:pt x="9121359" y="1496426"/>
                  <a:pt x="8959486" y="1509373"/>
                </a:cubicBezTo>
                <a:cubicBezTo>
                  <a:pt x="8797613" y="1522321"/>
                  <a:pt x="8386361" y="1490170"/>
                  <a:pt x="8081087" y="1509373"/>
                </a:cubicBezTo>
                <a:cubicBezTo>
                  <a:pt x="7775813" y="1528576"/>
                  <a:pt x="7645628" y="1523666"/>
                  <a:pt x="7506749" y="1509373"/>
                </a:cubicBezTo>
                <a:cubicBezTo>
                  <a:pt x="7367870" y="1495080"/>
                  <a:pt x="7197594" y="1521518"/>
                  <a:pt x="6932412" y="1509373"/>
                </a:cubicBezTo>
                <a:cubicBezTo>
                  <a:pt x="6667230" y="1497228"/>
                  <a:pt x="6657204" y="1496357"/>
                  <a:pt x="6459428" y="1509373"/>
                </a:cubicBezTo>
                <a:cubicBezTo>
                  <a:pt x="6261652" y="1522389"/>
                  <a:pt x="6072808" y="1529949"/>
                  <a:pt x="5885090" y="1509373"/>
                </a:cubicBezTo>
                <a:cubicBezTo>
                  <a:pt x="5697372" y="1488797"/>
                  <a:pt x="5350621" y="1534473"/>
                  <a:pt x="5108046" y="1509373"/>
                </a:cubicBezTo>
                <a:cubicBezTo>
                  <a:pt x="4865471" y="1484273"/>
                  <a:pt x="4621780" y="1493154"/>
                  <a:pt x="4229647" y="1509373"/>
                </a:cubicBezTo>
                <a:cubicBezTo>
                  <a:pt x="3837514" y="1525592"/>
                  <a:pt x="3980402" y="1504629"/>
                  <a:pt x="3858017" y="1509373"/>
                </a:cubicBezTo>
                <a:cubicBezTo>
                  <a:pt x="3735632" y="1514118"/>
                  <a:pt x="3435733" y="1526885"/>
                  <a:pt x="3283679" y="1509373"/>
                </a:cubicBezTo>
                <a:cubicBezTo>
                  <a:pt x="3131625" y="1491861"/>
                  <a:pt x="2860827" y="1472854"/>
                  <a:pt x="2506634" y="1509373"/>
                </a:cubicBezTo>
                <a:cubicBezTo>
                  <a:pt x="2152442" y="1545892"/>
                  <a:pt x="1983911" y="1475604"/>
                  <a:pt x="1830943" y="1509373"/>
                </a:cubicBezTo>
                <a:cubicBezTo>
                  <a:pt x="1677975" y="1543142"/>
                  <a:pt x="1260856" y="1494055"/>
                  <a:pt x="952544" y="1509373"/>
                </a:cubicBezTo>
                <a:cubicBezTo>
                  <a:pt x="644232" y="1524691"/>
                  <a:pt x="290811" y="1548450"/>
                  <a:pt x="40361" y="1509373"/>
                </a:cubicBezTo>
                <a:cubicBezTo>
                  <a:pt x="16068" y="1509953"/>
                  <a:pt x="79" y="1488629"/>
                  <a:pt x="0" y="1469012"/>
                </a:cubicBezTo>
                <a:cubicBezTo>
                  <a:pt x="-20495" y="1360635"/>
                  <a:pt x="14771" y="1178180"/>
                  <a:pt x="0" y="1035655"/>
                </a:cubicBezTo>
                <a:cubicBezTo>
                  <a:pt x="-14771" y="893130"/>
                  <a:pt x="9308" y="782309"/>
                  <a:pt x="0" y="573724"/>
                </a:cubicBezTo>
                <a:cubicBezTo>
                  <a:pt x="-9308" y="365139"/>
                  <a:pt x="857" y="273250"/>
                  <a:pt x="0" y="40361"/>
                </a:cubicBezTo>
                <a:close/>
              </a:path>
              <a:path w="10216091" h="1509373" stroke="0" extrusionOk="0">
                <a:moveTo>
                  <a:pt x="0" y="40361"/>
                </a:moveTo>
                <a:cubicBezTo>
                  <a:pt x="-4157" y="19482"/>
                  <a:pt x="19779" y="-4036"/>
                  <a:pt x="40361" y="0"/>
                </a:cubicBezTo>
                <a:cubicBezTo>
                  <a:pt x="141266" y="-72"/>
                  <a:pt x="286389" y="-9562"/>
                  <a:pt x="411991" y="0"/>
                </a:cubicBezTo>
                <a:cubicBezTo>
                  <a:pt x="537593" y="9562"/>
                  <a:pt x="610164" y="15898"/>
                  <a:pt x="783621" y="0"/>
                </a:cubicBezTo>
                <a:cubicBezTo>
                  <a:pt x="957078" y="-15898"/>
                  <a:pt x="1345730" y="6144"/>
                  <a:pt x="1560666" y="0"/>
                </a:cubicBezTo>
                <a:cubicBezTo>
                  <a:pt x="1775602" y="-6144"/>
                  <a:pt x="2256501" y="34725"/>
                  <a:pt x="2439065" y="0"/>
                </a:cubicBezTo>
                <a:cubicBezTo>
                  <a:pt x="2621629" y="-34725"/>
                  <a:pt x="3018541" y="3659"/>
                  <a:pt x="3216110" y="0"/>
                </a:cubicBezTo>
                <a:cubicBezTo>
                  <a:pt x="3413680" y="-3659"/>
                  <a:pt x="3610855" y="-5144"/>
                  <a:pt x="3891801" y="0"/>
                </a:cubicBezTo>
                <a:cubicBezTo>
                  <a:pt x="4172747" y="5144"/>
                  <a:pt x="4417796" y="-23512"/>
                  <a:pt x="4770200" y="0"/>
                </a:cubicBezTo>
                <a:cubicBezTo>
                  <a:pt x="5122604" y="23512"/>
                  <a:pt x="5288504" y="-2808"/>
                  <a:pt x="5547245" y="0"/>
                </a:cubicBezTo>
                <a:cubicBezTo>
                  <a:pt x="5805986" y="2808"/>
                  <a:pt x="5989176" y="1543"/>
                  <a:pt x="6121582" y="0"/>
                </a:cubicBezTo>
                <a:cubicBezTo>
                  <a:pt x="6253988" y="-1543"/>
                  <a:pt x="6411230" y="11563"/>
                  <a:pt x="6695920" y="0"/>
                </a:cubicBezTo>
                <a:cubicBezTo>
                  <a:pt x="6980610" y="-11563"/>
                  <a:pt x="7305113" y="-10366"/>
                  <a:pt x="7574319" y="0"/>
                </a:cubicBezTo>
                <a:cubicBezTo>
                  <a:pt x="7843525" y="10366"/>
                  <a:pt x="8208750" y="27153"/>
                  <a:pt x="8452717" y="0"/>
                </a:cubicBezTo>
                <a:cubicBezTo>
                  <a:pt x="8696684" y="-27153"/>
                  <a:pt x="8977257" y="21328"/>
                  <a:pt x="9229762" y="0"/>
                </a:cubicBezTo>
                <a:cubicBezTo>
                  <a:pt x="9482268" y="-21328"/>
                  <a:pt x="9969662" y="-14070"/>
                  <a:pt x="10175730" y="0"/>
                </a:cubicBezTo>
                <a:cubicBezTo>
                  <a:pt x="10200258" y="1868"/>
                  <a:pt x="10218890" y="14987"/>
                  <a:pt x="10216091" y="40361"/>
                </a:cubicBezTo>
                <a:cubicBezTo>
                  <a:pt x="10207927" y="222233"/>
                  <a:pt x="10223735" y="292859"/>
                  <a:pt x="10216091" y="516578"/>
                </a:cubicBezTo>
                <a:cubicBezTo>
                  <a:pt x="10208447" y="740297"/>
                  <a:pt x="10200811" y="774553"/>
                  <a:pt x="10216091" y="978508"/>
                </a:cubicBezTo>
                <a:cubicBezTo>
                  <a:pt x="10231372" y="1182463"/>
                  <a:pt x="10225092" y="1267511"/>
                  <a:pt x="10216091" y="1469012"/>
                </a:cubicBezTo>
                <a:cubicBezTo>
                  <a:pt x="10214487" y="1490511"/>
                  <a:pt x="10202207" y="1506705"/>
                  <a:pt x="10175730" y="1509373"/>
                </a:cubicBezTo>
                <a:cubicBezTo>
                  <a:pt x="9987039" y="1533047"/>
                  <a:pt x="9742776" y="1493516"/>
                  <a:pt x="9601392" y="1509373"/>
                </a:cubicBezTo>
                <a:cubicBezTo>
                  <a:pt x="9460008" y="1525230"/>
                  <a:pt x="9249337" y="1521793"/>
                  <a:pt x="9128409" y="1509373"/>
                </a:cubicBezTo>
                <a:cubicBezTo>
                  <a:pt x="9007481" y="1496953"/>
                  <a:pt x="8845834" y="1520301"/>
                  <a:pt x="8756778" y="1509373"/>
                </a:cubicBezTo>
                <a:cubicBezTo>
                  <a:pt x="8667722" y="1498445"/>
                  <a:pt x="8356023" y="1527671"/>
                  <a:pt x="7979733" y="1509373"/>
                </a:cubicBezTo>
                <a:cubicBezTo>
                  <a:pt x="7603444" y="1491075"/>
                  <a:pt x="7391505" y="1489039"/>
                  <a:pt x="7202688" y="1509373"/>
                </a:cubicBezTo>
                <a:cubicBezTo>
                  <a:pt x="7013871" y="1529707"/>
                  <a:pt x="6973452" y="1521882"/>
                  <a:pt x="6831058" y="1509373"/>
                </a:cubicBezTo>
                <a:cubicBezTo>
                  <a:pt x="6688664" y="1496865"/>
                  <a:pt x="6459352" y="1476640"/>
                  <a:pt x="6155367" y="1509373"/>
                </a:cubicBezTo>
                <a:cubicBezTo>
                  <a:pt x="5851382" y="1542106"/>
                  <a:pt x="5900709" y="1510761"/>
                  <a:pt x="5783737" y="1509373"/>
                </a:cubicBezTo>
                <a:cubicBezTo>
                  <a:pt x="5666765" y="1507986"/>
                  <a:pt x="5476479" y="1496840"/>
                  <a:pt x="5209399" y="1509373"/>
                </a:cubicBezTo>
                <a:cubicBezTo>
                  <a:pt x="4942319" y="1521906"/>
                  <a:pt x="4747769" y="1544253"/>
                  <a:pt x="4331001" y="1509373"/>
                </a:cubicBezTo>
                <a:cubicBezTo>
                  <a:pt x="3914233" y="1474493"/>
                  <a:pt x="3717201" y="1495551"/>
                  <a:pt x="3452602" y="1509373"/>
                </a:cubicBezTo>
                <a:cubicBezTo>
                  <a:pt x="3188003" y="1523195"/>
                  <a:pt x="3057406" y="1537534"/>
                  <a:pt x="2675557" y="1509373"/>
                </a:cubicBezTo>
                <a:cubicBezTo>
                  <a:pt x="2293708" y="1481212"/>
                  <a:pt x="2101042" y="1493168"/>
                  <a:pt x="1898512" y="1509373"/>
                </a:cubicBezTo>
                <a:cubicBezTo>
                  <a:pt x="1695983" y="1525578"/>
                  <a:pt x="1699442" y="1495448"/>
                  <a:pt x="1526882" y="1509373"/>
                </a:cubicBezTo>
                <a:cubicBezTo>
                  <a:pt x="1354322" y="1523299"/>
                  <a:pt x="1141954" y="1492986"/>
                  <a:pt x="851191" y="1509373"/>
                </a:cubicBezTo>
                <a:cubicBezTo>
                  <a:pt x="560428" y="1525760"/>
                  <a:pt x="234849" y="1541760"/>
                  <a:pt x="40361" y="1509373"/>
                </a:cubicBezTo>
                <a:cubicBezTo>
                  <a:pt x="17888" y="1509915"/>
                  <a:pt x="-145" y="1489768"/>
                  <a:pt x="0" y="1469012"/>
                </a:cubicBezTo>
                <a:cubicBezTo>
                  <a:pt x="-20596" y="1358869"/>
                  <a:pt x="-6436" y="1113436"/>
                  <a:pt x="0" y="1007082"/>
                </a:cubicBezTo>
                <a:cubicBezTo>
                  <a:pt x="6436" y="900728"/>
                  <a:pt x="20354" y="648069"/>
                  <a:pt x="0" y="502291"/>
                </a:cubicBezTo>
                <a:cubicBezTo>
                  <a:pt x="-20354" y="356513"/>
                  <a:pt x="22430" y="208312"/>
                  <a:pt x="0" y="40361"/>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572659312">
                  <a:prstGeom prst="roundRect">
                    <a:avLst>
                      <a:gd name="adj" fmla="val 2674"/>
                    </a:avLst>
                  </a:prstGeom>
                  <ask:type>
                    <ask:lineSketchFreehan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6" name="Graphic 5" descr="Users">
            <a:extLst>
              <a:ext uri="{FF2B5EF4-FFF2-40B4-BE49-F238E27FC236}">
                <a16:creationId xmlns:a16="http://schemas.microsoft.com/office/drawing/2014/main" id="{CC8D0F8D-0CC8-4661-98C8-85DA24EF7F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81048" y="541187"/>
            <a:ext cx="914400" cy="914400"/>
          </a:xfrm>
          <a:prstGeom prst="rect">
            <a:avLst/>
          </a:prstGeom>
        </p:spPr>
      </p:pic>
      <p:sp>
        <p:nvSpPr>
          <p:cNvPr id="10" name="Rectangle: Rounded Corners 9">
            <a:extLst>
              <a:ext uri="{FF2B5EF4-FFF2-40B4-BE49-F238E27FC236}">
                <a16:creationId xmlns:a16="http://schemas.microsoft.com/office/drawing/2014/main" id="{278E4DA1-2F11-4F97-834B-4D591C8F646A}"/>
              </a:ext>
            </a:extLst>
          </p:cNvPr>
          <p:cNvSpPr/>
          <p:nvPr/>
        </p:nvSpPr>
        <p:spPr>
          <a:xfrm>
            <a:off x="706651" y="2269097"/>
            <a:ext cx="2120576" cy="698240"/>
          </a:xfrm>
          <a:solidFill>
            <a:schemeClr val="bg1">
              <a:lumMod val="9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4EF72201-9C97-4D36-B49E-4AC9B04ECF1D}"/>
              </a:ext>
            </a:extLst>
          </p:cNvPr>
          <p:cNvSpPr/>
          <p:nvPr/>
        </p:nvSpPr>
        <p:spPr>
          <a:xfrm>
            <a:off x="846477" y="2361720"/>
            <a:ext cx="2120576" cy="698240"/>
          </a:xfrm>
          <a:solidFill>
            <a:schemeClr val="bg1">
              <a:lumMod val="95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7500AD72-B715-4E46-A02C-60D5B801F0EF}"/>
              </a:ext>
            </a:extLst>
          </p:cNvPr>
          <p:cNvSpPr/>
          <p:nvPr/>
        </p:nvSpPr>
        <p:spPr>
          <a:xfrm flipH="1">
            <a:off x="3349288" y="3714516"/>
            <a:ext cx="1686390" cy="698241"/>
          </a:xfrm>
          <a:custGeom>
            <a:avLst/>
            <a:gdLst>
              <a:gd name="connsiteX0" fmla="*/ 0 w 1686390"/>
              <a:gd name="connsiteY0" fmla="*/ 18671 h 698241"/>
              <a:gd name="connsiteX1" fmla="*/ 18671 w 1686390"/>
              <a:gd name="connsiteY1" fmla="*/ 0 h 698241"/>
              <a:gd name="connsiteX2" fmla="*/ 1667719 w 1686390"/>
              <a:gd name="connsiteY2" fmla="*/ 0 h 698241"/>
              <a:gd name="connsiteX3" fmla="*/ 1686390 w 1686390"/>
              <a:gd name="connsiteY3" fmla="*/ 18671 h 698241"/>
              <a:gd name="connsiteX4" fmla="*/ 1686390 w 1686390"/>
              <a:gd name="connsiteY4" fmla="*/ 679570 h 698241"/>
              <a:gd name="connsiteX5" fmla="*/ 1667719 w 1686390"/>
              <a:gd name="connsiteY5" fmla="*/ 698241 h 698241"/>
              <a:gd name="connsiteX6" fmla="*/ 18671 w 1686390"/>
              <a:gd name="connsiteY6" fmla="*/ 698241 h 698241"/>
              <a:gd name="connsiteX7" fmla="*/ 0 w 1686390"/>
              <a:gd name="connsiteY7" fmla="*/ 679570 h 698241"/>
              <a:gd name="connsiteX8" fmla="*/ 0 w 1686390"/>
              <a:gd name="connsiteY8" fmla="*/ 18671 h 69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98241" fill="none" extrusionOk="0">
                <a:moveTo>
                  <a:pt x="0" y="18671"/>
                </a:moveTo>
                <a:cubicBezTo>
                  <a:pt x="1314" y="9039"/>
                  <a:pt x="9969" y="137"/>
                  <a:pt x="18671" y="0"/>
                </a:cubicBezTo>
                <a:cubicBezTo>
                  <a:pt x="633836" y="93468"/>
                  <a:pt x="1399995" y="-67478"/>
                  <a:pt x="1667719" y="0"/>
                </a:cubicBezTo>
                <a:cubicBezTo>
                  <a:pt x="1677944" y="-273"/>
                  <a:pt x="1687891" y="7476"/>
                  <a:pt x="1686390" y="18671"/>
                </a:cubicBezTo>
                <a:cubicBezTo>
                  <a:pt x="1653175" y="195542"/>
                  <a:pt x="1671427" y="527815"/>
                  <a:pt x="1686390" y="679570"/>
                </a:cubicBezTo>
                <a:cubicBezTo>
                  <a:pt x="1688389" y="689722"/>
                  <a:pt x="1678356" y="699834"/>
                  <a:pt x="1667719" y="698241"/>
                </a:cubicBezTo>
                <a:cubicBezTo>
                  <a:pt x="885616" y="627547"/>
                  <a:pt x="792662" y="673515"/>
                  <a:pt x="18671" y="698241"/>
                </a:cubicBezTo>
                <a:cubicBezTo>
                  <a:pt x="7589" y="699836"/>
                  <a:pt x="116" y="691823"/>
                  <a:pt x="0" y="679570"/>
                </a:cubicBezTo>
                <a:cubicBezTo>
                  <a:pt x="6681" y="452927"/>
                  <a:pt x="-33732" y="251979"/>
                  <a:pt x="0" y="18671"/>
                </a:cubicBezTo>
                <a:close/>
              </a:path>
              <a:path w="1686390" h="698241" stroke="0" extrusionOk="0">
                <a:moveTo>
                  <a:pt x="0" y="18671"/>
                </a:moveTo>
                <a:cubicBezTo>
                  <a:pt x="334" y="6389"/>
                  <a:pt x="8584" y="218"/>
                  <a:pt x="18671" y="0"/>
                </a:cubicBezTo>
                <a:cubicBezTo>
                  <a:pt x="186107" y="-95216"/>
                  <a:pt x="1350880" y="-75982"/>
                  <a:pt x="1667719" y="0"/>
                </a:cubicBezTo>
                <a:cubicBezTo>
                  <a:pt x="1677637" y="-1073"/>
                  <a:pt x="1686535" y="8408"/>
                  <a:pt x="1686390" y="18671"/>
                </a:cubicBezTo>
                <a:cubicBezTo>
                  <a:pt x="1667516" y="146961"/>
                  <a:pt x="1735949" y="508986"/>
                  <a:pt x="1686390" y="679570"/>
                </a:cubicBezTo>
                <a:cubicBezTo>
                  <a:pt x="1686828" y="688320"/>
                  <a:pt x="1677936" y="698011"/>
                  <a:pt x="1667719" y="698241"/>
                </a:cubicBezTo>
                <a:cubicBezTo>
                  <a:pt x="1246674" y="644330"/>
                  <a:pt x="546425" y="717505"/>
                  <a:pt x="18671" y="698241"/>
                </a:cubicBezTo>
                <a:cubicBezTo>
                  <a:pt x="9876" y="698489"/>
                  <a:pt x="354" y="689959"/>
                  <a:pt x="0" y="679570"/>
                </a:cubicBezTo>
                <a:cubicBezTo>
                  <a:pt x="-17920" y="588935"/>
                  <a:pt x="41704" y="344174"/>
                  <a:pt x="0" y="18671"/>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CF0815B8-8EF3-4A57-ADEE-26D010261966}"/>
              </a:ext>
            </a:extLst>
          </p:cNvPr>
          <p:cNvSpPr txBox="1"/>
          <p:nvPr/>
        </p:nvSpPr>
        <p:spPr>
          <a:xfrm>
            <a:off x="1422177" y="2488891"/>
            <a:ext cx="15448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ode Repo</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89CEE07A-7E85-4D2C-BC9F-C55A83E1D005}"/>
              </a:ext>
            </a:extLst>
          </p:cNvPr>
          <p:cNvSpPr/>
          <p:nvPr/>
        </p:nvSpPr>
        <p:spPr>
          <a:xfrm>
            <a:off x="1853790" y="4713208"/>
            <a:ext cx="1370004" cy="694038"/>
          </a:xfrm>
          <a:custGeom>
            <a:avLst/>
            <a:gdLst>
              <a:gd name="connsiteX0" fmla="*/ 0 w 1370004"/>
              <a:gd name="connsiteY0" fmla="*/ 18559 h 694038"/>
              <a:gd name="connsiteX1" fmla="*/ 18559 w 1370004"/>
              <a:gd name="connsiteY1" fmla="*/ 0 h 694038"/>
              <a:gd name="connsiteX2" fmla="*/ 1351445 w 1370004"/>
              <a:gd name="connsiteY2" fmla="*/ 0 h 694038"/>
              <a:gd name="connsiteX3" fmla="*/ 1370004 w 1370004"/>
              <a:gd name="connsiteY3" fmla="*/ 18559 h 694038"/>
              <a:gd name="connsiteX4" fmla="*/ 1370004 w 1370004"/>
              <a:gd name="connsiteY4" fmla="*/ 675479 h 694038"/>
              <a:gd name="connsiteX5" fmla="*/ 1351445 w 1370004"/>
              <a:gd name="connsiteY5" fmla="*/ 694038 h 694038"/>
              <a:gd name="connsiteX6" fmla="*/ 18559 w 1370004"/>
              <a:gd name="connsiteY6" fmla="*/ 694038 h 694038"/>
              <a:gd name="connsiteX7" fmla="*/ 0 w 1370004"/>
              <a:gd name="connsiteY7" fmla="*/ 675479 h 694038"/>
              <a:gd name="connsiteX8" fmla="*/ 0 w 1370004"/>
              <a:gd name="connsiteY8" fmla="*/ 18559 h 69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0004" h="694038" fill="none" extrusionOk="0">
                <a:moveTo>
                  <a:pt x="0" y="18559"/>
                </a:moveTo>
                <a:cubicBezTo>
                  <a:pt x="-1356" y="8425"/>
                  <a:pt x="9699" y="649"/>
                  <a:pt x="18559" y="0"/>
                </a:cubicBezTo>
                <a:cubicBezTo>
                  <a:pt x="242336" y="40505"/>
                  <a:pt x="1139499" y="-39924"/>
                  <a:pt x="1351445" y="0"/>
                </a:cubicBezTo>
                <a:cubicBezTo>
                  <a:pt x="1362240" y="-631"/>
                  <a:pt x="1371391" y="7953"/>
                  <a:pt x="1370004" y="18559"/>
                </a:cubicBezTo>
                <a:cubicBezTo>
                  <a:pt x="1392356" y="175156"/>
                  <a:pt x="1344433" y="581511"/>
                  <a:pt x="1370004" y="675479"/>
                </a:cubicBezTo>
                <a:cubicBezTo>
                  <a:pt x="1369307" y="685704"/>
                  <a:pt x="1360915" y="694525"/>
                  <a:pt x="1351445" y="694038"/>
                </a:cubicBezTo>
                <a:cubicBezTo>
                  <a:pt x="701697" y="775449"/>
                  <a:pt x="581902" y="713654"/>
                  <a:pt x="18559" y="694038"/>
                </a:cubicBezTo>
                <a:cubicBezTo>
                  <a:pt x="7339" y="693702"/>
                  <a:pt x="1194" y="686466"/>
                  <a:pt x="0" y="675479"/>
                </a:cubicBezTo>
                <a:cubicBezTo>
                  <a:pt x="-43536" y="490100"/>
                  <a:pt x="-52567" y="235239"/>
                  <a:pt x="0" y="18559"/>
                </a:cubicBezTo>
                <a:close/>
              </a:path>
              <a:path w="1370004" h="694038" stroke="0" extrusionOk="0">
                <a:moveTo>
                  <a:pt x="0" y="18559"/>
                </a:moveTo>
                <a:cubicBezTo>
                  <a:pt x="1234" y="9736"/>
                  <a:pt x="7074" y="-537"/>
                  <a:pt x="18559" y="0"/>
                </a:cubicBezTo>
                <a:cubicBezTo>
                  <a:pt x="536466" y="-97460"/>
                  <a:pt x="1122941" y="19608"/>
                  <a:pt x="1351445" y="0"/>
                </a:cubicBezTo>
                <a:cubicBezTo>
                  <a:pt x="1361478" y="777"/>
                  <a:pt x="1370221" y="10127"/>
                  <a:pt x="1370004" y="18559"/>
                </a:cubicBezTo>
                <a:cubicBezTo>
                  <a:pt x="1335044" y="280867"/>
                  <a:pt x="1318358" y="532776"/>
                  <a:pt x="1370004" y="675479"/>
                </a:cubicBezTo>
                <a:cubicBezTo>
                  <a:pt x="1370110" y="685575"/>
                  <a:pt x="1360800" y="693979"/>
                  <a:pt x="1351445" y="694038"/>
                </a:cubicBezTo>
                <a:cubicBezTo>
                  <a:pt x="865063" y="751577"/>
                  <a:pt x="607007" y="685319"/>
                  <a:pt x="18559" y="694038"/>
                </a:cubicBezTo>
                <a:cubicBezTo>
                  <a:pt x="6852" y="693580"/>
                  <a:pt x="-1210" y="685732"/>
                  <a:pt x="0" y="675479"/>
                </a:cubicBezTo>
                <a:cubicBezTo>
                  <a:pt x="47538" y="390071"/>
                  <a:pt x="-1446" y="172615"/>
                  <a:pt x="0" y="18559"/>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Model Training Services</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17" name="Picture 8" descr="Apache Airflow - Wikipedia">
            <a:extLst>
              <a:ext uri="{FF2B5EF4-FFF2-40B4-BE49-F238E27FC236}">
                <a16:creationId xmlns:a16="http://schemas.microsoft.com/office/drawing/2014/main" id="{BA188259-F94E-4791-AB02-BA29DC4886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9284" y="3791176"/>
            <a:ext cx="1370004" cy="52927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010D84F0-2165-456C-AE56-44967FD7D4DB}"/>
              </a:ext>
            </a:extLst>
          </p:cNvPr>
          <p:cNvSpPr/>
          <p:nvPr/>
        </p:nvSpPr>
        <p:spPr>
          <a:xfrm flipH="1">
            <a:off x="5600968" y="4745698"/>
            <a:ext cx="1686390" cy="644115"/>
          </a:xfrm>
          <a:custGeom>
            <a:avLst/>
            <a:gdLst>
              <a:gd name="connsiteX0" fmla="*/ 0 w 1686390"/>
              <a:gd name="connsiteY0" fmla="*/ 17224 h 644115"/>
              <a:gd name="connsiteX1" fmla="*/ 17224 w 1686390"/>
              <a:gd name="connsiteY1" fmla="*/ 0 h 644115"/>
              <a:gd name="connsiteX2" fmla="*/ 1669166 w 1686390"/>
              <a:gd name="connsiteY2" fmla="*/ 0 h 644115"/>
              <a:gd name="connsiteX3" fmla="*/ 1686390 w 1686390"/>
              <a:gd name="connsiteY3" fmla="*/ 17224 h 644115"/>
              <a:gd name="connsiteX4" fmla="*/ 1686390 w 1686390"/>
              <a:gd name="connsiteY4" fmla="*/ 626891 h 644115"/>
              <a:gd name="connsiteX5" fmla="*/ 1669166 w 1686390"/>
              <a:gd name="connsiteY5" fmla="*/ 644115 h 644115"/>
              <a:gd name="connsiteX6" fmla="*/ 17224 w 1686390"/>
              <a:gd name="connsiteY6" fmla="*/ 644115 h 644115"/>
              <a:gd name="connsiteX7" fmla="*/ 0 w 1686390"/>
              <a:gd name="connsiteY7" fmla="*/ 626891 h 644115"/>
              <a:gd name="connsiteX8" fmla="*/ 0 w 1686390"/>
              <a:gd name="connsiteY8" fmla="*/ 17224 h 6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44115" fill="none" extrusionOk="0">
                <a:moveTo>
                  <a:pt x="0" y="17224"/>
                </a:moveTo>
                <a:cubicBezTo>
                  <a:pt x="1356" y="8413"/>
                  <a:pt x="8335" y="53"/>
                  <a:pt x="17224" y="0"/>
                </a:cubicBezTo>
                <a:cubicBezTo>
                  <a:pt x="421360" y="-140038"/>
                  <a:pt x="989146" y="129901"/>
                  <a:pt x="1669166" y="0"/>
                </a:cubicBezTo>
                <a:cubicBezTo>
                  <a:pt x="1678516" y="-511"/>
                  <a:pt x="1687437" y="7095"/>
                  <a:pt x="1686390" y="17224"/>
                </a:cubicBezTo>
                <a:cubicBezTo>
                  <a:pt x="1710610" y="286466"/>
                  <a:pt x="1666865" y="538258"/>
                  <a:pt x="1686390" y="626891"/>
                </a:cubicBezTo>
                <a:cubicBezTo>
                  <a:pt x="1687941" y="636280"/>
                  <a:pt x="1678721" y="644320"/>
                  <a:pt x="1669166" y="644115"/>
                </a:cubicBezTo>
                <a:cubicBezTo>
                  <a:pt x="1200695" y="658465"/>
                  <a:pt x="468548" y="671753"/>
                  <a:pt x="17224" y="644115"/>
                </a:cubicBezTo>
                <a:cubicBezTo>
                  <a:pt x="7542" y="644464"/>
                  <a:pt x="60" y="637411"/>
                  <a:pt x="0" y="626891"/>
                </a:cubicBezTo>
                <a:cubicBezTo>
                  <a:pt x="7619" y="383807"/>
                  <a:pt x="21136" y="258805"/>
                  <a:pt x="0" y="17224"/>
                </a:cubicBezTo>
                <a:close/>
              </a:path>
              <a:path w="1686390" h="644115" stroke="0" extrusionOk="0">
                <a:moveTo>
                  <a:pt x="0" y="17224"/>
                </a:moveTo>
                <a:cubicBezTo>
                  <a:pt x="316" y="5847"/>
                  <a:pt x="8323" y="596"/>
                  <a:pt x="17224" y="0"/>
                </a:cubicBezTo>
                <a:cubicBezTo>
                  <a:pt x="828038" y="-16787"/>
                  <a:pt x="1115774" y="12154"/>
                  <a:pt x="1669166" y="0"/>
                </a:cubicBezTo>
                <a:cubicBezTo>
                  <a:pt x="1678086" y="-1616"/>
                  <a:pt x="1687341" y="8033"/>
                  <a:pt x="1686390" y="17224"/>
                </a:cubicBezTo>
                <a:cubicBezTo>
                  <a:pt x="1646872" y="217122"/>
                  <a:pt x="1731394" y="539685"/>
                  <a:pt x="1686390" y="626891"/>
                </a:cubicBezTo>
                <a:cubicBezTo>
                  <a:pt x="1686475" y="636102"/>
                  <a:pt x="1678471" y="643611"/>
                  <a:pt x="1669166" y="644115"/>
                </a:cubicBezTo>
                <a:cubicBezTo>
                  <a:pt x="1221532" y="719867"/>
                  <a:pt x="387213" y="611314"/>
                  <a:pt x="17224" y="644115"/>
                </a:cubicBezTo>
                <a:cubicBezTo>
                  <a:pt x="8657" y="644270"/>
                  <a:pt x="939" y="636608"/>
                  <a:pt x="0" y="626891"/>
                </a:cubicBezTo>
                <a:cubicBezTo>
                  <a:pt x="20006" y="562471"/>
                  <a:pt x="-22603" y="140039"/>
                  <a:pt x="0" y="1722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19" name="Picture 12" descr="Introducing MLflow: an Open Source Platform for the Complete Machine  Learning Lifecycle">
            <a:extLst>
              <a:ext uri="{FF2B5EF4-FFF2-40B4-BE49-F238E27FC236}">
                <a16:creationId xmlns:a16="http://schemas.microsoft.com/office/drawing/2014/main" id="{4A7C7958-3DDB-4D53-A212-1E9BAA1FC70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539" r="27841" b="65037"/>
          <a:stretch/>
        </p:blipFill>
        <p:spPr bwMode="auto">
          <a:xfrm>
            <a:off x="5923929" y="4861720"/>
            <a:ext cx="1145893" cy="429343"/>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F0F27FB9-3583-49AF-A4D2-D1BD854E64C5}"/>
              </a:ext>
            </a:extLst>
          </p:cNvPr>
          <p:cNvCxnSpPr>
            <a:cxnSpLocks/>
            <a:endCxn id="10" idx="0"/>
          </p:cNvCxnSpPr>
          <p:nvPr/>
        </p:nvCxnSpPr>
        <p:spPr>
          <a:xfrm>
            <a:off x="1766939" y="1797513"/>
            <a:ext cx="0" cy="47158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D2DFAF0A-9433-4174-9795-1581EA7DCE74}"/>
              </a:ext>
            </a:extLst>
          </p:cNvPr>
          <p:cNvSpPr/>
          <p:nvPr/>
        </p:nvSpPr>
        <p:spPr>
          <a:xfrm>
            <a:off x="10009605" y="4836201"/>
            <a:ext cx="1269195" cy="774883"/>
          </a:xfrm>
          <a:custGeom>
            <a:avLst/>
            <a:gdLst>
              <a:gd name="connsiteX0" fmla="*/ 0 w 1269195"/>
              <a:gd name="connsiteY0" fmla="*/ 20720 h 774883"/>
              <a:gd name="connsiteX1" fmla="*/ 20720 w 1269195"/>
              <a:gd name="connsiteY1" fmla="*/ 0 h 774883"/>
              <a:gd name="connsiteX2" fmla="*/ 1248475 w 1269195"/>
              <a:gd name="connsiteY2" fmla="*/ 0 h 774883"/>
              <a:gd name="connsiteX3" fmla="*/ 1269195 w 1269195"/>
              <a:gd name="connsiteY3" fmla="*/ 20720 h 774883"/>
              <a:gd name="connsiteX4" fmla="*/ 1269195 w 1269195"/>
              <a:gd name="connsiteY4" fmla="*/ 754163 h 774883"/>
              <a:gd name="connsiteX5" fmla="*/ 1248475 w 1269195"/>
              <a:gd name="connsiteY5" fmla="*/ 774883 h 774883"/>
              <a:gd name="connsiteX6" fmla="*/ 20720 w 1269195"/>
              <a:gd name="connsiteY6" fmla="*/ 774883 h 774883"/>
              <a:gd name="connsiteX7" fmla="*/ 0 w 1269195"/>
              <a:gd name="connsiteY7" fmla="*/ 754163 h 774883"/>
              <a:gd name="connsiteX8" fmla="*/ 0 w 1269195"/>
              <a:gd name="connsiteY8" fmla="*/ 20720 h 77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9195" h="774883" fill="none" extrusionOk="0">
                <a:moveTo>
                  <a:pt x="0" y="20720"/>
                </a:moveTo>
                <a:cubicBezTo>
                  <a:pt x="1344" y="9973"/>
                  <a:pt x="9509" y="20"/>
                  <a:pt x="20720" y="0"/>
                </a:cubicBezTo>
                <a:cubicBezTo>
                  <a:pt x="225797" y="65049"/>
                  <a:pt x="767587" y="96571"/>
                  <a:pt x="1248475" y="0"/>
                </a:cubicBezTo>
                <a:cubicBezTo>
                  <a:pt x="1259662" y="-800"/>
                  <a:pt x="1271026" y="8200"/>
                  <a:pt x="1269195" y="20720"/>
                </a:cubicBezTo>
                <a:cubicBezTo>
                  <a:pt x="1246582" y="205700"/>
                  <a:pt x="1213123" y="504802"/>
                  <a:pt x="1269195" y="754163"/>
                </a:cubicBezTo>
                <a:cubicBezTo>
                  <a:pt x="1271132" y="765451"/>
                  <a:pt x="1260035" y="775456"/>
                  <a:pt x="1248475" y="774883"/>
                </a:cubicBezTo>
                <a:cubicBezTo>
                  <a:pt x="1036889" y="687341"/>
                  <a:pt x="339356" y="735217"/>
                  <a:pt x="20720" y="774883"/>
                </a:cubicBezTo>
                <a:cubicBezTo>
                  <a:pt x="8699" y="776079"/>
                  <a:pt x="74" y="766845"/>
                  <a:pt x="0" y="754163"/>
                </a:cubicBezTo>
                <a:cubicBezTo>
                  <a:pt x="9234" y="475954"/>
                  <a:pt x="31780" y="304034"/>
                  <a:pt x="0" y="20720"/>
                </a:cubicBezTo>
                <a:close/>
              </a:path>
              <a:path w="1269195" h="774883" stroke="0" extrusionOk="0">
                <a:moveTo>
                  <a:pt x="0" y="20720"/>
                </a:moveTo>
                <a:cubicBezTo>
                  <a:pt x="249" y="7807"/>
                  <a:pt x="10816" y="1497"/>
                  <a:pt x="20720" y="0"/>
                </a:cubicBezTo>
                <a:cubicBezTo>
                  <a:pt x="310788" y="-36993"/>
                  <a:pt x="1099450" y="58987"/>
                  <a:pt x="1248475" y="0"/>
                </a:cubicBezTo>
                <a:cubicBezTo>
                  <a:pt x="1259272" y="-1760"/>
                  <a:pt x="1269410" y="9350"/>
                  <a:pt x="1269195" y="20720"/>
                </a:cubicBezTo>
                <a:cubicBezTo>
                  <a:pt x="1329562" y="321864"/>
                  <a:pt x="1305581" y="525239"/>
                  <a:pt x="1269195" y="754163"/>
                </a:cubicBezTo>
                <a:cubicBezTo>
                  <a:pt x="1269759" y="763598"/>
                  <a:pt x="1259749" y="774473"/>
                  <a:pt x="1248475" y="774883"/>
                </a:cubicBezTo>
                <a:cubicBezTo>
                  <a:pt x="724113" y="875371"/>
                  <a:pt x="451709" y="724586"/>
                  <a:pt x="20720" y="774883"/>
                </a:cubicBezTo>
                <a:cubicBezTo>
                  <a:pt x="9855" y="774977"/>
                  <a:pt x="1710" y="765977"/>
                  <a:pt x="0" y="754163"/>
                </a:cubicBezTo>
                <a:cubicBezTo>
                  <a:pt x="55361" y="543775"/>
                  <a:pt x="-36026" y="355194"/>
                  <a:pt x="0" y="20720"/>
                </a:cubicBezTo>
                <a:close/>
              </a:path>
            </a:pathLst>
          </a:custGeom>
          <a:solidFill>
            <a:schemeClr val="accent2">
              <a:lumMod val="20000"/>
              <a:lumOff val="80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cxnSp>
        <p:nvCxnSpPr>
          <p:cNvPr id="27" name="Straight Arrow Connector 26">
            <a:extLst>
              <a:ext uri="{FF2B5EF4-FFF2-40B4-BE49-F238E27FC236}">
                <a16:creationId xmlns:a16="http://schemas.microsoft.com/office/drawing/2014/main" id="{87AE0643-2E54-41E5-ABDA-66AC95226E1C}"/>
              </a:ext>
            </a:extLst>
          </p:cNvPr>
          <p:cNvCxnSpPr>
            <a:cxnSpLocks/>
            <a:stCxn id="12" idx="2"/>
            <a:endCxn id="16" idx="0"/>
          </p:cNvCxnSpPr>
          <p:nvPr/>
        </p:nvCxnSpPr>
        <p:spPr>
          <a:xfrm flipH="1">
            <a:off x="2538792" y="4412757"/>
            <a:ext cx="1653691" cy="300451"/>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40CE40A-DFEC-4003-923F-2528E23158F2}"/>
              </a:ext>
            </a:extLst>
          </p:cNvPr>
          <p:cNvCxnSpPr>
            <a:cxnSpLocks/>
            <a:stCxn id="16" idx="3"/>
            <a:endCxn id="18" idx="3"/>
          </p:cNvCxnSpPr>
          <p:nvPr/>
        </p:nvCxnSpPr>
        <p:spPr>
          <a:xfrm>
            <a:off x="3223794" y="5060227"/>
            <a:ext cx="2377174" cy="752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CE220120-09C1-4E13-A3F2-0C0CBB7C966A}"/>
              </a:ext>
            </a:extLst>
          </p:cNvPr>
          <p:cNvSpPr/>
          <p:nvPr/>
        </p:nvSpPr>
        <p:spPr>
          <a:xfrm flipH="1">
            <a:off x="7432812" y="6077360"/>
            <a:ext cx="1686390" cy="644115"/>
          </a:xfrm>
          <a:custGeom>
            <a:avLst/>
            <a:gdLst>
              <a:gd name="connsiteX0" fmla="*/ 0 w 1686390"/>
              <a:gd name="connsiteY0" fmla="*/ 17224 h 644115"/>
              <a:gd name="connsiteX1" fmla="*/ 17224 w 1686390"/>
              <a:gd name="connsiteY1" fmla="*/ 0 h 644115"/>
              <a:gd name="connsiteX2" fmla="*/ 1669166 w 1686390"/>
              <a:gd name="connsiteY2" fmla="*/ 0 h 644115"/>
              <a:gd name="connsiteX3" fmla="*/ 1686390 w 1686390"/>
              <a:gd name="connsiteY3" fmla="*/ 17224 h 644115"/>
              <a:gd name="connsiteX4" fmla="*/ 1686390 w 1686390"/>
              <a:gd name="connsiteY4" fmla="*/ 626891 h 644115"/>
              <a:gd name="connsiteX5" fmla="*/ 1669166 w 1686390"/>
              <a:gd name="connsiteY5" fmla="*/ 644115 h 644115"/>
              <a:gd name="connsiteX6" fmla="*/ 17224 w 1686390"/>
              <a:gd name="connsiteY6" fmla="*/ 644115 h 644115"/>
              <a:gd name="connsiteX7" fmla="*/ 0 w 1686390"/>
              <a:gd name="connsiteY7" fmla="*/ 626891 h 644115"/>
              <a:gd name="connsiteX8" fmla="*/ 0 w 1686390"/>
              <a:gd name="connsiteY8" fmla="*/ 17224 h 64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6390" h="644115" fill="none" extrusionOk="0">
                <a:moveTo>
                  <a:pt x="0" y="17224"/>
                </a:moveTo>
                <a:cubicBezTo>
                  <a:pt x="1356" y="8413"/>
                  <a:pt x="8335" y="53"/>
                  <a:pt x="17224" y="0"/>
                </a:cubicBezTo>
                <a:cubicBezTo>
                  <a:pt x="421360" y="-140038"/>
                  <a:pt x="989146" y="129901"/>
                  <a:pt x="1669166" y="0"/>
                </a:cubicBezTo>
                <a:cubicBezTo>
                  <a:pt x="1678516" y="-511"/>
                  <a:pt x="1687437" y="7095"/>
                  <a:pt x="1686390" y="17224"/>
                </a:cubicBezTo>
                <a:cubicBezTo>
                  <a:pt x="1710610" y="286466"/>
                  <a:pt x="1666865" y="538258"/>
                  <a:pt x="1686390" y="626891"/>
                </a:cubicBezTo>
                <a:cubicBezTo>
                  <a:pt x="1687941" y="636280"/>
                  <a:pt x="1678721" y="644320"/>
                  <a:pt x="1669166" y="644115"/>
                </a:cubicBezTo>
                <a:cubicBezTo>
                  <a:pt x="1200695" y="658465"/>
                  <a:pt x="468548" y="671753"/>
                  <a:pt x="17224" y="644115"/>
                </a:cubicBezTo>
                <a:cubicBezTo>
                  <a:pt x="7542" y="644464"/>
                  <a:pt x="60" y="637411"/>
                  <a:pt x="0" y="626891"/>
                </a:cubicBezTo>
                <a:cubicBezTo>
                  <a:pt x="7619" y="383807"/>
                  <a:pt x="21136" y="258805"/>
                  <a:pt x="0" y="17224"/>
                </a:cubicBezTo>
                <a:close/>
              </a:path>
              <a:path w="1686390" h="644115" stroke="0" extrusionOk="0">
                <a:moveTo>
                  <a:pt x="0" y="17224"/>
                </a:moveTo>
                <a:cubicBezTo>
                  <a:pt x="316" y="5847"/>
                  <a:pt x="8323" y="596"/>
                  <a:pt x="17224" y="0"/>
                </a:cubicBezTo>
                <a:cubicBezTo>
                  <a:pt x="828038" y="-16787"/>
                  <a:pt x="1115774" y="12154"/>
                  <a:pt x="1669166" y="0"/>
                </a:cubicBezTo>
                <a:cubicBezTo>
                  <a:pt x="1678086" y="-1616"/>
                  <a:pt x="1687341" y="8033"/>
                  <a:pt x="1686390" y="17224"/>
                </a:cubicBezTo>
                <a:cubicBezTo>
                  <a:pt x="1646872" y="217122"/>
                  <a:pt x="1731394" y="539685"/>
                  <a:pt x="1686390" y="626891"/>
                </a:cubicBezTo>
                <a:cubicBezTo>
                  <a:pt x="1686475" y="636102"/>
                  <a:pt x="1678471" y="643611"/>
                  <a:pt x="1669166" y="644115"/>
                </a:cubicBezTo>
                <a:cubicBezTo>
                  <a:pt x="1221532" y="719867"/>
                  <a:pt x="387213" y="611314"/>
                  <a:pt x="17224" y="644115"/>
                </a:cubicBezTo>
                <a:cubicBezTo>
                  <a:pt x="8657" y="644270"/>
                  <a:pt x="939" y="636608"/>
                  <a:pt x="0" y="626891"/>
                </a:cubicBezTo>
                <a:cubicBezTo>
                  <a:pt x="20006" y="562471"/>
                  <a:pt x="-22603" y="140039"/>
                  <a:pt x="0" y="1722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3058265862">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Model Repository</a:t>
            </a:r>
          </a:p>
        </p:txBody>
      </p:sp>
      <p:cxnSp>
        <p:nvCxnSpPr>
          <p:cNvPr id="38" name="Straight Arrow Connector 37">
            <a:extLst>
              <a:ext uri="{FF2B5EF4-FFF2-40B4-BE49-F238E27FC236}">
                <a16:creationId xmlns:a16="http://schemas.microsoft.com/office/drawing/2014/main" id="{645C0545-8494-41AA-9ABE-016EB86967C2}"/>
              </a:ext>
            </a:extLst>
          </p:cNvPr>
          <p:cNvCxnSpPr>
            <a:cxnSpLocks/>
            <a:stCxn id="18" idx="2"/>
            <a:endCxn id="35" idx="0"/>
          </p:cNvCxnSpPr>
          <p:nvPr/>
        </p:nvCxnSpPr>
        <p:spPr>
          <a:xfrm>
            <a:off x="6444163" y="5389813"/>
            <a:ext cx="1831844" cy="68754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7CCB7B1D-96AB-49F3-AFB3-E9748F7B6DDB}"/>
              </a:ext>
            </a:extLst>
          </p:cNvPr>
          <p:cNvSpPr/>
          <p:nvPr/>
        </p:nvSpPr>
        <p:spPr>
          <a:xfrm>
            <a:off x="7627487" y="3748799"/>
            <a:ext cx="1680528" cy="663958"/>
          </a:xfrm>
          <a:custGeom>
            <a:avLst/>
            <a:gdLst>
              <a:gd name="connsiteX0" fmla="*/ 0 w 1680528"/>
              <a:gd name="connsiteY0" fmla="*/ 17754 h 663958"/>
              <a:gd name="connsiteX1" fmla="*/ 17754 w 1680528"/>
              <a:gd name="connsiteY1" fmla="*/ 0 h 663958"/>
              <a:gd name="connsiteX2" fmla="*/ 1662774 w 1680528"/>
              <a:gd name="connsiteY2" fmla="*/ 0 h 663958"/>
              <a:gd name="connsiteX3" fmla="*/ 1680528 w 1680528"/>
              <a:gd name="connsiteY3" fmla="*/ 17754 h 663958"/>
              <a:gd name="connsiteX4" fmla="*/ 1680528 w 1680528"/>
              <a:gd name="connsiteY4" fmla="*/ 646204 h 663958"/>
              <a:gd name="connsiteX5" fmla="*/ 1662774 w 1680528"/>
              <a:gd name="connsiteY5" fmla="*/ 663958 h 663958"/>
              <a:gd name="connsiteX6" fmla="*/ 17754 w 1680528"/>
              <a:gd name="connsiteY6" fmla="*/ 663958 h 663958"/>
              <a:gd name="connsiteX7" fmla="*/ 0 w 1680528"/>
              <a:gd name="connsiteY7" fmla="*/ 646204 h 663958"/>
              <a:gd name="connsiteX8" fmla="*/ 0 w 1680528"/>
              <a:gd name="connsiteY8" fmla="*/ 17754 h 66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0528" h="663958" fill="none" extrusionOk="0">
                <a:moveTo>
                  <a:pt x="0" y="17754"/>
                </a:moveTo>
                <a:cubicBezTo>
                  <a:pt x="-719" y="8010"/>
                  <a:pt x="9640" y="790"/>
                  <a:pt x="17754" y="0"/>
                </a:cubicBezTo>
                <a:cubicBezTo>
                  <a:pt x="723785" y="-109342"/>
                  <a:pt x="1253605" y="-101531"/>
                  <a:pt x="1662774" y="0"/>
                </a:cubicBezTo>
                <a:cubicBezTo>
                  <a:pt x="1673579" y="-1159"/>
                  <a:pt x="1681138" y="7793"/>
                  <a:pt x="1680528" y="17754"/>
                </a:cubicBezTo>
                <a:cubicBezTo>
                  <a:pt x="1731876" y="107973"/>
                  <a:pt x="1651133" y="434378"/>
                  <a:pt x="1680528" y="646204"/>
                </a:cubicBezTo>
                <a:cubicBezTo>
                  <a:pt x="1679172" y="655961"/>
                  <a:pt x="1671415" y="664685"/>
                  <a:pt x="1662774" y="663958"/>
                </a:cubicBezTo>
                <a:cubicBezTo>
                  <a:pt x="1101394" y="562163"/>
                  <a:pt x="530040" y="807397"/>
                  <a:pt x="17754" y="663958"/>
                </a:cubicBezTo>
                <a:cubicBezTo>
                  <a:pt x="7412" y="663772"/>
                  <a:pt x="774" y="656486"/>
                  <a:pt x="0" y="646204"/>
                </a:cubicBezTo>
                <a:cubicBezTo>
                  <a:pt x="-42340" y="482002"/>
                  <a:pt x="-51222" y="164741"/>
                  <a:pt x="0" y="17754"/>
                </a:cubicBezTo>
                <a:close/>
              </a:path>
              <a:path w="1680528" h="663958" stroke="0" extrusionOk="0">
                <a:moveTo>
                  <a:pt x="0" y="17754"/>
                </a:moveTo>
                <a:cubicBezTo>
                  <a:pt x="798" y="8872"/>
                  <a:pt x="7304" y="-280"/>
                  <a:pt x="17754" y="0"/>
                </a:cubicBezTo>
                <a:cubicBezTo>
                  <a:pt x="324779" y="-79035"/>
                  <a:pt x="1072663" y="-82524"/>
                  <a:pt x="1662774" y="0"/>
                </a:cubicBezTo>
                <a:cubicBezTo>
                  <a:pt x="1672256" y="1160"/>
                  <a:pt x="1680755" y="9849"/>
                  <a:pt x="1680528" y="17754"/>
                </a:cubicBezTo>
                <a:cubicBezTo>
                  <a:pt x="1668401" y="191116"/>
                  <a:pt x="1735526" y="472496"/>
                  <a:pt x="1680528" y="646204"/>
                </a:cubicBezTo>
                <a:cubicBezTo>
                  <a:pt x="1681413" y="654725"/>
                  <a:pt x="1671988" y="663919"/>
                  <a:pt x="1662774" y="663958"/>
                </a:cubicBezTo>
                <a:cubicBezTo>
                  <a:pt x="1249139" y="727426"/>
                  <a:pt x="560299" y="520254"/>
                  <a:pt x="17754" y="663958"/>
                </a:cubicBezTo>
                <a:cubicBezTo>
                  <a:pt x="7233" y="663733"/>
                  <a:pt x="-1055" y="656011"/>
                  <a:pt x="0" y="646204"/>
                </a:cubicBezTo>
                <a:cubicBezTo>
                  <a:pt x="-41958" y="386367"/>
                  <a:pt x="41566" y="282141"/>
                  <a:pt x="0" y="17754"/>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rediction Service</a:t>
            </a: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33DEBB4E-6695-4DCF-B6FB-3043B4549F89}"/>
              </a:ext>
            </a:extLst>
          </p:cNvPr>
          <p:cNvSpPr/>
          <p:nvPr/>
        </p:nvSpPr>
        <p:spPr>
          <a:xfrm>
            <a:off x="9547472" y="2432114"/>
            <a:ext cx="2365530" cy="773954"/>
          </a:xfrm>
          <a:custGeom>
            <a:avLst/>
            <a:gdLst>
              <a:gd name="connsiteX0" fmla="*/ 0 w 2365530"/>
              <a:gd name="connsiteY0" fmla="*/ 20696 h 773954"/>
              <a:gd name="connsiteX1" fmla="*/ 20696 w 2365530"/>
              <a:gd name="connsiteY1" fmla="*/ 0 h 773954"/>
              <a:gd name="connsiteX2" fmla="*/ 2344834 w 2365530"/>
              <a:gd name="connsiteY2" fmla="*/ 0 h 773954"/>
              <a:gd name="connsiteX3" fmla="*/ 2365530 w 2365530"/>
              <a:gd name="connsiteY3" fmla="*/ 20696 h 773954"/>
              <a:gd name="connsiteX4" fmla="*/ 2365530 w 2365530"/>
              <a:gd name="connsiteY4" fmla="*/ 753258 h 773954"/>
              <a:gd name="connsiteX5" fmla="*/ 2344834 w 2365530"/>
              <a:gd name="connsiteY5" fmla="*/ 773954 h 773954"/>
              <a:gd name="connsiteX6" fmla="*/ 20696 w 2365530"/>
              <a:gd name="connsiteY6" fmla="*/ 773954 h 773954"/>
              <a:gd name="connsiteX7" fmla="*/ 0 w 2365530"/>
              <a:gd name="connsiteY7" fmla="*/ 753258 h 773954"/>
              <a:gd name="connsiteX8" fmla="*/ 0 w 2365530"/>
              <a:gd name="connsiteY8" fmla="*/ 20696 h 7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5530" h="773954" fill="none" extrusionOk="0">
                <a:moveTo>
                  <a:pt x="0" y="20696"/>
                </a:moveTo>
                <a:cubicBezTo>
                  <a:pt x="-710" y="9327"/>
                  <a:pt x="10983" y="802"/>
                  <a:pt x="20696" y="0"/>
                </a:cubicBezTo>
                <a:cubicBezTo>
                  <a:pt x="725411" y="-90641"/>
                  <a:pt x="1468213" y="45799"/>
                  <a:pt x="2344834" y="0"/>
                </a:cubicBezTo>
                <a:cubicBezTo>
                  <a:pt x="2356443" y="-207"/>
                  <a:pt x="2367141" y="8853"/>
                  <a:pt x="2365530" y="20696"/>
                </a:cubicBezTo>
                <a:cubicBezTo>
                  <a:pt x="2310892" y="320685"/>
                  <a:pt x="2387948" y="574015"/>
                  <a:pt x="2365530" y="753258"/>
                </a:cubicBezTo>
                <a:cubicBezTo>
                  <a:pt x="2363575" y="764619"/>
                  <a:pt x="2354933" y="774785"/>
                  <a:pt x="2344834" y="773954"/>
                </a:cubicBezTo>
                <a:cubicBezTo>
                  <a:pt x="1722699" y="833667"/>
                  <a:pt x="470696" y="677487"/>
                  <a:pt x="20696" y="773954"/>
                </a:cubicBezTo>
                <a:cubicBezTo>
                  <a:pt x="7413" y="773311"/>
                  <a:pt x="1374" y="765536"/>
                  <a:pt x="0" y="753258"/>
                </a:cubicBezTo>
                <a:cubicBezTo>
                  <a:pt x="10458" y="506697"/>
                  <a:pt x="-54221" y="98896"/>
                  <a:pt x="0" y="20696"/>
                </a:cubicBezTo>
                <a:close/>
              </a:path>
              <a:path w="2365530" h="773954" stroke="0" extrusionOk="0">
                <a:moveTo>
                  <a:pt x="0" y="20696"/>
                </a:moveTo>
                <a:cubicBezTo>
                  <a:pt x="1299" y="10768"/>
                  <a:pt x="9103" y="-71"/>
                  <a:pt x="20696" y="0"/>
                </a:cubicBezTo>
                <a:cubicBezTo>
                  <a:pt x="323721" y="-131170"/>
                  <a:pt x="2017502" y="72476"/>
                  <a:pt x="2344834" y="0"/>
                </a:cubicBezTo>
                <a:cubicBezTo>
                  <a:pt x="2355831" y="1553"/>
                  <a:pt x="2365605" y="9895"/>
                  <a:pt x="2365530" y="20696"/>
                </a:cubicBezTo>
                <a:cubicBezTo>
                  <a:pt x="2385028" y="94612"/>
                  <a:pt x="2314337" y="593245"/>
                  <a:pt x="2365530" y="753258"/>
                </a:cubicBezTo>
                <a:cubicBezTo>
                  <a:pt x="2365723" y="764408"/>
                  <a:pt x="2355032" y="773873"/>
                  <a:pt x="2344834" y="773954"/>
                </a:cubicBezTo>
                <a:cubicBezTo>
                  <a:pt x="1263530" y="617881"/>
                  <a:pt x="609373" y="899743"/>
                  <a:pt x="20696" y="773954"/>
                </a:cubicBezTo>
                <a:cubicBezTo>
                  <a:pt x="8333" y="773661"/>
                  <a:pt x="-1889" y="764692"/>
                  <a:pt x="0" y="753258"/>
                </a:cubicBezTo>
                <a:cubicBezTo>
                  <a:pt x="-5078" y="546908"/>
                  <a:pt x="8869" y="153629"/>
                  <a:pt x="0" y="20696"/>
                </a:cubicBezTo>
                <a:close/>
              </a:path>
            </a:pathLst>
          </a:custGeom>
          <a:solidFill>
            <a:schemeClr val="bg1">
              <a:lumMod val="95000"/>
              <a:alpha val="50000"/>
            </a:schemeClr>
          </a:solidFill>
          <a:ln>
            <a:solidFill>
              <a:schemeClr val="tx1"/>
            </a:solidFill>
            <a:extLst>
              <a:ext uri="{C807C97D-BFC1-408E-A445-0C87EB9F89A2}">
                <ask:lineSketchStyleProps xmlns:ask="http://schemas.microsoft.com/office/drawing/2018/sketchyshapes" sd="1999327948">
                  <a:prstGeom prst="roundRect">
                    <a:avLst>
                      <a:gd name="adj" fmla="val 2674"/>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41" name="Picture 18" descr="Getting Started with Apache Kafka and Apache Flume (Import data to HDFS) |  by Hadi Fadlallah | Towards Data Science">
            <a:extLst>
              <a:ext uri="{FF2B5EF4-FFF2-40B4-BE49-F238E27FC236}">
                <a16:creationId xmlns:a16="http://schemas.microsoft.com/office/drawing/2014/main" id="{28B9DAA9-1166-4224-9EE7-61D1888592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87425" y="2469036"/>
            <a:ext cx="1977183" cy="590113"/>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B10749E2-C2B4-4396-943B-1549CCDF0CE1}"/>
              </a:ext>
            </a:extLst>
          </p:cNvPr>
          <p:cNvCxnSpPr>
            <a:cxnSpLocks/>
            <a:endCxn id="42" idx="1"/>
          </p:cNvCxnSpPr>
          <p:nvPr/>
        </p:nvCxnSpPr>
        <p:spPr>
          <a:xfrm>
            <a:off x="5008767" y="4063636"/>
            <a:ext cx="2618720" cy="17142"/>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EB102E9-2668-4390-86C4-7DD95A4EE600}"/>
              </a:ext>
            </a:extLst>
          </p:cNvPr>
          <p:cNvCxnSpPr>
            <a:cxnSpLocks/>
            <a:stCxn id="43" idx="1"/>
            <a:endCxn id="42" idx="0"/>
          </p:cNvCxnSpPr>
          <p:nvPr/>
        </p:nvCxnSpPr>
        <p:spPr>
          <a:xfrm flipH="1">
            <a:off x="8467751" y="2819091"/>
            <a:ext cx="1079721" cy="92970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B6FBC8D-9C86-4510-9D77-557468A1ACD4}"/>
              </a:ext>
            </a:extLst>
          </p:cNvPr>
          <p:cNvCxnSpPr>
            <a:cxnSpLocks/>
            <a:stCxn id="18" idx="1"/>
            <a:endCxn id="42" idx="2"/>
          </p:cNvCxnSpPr>
          <p:nvPr/>
        </p:nvCxnSpPr>
        <p:spPr>
          <a:xfrm flipV="1">
            <a:off x="7287358" y="4412757"/>
            <a:ext cx="1180393" cy="65499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0B75596-AFA6-4A2C-8B60-42795B3B568A}"/>
              </a:ext>
            </a:extLst>
          </p:cNvPr>
          <p:cNvSpPr txBox="1"/>
          <p:nvPr/>
        </p:nvSpPr>
        <p:spPr>
          <a:xfrm>
            <a:off x="6126315" y="5656935"/>
            <a:ext cx="119135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ined Model</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4" name="Straight Arrow Connector 63">
            <a:extLst>
              <a:ext uri="{FF2B5EF4-FFF2-40B4-BE49-F238E27FC236}">
                <a16:creationId xmlns:a16="http://schemas.microsoft.com/office/drawing/2014/main" id="{C102A07D-D039-4F08-8AA6-68DD00EF2441}"/>
              </a:ext>
            </a:extLst>
          </p:cNvPr>
          <p:cNvCxnSpPr>
            <a:cxnSpLocks/>
            <a:stCxn id="42" idx="3"/>
          </p:cNvCxnSpPr>
          <p:nvPr/>
        </p:nvCxnSpPr>
        <p:spPr>
          <a:xfrm>
            <a:off x="9308015" y="4080778"/>
            <a:ext cx="1422222" cy="84184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B89C11C3-1560-4C0A-BB8C-52F087BF0D33}"/>
              </a:ext>
            </a:extLst>
          </p:cNvPr>
          <p:cNvSpPr txBox="1"/>
          <p:nvPr/>
        </p:nvSpPr>
        <p:spPr>
          <a:xfrm>
            <a:off x="4822023" y="5481437"/>
            <a:ext cx="11913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cking</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32D15B19-F3C1-4364-878A-6EE072E70906}"/>
              </a:ext>
            </a:extLst>
          </p:cNvPr>
          <p:cNvSpPr txBox="1"/>
          <p:nvPr/>
        </p:nvSpPr>
        <p:spPr>
          <a:xfrm>
            <a:off x="8131191" y="2743022"/>
            <a:ext cx="107972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ediction Data</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2" name="Straight Arrow Connector 71">
            <a:extLst>
              <a:ext uri="{FF2B5EF4-FFF2-40B4-BE49-F238E27FC236}">
                <a16:creationId xmlns:a16="http://schemas.microsoft.com/office/drawing/2014/main" id="{FF11ACCB-9AE7-41FD-8AF4-36994D88FA96}"/>
              </a:ext>
            </a:extLst>
          </p:cNvPr>
          <p:cNvCxnSpPr>
            <a:cxnSpLocks/>
            <a:stCxn id="18" idx="0"/>
          </p:cNvCxnSpPr>
          <p:nvPr/>
        </p:nvCxnSpPr>
        <p:spPr>
          <a:xfrm flipH="1" flipV="1">
            <a:off x="6419372" y="1772341"/>
            <a:ext cx="24791" cy="2973357"/>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4E091A8E-1B99-45B2-A8C5-B1B674F3F5B6}"/>
              </a:ext>
            </a:extLst>
          </p:cNvPr>
          <p:cNvCxnSpPr>
            <a:cxnSpLocks/>
          </p:cNvCxnSpPr>
          <p:nvPr/>
        </p:nvCxnSpPr>
        <p:spPr>
          <a:xfrm flipH="1" flipV="1">
            <a:off x="8002498" y="1719390"/>
            <a:ext cx="31260" cy="2029409"/>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A50D17E-148D-41E0-84D1-618F3CB9F7FC}"/>
              </a:ext>
            </a:extLst>
          </p:cNvPr>
          <p:cNvSpPr txBox="1"/>
          <p:nvPr/>
        </p:nvSpPr>
        <p:spPr>
          <a:xfrm>
            <a:off x="5425914" y="2404588"/>
            <a:ext cx="1001995"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racking and Model Repo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E945DC97-99E3-4638-9AC7-FE220B5F1234}"/>
              </a:ext>
            </a:extLst>
          </p:cNvPr>
          <p:cNvSpPr txBox="1"/>
          <p:nvPr/>
        </p:nvSpPr>
        <p:spPr>
          <a:xfrm>
            <a:off x="6802920" y="2509025"/>
            <a:ext cx="114468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ediction Pipeline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4B23C4F-1F36-4655-A243-41637B516357}"/>
              </a:ext>
            </a:extLst>
          </p:cNvPr>
          <p:cNvSpPr txBox="1"/>
          <p:nvPr/>
        </p:nvSpPr>
        <p:spPr>
          <a:xfrm>
            <a:off x="91098" y="190713"/>
            <a:ext cx="615553" cy="1581628"/>
          </a:xfrm>
          <a:prstGeom prst="rect">
            <a:avLst/>
          </a:prstGeom>
          <a:noFill/>
        </p:spPr>
        <p:txBody>
          <a:bodyPr vert="vert270"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I Studio</a:t>
            </a:r>
            <a:endParaRPr kumimoji="0" lang="en-IN"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30F8B636-6B95-473F-A7C9-4297D4F94FC4}"/>
              </a:ext>
            </a:extLst>
          </p:cNvPr>
          <p:cNvSpPr/>
          <p:nvPr/>
        </p:nvSpPr>
        <p:spPr>
          <a:xfrm>
            <a:off x="916994" y="411858"/>
            <a:ext cx="1315758" cy="1195854"/>
          </a:xfrm>
          <a:custGeom>
            <a:avLst/>
            <a:gdLst>
              <a:gd name="connsiteX0" fmla="*/ 0 w 1315758"/>
              <a:gd name="connsiteY0" fmla="*/ 0 h 1195854"/>
              <a:gd name="connsiteX1" fmla="*/ 1315758 w 1315758"/>
              <a:gd name="connsiteY1" fmla="*/ 0 h 1195854"/>
              <a:gd name="connsiteX2" fmla="*/ 1315758 w 1315758"/>
              <a:gd name="connsiteY2" fmla="*/ 1195854 h 1195854"/>
              <a:gd name="connsiteX3" fmla="*/ 0 w 1315758"/>
              <a:gd name="connsiteY3" fmla="*/ 1195854 h 1195854"/>
              <a:gd name="connsiteX4" fmla="*/ 0 w 1315758"/>
              <a:gd name="connsiteY4" fmla="*/ 0 h 119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5758" h="1195854" fill="none" extrusionOk="0">
                <a:moveTo>
                  <a:pt x="0" y="0"/>
                </a:moveTo>
                <a:cubicBezTo>
                  <a:pt x="588547" y="-117768"/>
                  <a:pt x="821023" y="-78696"/>
                  <a:pt x="1315758" y="0"/>
                </a:cubicBezTo>
                <a:cubicBezTo>
                  <a:pt x="1374148" y="563448"/>
                  <a:pt x="1360753" y="1026457"/>
                  <a:pt x="1315758" y="1195854"/>
                </a:cubicBezTo>
                <a:cubicBezTo>
                  <a:pt x="839331" y="1179420"/>
                  <a:pt x="497073" y="1265493"/>
                  <a:pt x="0" y="1195854"/>
                </a:cubicBezTo>
                <a:cubicBezTo>
                  <a:pt x="-53860" y="777771"/>
                  <a:pt x="-96599" y="465102"/>
                  <a:pt x="0" y="0"/>
                </a:cubicBezTo>
                <a:close/>
              </a:path>
              <a:path w="1315758" h="1195854" stroke="0" extrusionOk="0">
                <a:moveTo>
                  <a:pt x="0" y="0"/>
                </a:moveTo>
                <a:cubicBezTo>
                  <a:pt x="349544" y="-116378"/>
                  <a:pt x="889976" y="46060"/>
                  <a:pt x="1315758" y="0"/>
                </a:cubicBezTo>
                <a:cubicBezTo>
                  <a:pt x="1213074" y="318444"/>
                  <a:pt x="1364113" y="899458"/>
                  <a:pt x="1315758" y="1195854"/>
                </a:cubicBezTo>
                <a:cubicBezTo>
                  <a:pt x="814030" y="1267227"/>
                  <a:pt x="561664" y="1218351"/>
                  <a:pt x="0" y="1195854"/>
                </a:cubicBezTo>
                <a:cubicBezTo>
                  <a:pt x="-31479" y="812401"/>
                  <a:pt x="49935" y="58589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No Code UI</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081CFEF2-4F2B-4497-83A4-ADFF3B76B497}"/>
              </a:ext>
            </a:extLst>
          </p:cNvPr>
          <p:cNvSpPr/>
          <p:nvPr/>
        </p:nvSpPr>
        <p:spPr>
          <a:xfrm>
            <a:off x="2417631" y="1118216"/>
            <a:ext cx="1257386" cy="555794"/>
          </a:xfrm>
          <a:custGeom>
            <a:avLst/>
            <a:gdLst>
              <a:gd name="connsiteX0" fmla="*/ 0 w 1257386"/>
              <a:gd name="connsiteY0" fmla="*/ 0 h 555794"/>
              <a:gd name="connsiteX1" fmla="*/ 1257386 w 1257386"/>
              <a:gd name="connsiteY1" fmla="*/ 0 h 555794"/>
              <a:gd name="connsiteX2" fmla="*/ 1257386 w 1257386"/>
              <a:gd name="connsiteY2" fmla="*/ 555794 h 555794"/>
              <a:gd name="connsiteX3" fmla="*/ 0 w 1257386"/>
              <a:gd name="connsiteY3" fmla="*/ 555794 h 555794"/>
              <a:gd name="connsiteX4" fmla="*/ 0 w 1257386"/>
              <a:gd name="connsiteY4" fmla="*/ 0 h 55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86" h="555794" fill="none" extrusionOk="0">
                <a:moveTo>
                  <a:pt x="0" y="0"/>
                </a:moveTo>
                <a:cubicBezTo>
                  <a:pt x="596715" y="-53868"/>
                  <a:pt x="901419" y="54930"/>
                  <a:pt x="1257386" y="0"/>
                </a:cubicBezTo>
                <a:cubicBezTo>
                  <a:pt x="1259305" y="269234"/>
                  <a:pt x="1256266" y="489544"/>
                  <a:pt x="1257386" y="555794"/>
                </a:cubicBezTo>
                <a:cubicBezTo>
                  <a:pt x="651821" y="483102"/>
                  <a:pt x="322369" y="475088"/>
                  <a:pt x="0" y="555794"/>
                </a:cubicBezTo>
                <a:cubicBezTo>
                  <a:pt x="-35491" y="404217"/>
                  <a:pt x="-20065" y="155480"/>
                  <a:pt x="0" y="0"/>
                </a:cubicBezTo>
                <a:close/>
              </a:path>
              <a:path w="1257386" h="555794" stroke="0" extrusionOk="0">
                <a:moveTo>
                  <a:pt x="0" y="0"/>
                </a:moveTo>
                <a:cubicBezTo>
                  <a:pt x="556378" y="32342"/>
                  <a:pt x="1003195" y="-100326"/>
                  <a:pt x="1257386" y="0"/>
                </a:cubicBezTo>
                <a:cubicBezTo>
                  <a:pt x="1233403" y="197383"/>
                  <a:pt x="1244758" y="377998"/>
                  <a:pt x="1257386" y="555794"/>
                </a:cubicBezTo>
                <a:cubicBezTo>
                  <a:pt x="795918" y="458776"/>
                  <a:pt x="403416" y="544861"/>
                  <a:pt x="0" y="555794"/>
                </a:cubicBezTo>
                <a:cubicBezTo>
                  <a:pt x="-46107" y="310917"/>
                  <a:pt x="-17030" y="10256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Feature Engineer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ECC597BF-526E-48CC-B498-76EF027B67C1}"/>
              </a:ext>
            </a:extLst>
          </p:cNvPr>
          <p:cNvSpPr/>
          <p:nvPr/>
        </p:nvSpPr>
        <p:spPr>
          <a:xfrm>
            <a:off x="3822356" y="440377"/>
            <a:ext cx="1366252" cy="572713"/>
          </a:xfrm>
          <a:custGeom>
            <a:avLst/>
            <a:gdLst>
              <a:gd name="connsiteX0" fmla="*/ 0 w 1366252"/>
              <a:gd name="connsiteY0" fmla="*/ 0 h 572713"/>
              <a:gd name="connsiteX1" fmla="*/ 1366252 w 1366252"/>
              <a:gd name="connsiteY1" fmla="*/ 0 h 572713"/>
              <a:gd name="connsiteX2" fmla="*/ 1366252 w 1366252"/>
              <a:gd name="connsiteY2" fmla="*/ 572713 h 572713"/>
              <a:gd name="connsiteX3" fmla="*/ 0 w 1366252"/>
              <a:gd name="connsiteY3" fmla="*/ 572713 h 572713"/>
              <a:gd name="connsiteX4" fmla="*/ 0 w 1366252"/>
              <a:gd name="connsiteY4" fmla="*/ 0 h 572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72713" fill="none" extrusionOk="0">
                <a:moveTo>
                  <a:pt x="0" y="0"/>
                </a:moveTo>
                <a:cubicBezTo>
                  <a:pt x="158132" y="77832"/>
                  <a:pt x="969564" y="-17135"/>
                  <a:pt x="1366252" y="0"/>
                </a:cubicBezTo>
                <a:cubicBezTo>
                  <a:pt x="1365195" y="79431"/>
                  <a:pt x="1398199" y="490694"/>
                  <a:pt x="1366252" y="572713"/>
                </a:cubicBezTo>
                <a:cubicBezTo>
                  <a:pt x="835862" y="466057"/>
                  <a:pt x="234015" y="550229"/>
                  <a:pt x="0" y="572713"/>
                </a:cubicBezTo>
                <a:cubicBezTo>
                  <a:pt x="-21326" y="426331"/>
                  <a:pt x="19928" y="222271"/>
                  <a:pt x="0" y="0"/>
                </a:cubicBezTo>
                <a:close/>
              </a:path>
              <a:path w="1366252" h="572713" stroke="0" extrusionOk="0">
                <a:moveTo>
                  <a:pt x="0" y="0"/>
                </a:moveTo>
                <a:cubicBezTo>
                  <a:pt x="537891" y="-99048"/>
                  <a:pt x="1057407" y="-5428"/>
                  <a:pt x="1366252" y="0"/>
                </a:cubicBezTo>
                <a:cubicBezTo>
                  <a:pt x="1354466" y="244588"/>
                  <a:pt x="1352263" y="402651"/>
                  <a:pt x="1366252" y="572713"/>
                </a:cubicBezTo>
                <a:cubicBezTo>
                  <a:pt x="1190367" y="566567"/>
                  <a:pt x="273743" y="499759"/>
                  <a:pt x="0" y="572713"/>
                </a:cubicBezTo>
                <a:cubicBezTo>
                  <a:pt x="5855" y="455118"/>
                  <a:pt x="2873" y="11882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uto Model</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8C71522B-B798-49B5-81DA-CC1D8A37C703}"/>
              </a:ext>
            </a:extLst>
          </p:cNvPr>
          <p:cNvSpPr/>
          <p:nvPr/>
        </p:nvSpPr>
        <p:spPr>
          <a:xfrm>
            <a:off x="5317556" y="445275"/>
            <a:ext cx="1366252" cy="535158"/>
          </a:xfrm>
          <a:custGeom>
            <a:avLst/>
            <a:gdLst>
              <a:gd name="connsiteX0" fmla="*/ 0 w 1366252"/>
              <a:gd name="connsiteY0" fmla="*/ 0 h 535158"/>
              <a:gd name="connsiteX1" fmla="*/ 1366252 w 1366252"/>
              <a:gd name="connsiteY1" fmla="*/ 0 h 535158"/>
              <a:gd name="connsiteX2" fmla="*/ 1366252 w 1366252"/>
              <a:gd name="connsiteY2" fmla="*/ 535158 h 535158"/>
              <a:gd name="connsiteX3" fmla="*/ 0 w 1366252"/>
              <a:gd name="connsiteY3" fmla="*/ 535158 h 535158"/>
              <a:gd name="connsiteX4" fmla="*/ 0 w 1366252"/>
              <a:gd name="connsiteY4" fmla="*/ 0 h 535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35158" fill="none" extrusionOk="0">
                <a:moveTo>
                  <a:pt x="0" y="0"/>
                </a:moveTo>
                <a:cubicBezTo>
                  <a:pt x="158132" y="77832"/>
                  <a:pt x="969564" y="-17135"/>
                  <a:pt x="1366252" y="0"/>
                </a:cubicBezTo>
                <a:cubicBezTo>
                  <a:pt x="1403872" y="176314"/>
                  <a:pt x="1357377" y="306415"/>
                  <a:pt x="1366252" y="535158"/>
                </a:cubicBezTo>
                <a:cubicBezTo>
                  <a:pt x="835862" y="428502"/>
                  <a:pt x="234015" y="512674"/>
                  <a:pt x="0" y="535158"/>
                </a:cubicBezTo>
                <a:cubicBezTo>
                  <a:pt x="21033" y="307018"/>
                  <a:pt x="-18581" y="143520"/>
                  <a:pt x="0" y="0"/>
                </a:cubicBezTo>
                <a:close/>
              </a:path>
              <a:path w="1366252" h="535158" stroke="0" extrusionOk="0">
                <a:moveTo>
                  <a:pt x="0" y="0"/>
                </a:moveTo>
                <a:cubicBezTo>
                  <a:pt x="537891" y="-99048"/>
                  <a:pt x="1057407" y="-5428"/>
                  <a:pt x="1366252" y="0"/>
                </a:cubicBezTo>
                <a:cubicBezTo>
                  <a:pt x="1334137" y="146295"/>
                  <a:pt x="1340165" y="274062"/>
                  <a:pt x="1366252" y="535158"/>
                </a:cubicBezTo>
                <a:cubicBezTo>
                  <a:pt x="1190367" y="529012"/>
                  <a:pt x="273743" y="462204"/>
                  <a:pt x="0" y="535158"/>
                </a:cubicBezTo>
                <a:cubicBezTo>
                  <a:pt x="-892" y="320449"/>
                  <a:pt x="31912" y="88959"/>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lgorithm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3607A5D4-2F76-4264-B554-471D5A69C718}"/>
              </a:ext>
            </a:extLst>
          </p:cNvPr>
          <p:cNvSpPr/>
          <p:nvPr/>
        </p:nvSpPr>
        <p:spPr>
          <a:xfrm>
            <a:off x="6831134" y="445761"/>
            <a:ext cx="1366252" cy="539611"/>
          </a:xfrm>
          <a:custGeom>
            <a:avLst/>
            <a:gdLst>
              <a:gd name="connsiteX0" fmla="*/ 0 w 1366252"/>
              <a:gd name="connsiteY0" fmla="*/ 0 h 539611"/>
              <a:gd name="connsiteX1" fmla="*/ 1366252 w 1366252"/>
              <a:gd name="connsiteY1" fmla="*/ 0 h 539611"/>
              <a:gd name="connsiteX2" fmla="*/ 1366252 w 1366252"/>
              <a:gd name="connsiteY2" fmla="*/ 539611 h 539611"/>
              <a:gd name="connsiteX3" fmla="*/ 0 w 1366252"/>
              <a:gd name="connsiteY3" fmla="*/ 539611 h 539611"/>
              <a:gd name="connsiteX4" fmla="*/ 0 w 1366252"/>
              <a:gd name="connsiteY4" fmla="*/ 0 h 539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39611" fill="none" extrusionOk="0">
                <a:moveTo>
                  <a:pt x="0" y="0"/>
                </a:moveTo>
                <a:cubicBezTo>
                  <a:pt x="158132" y="77832"/>
                  <a:pt x="969564" y="-17135"/>
                  <a:pt x="1366252" y="0"/>
                </a:cubicBezTo>
                <a:cubicBezTo>
                  <a:pt x="1334333" y="263376"/>
                  <a:pt x="1352243" y="368221"/>
                  <a:pt x="1366252" y="539611"/>
                </a:cubicBezTo>
                <a:cubicBezTo>
                  <a:pt x="835862" y="432955"/>
                  <a:pt x="234015" y="517127"/>
                  <a:pt x="0" y="539611"/>
                </a:cubicBezTo>
                <a:cubicBezTo>
                  <a:pt x="-14412" y="357579"/>
                  <a:pt x="-2781" y="74899"/>
                  <a:pt x="0" y="0"/>
                </a:cubicBezTo>
                <a:close/>
              </a:path>
              <a:path w="1366252" h="539611" stroke="0" extrusionOk="0">
                <a:moveTo>
                  <a:pt x="0" y="0"/>
                </a:moveTo>
                <a:cubicBezTo>
                  <a:pt x="537891" y="-99048"/>
                  <a:pt x="1057407" y="-5428"/>
                  <a:pt x="1366252" y="0"/>
                </a:cubicBezTo>
                <a:cubicBezTo>
                  <a:pt x="1390594" y="177079"/>
                  <a:pt x="1347137" y="458509"/>
                  <a:pt x="1366252" y="539611"/>
                </a:cubicBezTo>
                <a:cubicBezTo>
                  <a:pt x="1190367" y="533465"/>
                  <a:pt x="273743" y="466657"/>
                  <a:pt x="0" y="539611"/>
                </a:cubicBezTo>
                <a:cubicBezTo>
                  <a:pt x="-32432" y="393785"/>
                  <a:pt x="-26511" y="16497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rained Model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70AB8F09-0246-45D7-A196-B6A632852015}"/>
              </a:ext>
            </a:extLst>
          </p:cNvPr>
          <p:cNvSpPr/>
          <p:nvPr/>
        </p:nvSpPr>
        <p:spPr>
          <a:xfrm>
            <a:off x="8276007" y="456731"/>
            <a:ext cx="1271465" cy="541655"/>
          </a:xfrm>
          <a:custGeom>
            <a:avLst/>
            <a:gdLst>
              <a:gd name="connsiteX0" fmla="*/ 0 w 1271465"/>
              <a:gd name="connsiteY0" fmla="*/ 0 h 541655"/>
              <a:gd name="connsiteX1" fmla="*/ 1271465 w 1271465"/>
              <a:gd name="connsiteY1" fmla="*/ 0 h 541655"/>
              <a:gd name="connsiteX2" fmla="*/ 1271465 w 1271465"/>
              <a:gd name="connsiteY2" fmla="*/ 541655 h 541655"/>
              <a:gd name="connsiteX3" fmla="*/ 0 w 1271465"/>
              <a:gd name="connsiteY3" fmla="*/ 541655 h 541655"/>
              <a:gd name="connsiteX4" fmla="*/ 0 w 1271465"/>
              <a:gd name="connsiteY4" fmla="*/ 0 h 54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465" h="541655" fill="none" extrusionOk="0">
                <a:moveTo>
                  <a:pt x="0" y="0"/>
                </a:moveTo>
                <a:cubicBezTo>
                  <a:pt x="277918" y="-59312"/>
                  <a:pt x="659323" y="49283"/>
                  <a:pt x="1271465" y="0"/>
                </a:cubicBezTo>
                <a:cubicBezTo>
                  <a:pt x="1269237" y="58302"/>
                  <a:pt x="1265834" y="328342"/>
                  <a:pt x="1271465" y="541655"/>
                </a:cubicBezTo>
                <a:cubicBezTo>
                  <a:pt x="1009773" y="459642"/>
                  <a:pt x="345636" y="604444"/>
                  <a:pt x="0" y="541655"/>
                </a:cubicBezTo>
                <a:cubicBezTo>
                  <a:pt x="41654" y="444520"/>
                  <a:pt x="-32535" y="156873"/>
                  <a:pt x="0" y="0"/>
                </a:cubicBezTo>
                <a:close/>
              </a:path>
              <a:path w="1271465" h="541655" stroke="0" extrusionOk="0">
                <a:moveTo>
                  <a:pt x="0" y="0"/>
                </a:moveTo>
                <a:cubicBezTo>
                  <a:pt x="192125" y="15300"/>
                  <a:pt x="726107" y="-68239"/>
                  <a:pt x="1271465" y="0"/>
                </a:cubicBezTo>
                <a:cubicBezTo>
                  <a:pt x="1264001" y="178048"/>
                  <a:pt x="1292371" y="343359"/>
                  <a:pt x="1271465" y="541655"/>
                </a:cubicBezTo>
                <a:cubicBezTo>
                  <a:pt x="792903" y="649875"/>
                  <a:pt x="548835" y="641218"/>
                  <a:pt x="0" y="541655"/>
                </a:cubicBezTo>
                <a:cubicBezTo>
                  <a:pt x="7482" y="445542"/>
                  <a:pt x="-15408" y="21261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erformance monitor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CF708400-AEC5-48A5-BD26-B6DADDBB0ECD}"/>
              </a:ext>
            </a:extLst>
          </p:cNvPr>
          <p:cNvSpPr/>
          <p:nvPr/>
        </p:nvSpPr>
        <p:spPr>
          <a:xfrm>
            <a:off x="6866725" y="1130011"/>
            <a:ext cx="1330661" cy="523602"/>
          </a:xfrm>
          <a:custGeom>
            <a:avLst/>
            <a:gdLst>
              <a:gd name="connsiteX0" fmla="*/ 0 w 1330661"/>
              <a:gd name="connsiteY0" fmla="*/ 0 h 523602"/>
              <a:gd name="connsiteX1" fmla="*/ 1330661 w 1330661"/>
              <a:gd name="connsiteY1" fmla="*/ 0 h 523602"/>
              <a:gd name="connsiteX2" fmla="*/ 1330661 w 1330661"/>
              <a:gd name="connsiteY2" fmla="*/ 523602 h 523602"/>
              <a:gd name="connsiteX3" fmla="*/ 0 w 1330661"/>
              <a:gd name="connsiteY3" fmla="*/ 523602 h 523602"/>
              <a:gd name="connsiteX4" fmla="*/ 0 w 1330661"/>
              <a:gd name="connsiteY4" fmla="*/ 0 h 523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661" h="523602" fill="none" extrusionOk="0">
                <a:moveTo>
                  <a:pt x="0" y="0"/>
                </a:moveTo>
                <a:cubicBezTo>
                  <a:pt x="589504" y="92220"/>
                  <a:pt x="719187" y="11622"/>
                  <a:pt x="1330661" y="0"/>
                </a:cubicBezTo>
                <a:cubicBezTo>
                  <a:pt x="1322468" y="243489"/>
                  <a:pt x="1312488" y="292440"/>
                  <a:pt x="1330661" y="523602"/>
                </a:cubicBezTo>
                <a:cubicBezTo>
                  <a:pt x="791032" y="480912"/>
                  <a:pt x="645551" y="587944"/>
                  <a:pt x="0" y="523602"/>
                </a:cubicBezTo>
                <a:cubicBezTo>
                  <a:pt x="-665" y="272243"/>
                  <a:pt x="-1633" y="77929"/>
                  <a:pt x="0" y="0"/>
                </a:cubicBezTo>
                <a:close/>
              </a:path>
              <a:path w="1330661" h="523602" stroke="0" extrusionOk="0">
                <a:moveTo>
                  <a:pt x="0" y="0"/>
                </a:moveTo>
                <a:cubicBezTo>
                  <a:pt x="355657" y="33594"/>
                  <a:pt x="697378" y="51764"/>
                  <a:pt x="1330661" y="0"/>
                </a:cubicBezTo>
                <a:cubicBezTo>
                  <a:pt x="1307524" y="257104"/>
                  <a:pt x="1323022" y="410145"/>
                  <a:pt x="1330661" y="523602"/>
                </a:cubicBezTo>
                <a:cubicBezTo>
                  <a:pt x="1183288" y="616688"/>
                  <a:pt x="283460" y="641511"/>
                  <a:pt x="0" y="523602"/>
                </a:cubicBezTo>
                <a:cubicBezTo>
                  <a:pt x="-4489" y="324366"/>
                  <a:pt x="17776" y="120417"/>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rediction Pipeline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cxnSp>
        <p:nvCxnSpPr>
          <p:cNvPr id="90" name="Straight Arrow Connector 89">
            <a:extLst>
              <a:ext uri="{FF2B5EF4-FFF2-40B4-BE49-F238E27FC236}">
                <a16:creationId xmlns:a16="http://schemas.microsoft.com/office/drawing/2014/main" id="{6BB9D140-528A-4727-90AF-EC268BA88DFD}"/>
              </a:ext>
            </a:extLst>
          </p:cNvPr>
          <p:cNvCxnSpPr>
            <a:cxnSpLocks/>
          </p:cNvCxnSpPr>
          <p:nvPr/>
        </p:nvCxnSpPr>
        <p:spPr>
          <a:xfrm flipH="1" flipV="1">
            <a:off x="4612778" y="1763006"/>
            <a:ext cx="18197" cy="1942175"/>
          </a:xfrm>
          <a:prstGeom prst="straightConnector1">
            <a:avLst/>
          </a:prstGeom>
          <a:ln w="57150">
            <a:solidFill>
              <a:srgbClr val="FFC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89927B4-2E42-44F9-BBE9-DB65A6BCA02D}"/>
              </a:ext>
            </a:extLst>
          </p:cNvPr>
          <p:cNvSpPr txBox="1"/>
          <p:nvPr/>
        </p:nvSpPr>
        <p:spPr>
          <a:xfrm>
            <a:off x="3232443" y="5606759"/>
            <a:ext cx="1339854"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Dockerize &amp; Schedule Deployments</a:t>
            </a:r>
          </a:p>
        </p:txBody>
      </p:sp>
      <p:sp>
        <p:nvSpPr>
          <p:cNvPr id="96" name="TextBox 95">
            <a:extLst>
              <a:ext uri="{FF2B5EF4-FFF2-40B4-BE49-F238E27FC236}">
                <a16:creationId xmlns:a16="http://schemas.microsoft.com/office/drawing/2014/main" id="{0BF8D290-372D-4F90-B997-58122FD9D970}"/>
              </a:ext>
            </a:extLst>
          </p:cNvPr>
          <p:cNvSpPr txBox="1"/>
          <p:nvPr/>
        </p:nvSpPr>
        <p:spPr>
          <a:xfrm>
            <a:off x="3475307" y="2509024"/>
            <a:ext cx="1122885"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cheduling UI</a:t>
            </a:r>
            <a:endPar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A30F2527-D125-4F42-B141-C3444C3A6E19}"/>
              </a:ext>
            </a:extLst>
          </p:cNvPr>
          <p:cNvSpPr/>
          <p:nvPr/>
        </p:nvSpPr>
        <p:spPr>
          <a:xfrm>
            <a:off x="8277883" y="1118216"/>
            <a:ext cx="1164697" cy="539611"/>
          </a:xfrm>
          <a:custGeom>
            <a:avLst/>
            <a:gdLst>
              <a:gd name="connsiteX0" fmla="*/ 0 w 1164697"/>
              <a:gd name="connsiteY0" fmla="*/ 0 h 539611"/>
              <a:gd name="connsiteX1" fmla="*/ 1164697 w 1164697"/>
              <a:gd name="connsiteY1" fmla="*/ 0 h 539611"/>
              <a:gd name="connsiteX2" fmla="*/ 1164697 w 1164697"/>
              <a:gd name="connsiteY2" fmla="*/ 539611 h 539611"/>
              <a:gd name="connsiteX3" fmla="*/ 0 w 1164697"/>
              <a:gd name="connsiteY3" fmla="*/ 539611 h 539611"/>
              <a:gd name="connsiteX4" fmla="*/ 0 w 1164697"/>
              <a:gd name="connsiteY4" fmla="*/ 0 h 539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4697" h="539611" fill="none" extrusionOk="0">
                <a:moveTo>
                  <a:pt x="0" y="0"/>
                </a:moveTo>
                <a:cubicBezTo>
                  <a:pt x="173315" y="-7736"/>
                  <a:pt x="681155" y="-20210"/>
                  <a:pt x="1164697" y="0"/>
                </a:cubicBezTo>
                <a:cubicBezTo>
                  <a:pt x="1132778" y="263376"/>
                  <a:pt x="1150688" y="368221"/>
                  <a:pt x="1164697" y="539611"/>
                </a:cubicBezTo>
                <a:cubicBezTo>
                  <a:pt x="847731" y="613361"/>
                  <a:pt x="494823" y="446490"/>
                  <a:pt x="0" y="539611"/>
                </a:cubicBezTo>
                <a:cubicBezTo>
                  <a:pt x="-14412" y="357579"/>
                  <a:pt x="-2781" y="74899"/>
                  <a:pt x="0" y="0"/>
                </a:cubicBezTo>
                <a:close/>
              </a:path>
              <a:path w="1164697" h="539611" stroke="0" extrusionOk="0">
                <a:moveTo>
                  <a:pt x="0" y="0"/>
                </a:moveTo>
                <a:cubicBezTo>
                  <a:pt x="227714" y="47500"/>
                  <a:pt x="933610" y="-38515"/>
                  <a:pt x="1164697" y="0"/>
                </a:cubicBezTo>
                <a:cubicBezTo>
                  <a:pt x="1189039" y="177079"/>
                  <a:pt x="1145582" y="458509"/>
                  <a:pt x="1164697" y="539611"/>
                </a:cubicBezTo>
                <a:cubicBezTo>
                  <a:pt x="963449" y="485226"/>
                  <a:pt x="150441" y="643143"/>
                  <a:pt x="0" y="539611"/>
                </a:cubicBezTo>
                <a:cubicBezTo>
                  <a:pt x="-32432" y="393785"/>
                  <a:pt x="-26511" y="16497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cheduling</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98" name="Rectangle: Rounded Corners 97">
            <a:extLst>
              <a:ext uri="{FF2B5EF4-FFF2-40B4-BE49-F238E27FC236}">
                <a16:creationId xmlns:a16="http://schemas.microsoft.com/office/drawing/2014/main" id="{57EAB26D-E556-48EE-B36F-45142CC5DC7B}"/>
              </a:ext>
            </a:extLst>
          </p:cNvPr>
          <p:cNvSpPr/>
          <p:nvPr/>
        </p:nvSpPr>
        <p:spPr>
          <a:xfrm>
            <a:off x="211683" y="5169341"/>
            <a:ext cx="2120576" cy="698240"/>
          </a:xfrm>
          <a:solidFill>
            <a:schemeClr val="accent1">
              <a:lumMod val="40000"/>
              <a:lumOff val="60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99" name="Rectangle: Rounded Corners 98">
            <a:extLst>
              <a:ext uri="{FF2B5EF4-FFF2-40B4-BE49-F238E27FC236}">
                <a16:creationId xmlns:a16="http://schemas.microsoft.com/office/drawing/2014/main" id="{37A8805E-FD07-44FB-BE89-2C9B37350A93}"/>
              </a:ext>
            </a:extLst>
          </p:cNvPr>
          <p:cNvSpPr/>
          <p:nvPr/>
        </p:nvSpPr>
        <p:spPr>
          <a:xfrm>
            <a:off x="351509" y="5261964"/>
            <a:ext cx="2120576" cy="698240"/>
          </a:xfrm>
          <a:solidFill>
            <a:schemeClr val="accent1">
              <a:lumMod val="40000"/>
              <a:lumOff val="60000"/>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id="{A83494A8-2837-4D76-9567-83109D98B4A0}"/>
              </a:ext>
            </a:extLst>
          </p:cNvPr>
          <p:cNvSpPr/>
          <p:nvPr/>
        </p:nvSpPr>
        <p:spPr>
          <a:xfrm>
            <a:off x="5337226" y="1125779"/>
            <a:ext cx="1366252" cy="558500"/>
          </a:xfrm>
          <a:custGeom>
            <a:avLst/>
            <a:gdLst>
              <a:gd name="connsiteX0" fmla="*/ 0 w 1366252"/>
              <a:gd name="connsiteY0" fmla="*/ 0 h 558500"/>
              <a:gd name="connsiteX1" fmla="*/ 1366252 w 1366252"/>
              <a:gd name="connsiteY1" fmla="*/ 0 h 558500"/>
              <a:gd name="connsiteX2" fmla="*/ 1366252 w 1366252"/>
              <a:gd name="connsiteY2" fmla="*/ 558500 h 558500"/>
              <a:gd name="connsiteX3" fmla="*/ 0 w 1366252"/>
              <a:gd name="connsiteY3" fmla="*/ 558500 h 558500"/>
              <a:gd name="connsiteX4" fmla="*/ 0 w 1366252"/>
              <a:gd name="connsiteY4" fmla="*/ 0 h 558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58500" fill="none" extrusionOk="0">
                <a:moveTo>
                  <a:pt x="0" y="0"/>
                </a:moveTo>
                <a:cubicBezTo>
                  <a:pt x="158132" y="77832"/>
                  <a:pt x="969564" y="-17135"/>
                  <a:pt x="1366252" y="0"/>
                </a:cubicBezTo>
                <a:cubicBezTo>
                  <a:pt x="1403624" y="220090"/>
                  <a:pt x="1412982" y="399161"/>
                  <a:pt x="1366252" y="558500"/>
                </a:cubicBezTo>
                <a:cubicBezTo>
                  <a:pt x="835862" y="451844"/>
                  <a:pt x="234015" y="536016"/>
                  <a:pt x="0" y="558500"/>
                </a:cubicBezTo>
                <a:cubicBezTo>
                  <a:pt x="-22678" y="350711"/>
                  <a:pt x="-5838" y="86770"/>
                  <a:pt x="0" y="0"/>
                </a:cubicBezTo>
                <a:close/>
              </a:path>
              <a:path w="1366252" h="558500" stroke="0" extrusionOk="0">
                <a:moveTo>
                  <a:pt x="0" y="0"/>
                </a:moveTo>
                <a:cubicBezTo>
                  <a:pt x="537891" y="-99048"/>
                  <a:pt x="1057407" y="-5428"/>
                  <a:pt x="1366252" y="0"/>
                </a:cubicBezTo>
                <a:cubicBezTo>
                  <a:pt x="1319024" y="183596"/>
                  <a:pt x="1391158" y="453235"/>
                  <a:pt x="1366252" y="558500"/>
                </a:cubicBezTo>
                <a:cubicBezTo>
                  <a:pt x="1190367" y="552354"/>
                  <a:pt x="273743" y="485546"/>
                  <a:pt x="0" y="558500"/>
                </a:cubicBezTo>
                <a:cubicBezTo>
                  <a:pt x="-43062" y="288151"/>
                  <a:pt x="-32815" y="26443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Code Generator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id="{51DCEAEC-D27E-4E0E-8000-DAE1B5BB1927}"/>
              </a:ext>
            </a:extLst>
          </p:cNvPr>
          <p:cNvSpPr/>
          <p:nvPr/>
        </p:nvSpPr>
        <p:spPr>
          <a:xfrm>
            <a:off x="2422787" y="423346"/>
            <a:ext cx="1270621" cy="575041"/>
          </a:xfrm>
          <a:custGeom>
            <a:avLst/>
            <a:gdLst>
              <a:gd name="connsiteX0" fmla="*/ 0 w 1270621"/>
              <a:gd name="connsiteY0" fmla="*/ 0 h 575041"/>
              <a:gd name="connsiteX1" fmla="*/ 1270621 w 1270621"/>
              <a:gd name="connsiteY1" fmla="*/ 0 h 575041"/>
              <a:gd name="connsiteX2" fmla="*/ 1270621 w 1270621"/>
              <a:gd name="connsiteY2" fmla="*/ 575041 h 575041"/>
              <a:gd name="connsiteX3" fmla="*/ 0 w 1270621"/>
              <a:gd name="connsiteY3" fmla="*/ 575041 h 575041"/>
              <a:gd name="connsiteX4" fmla="*/ 0 w 1270621"/>
              <a:gd name="connsiteY4" fmla="*/ 0 h 57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21" h="575041" fill="none" extrusionOk="0">
                <a:moveTo>
                  <a:pt x="0" y="0"/>
                </a:moveTo>
                <a:cubicBezTo>
                  <a:pt x="615800" y="78635"/>
                  <a:pt x="803070" y="111661"/>
                  <a:pt x="1270621" y="0"/>
                </a:cubicBezTo>
                <a:cubicBezTo>
                  <a:pt x="1288681" y="166958"/>
                  <a:pt x="1228937" y="396176"/>
                  <a:pt x="1270621" y="575041"/>
                </a:cubicBezTo>
                <a:cubicBezTo>
                  <a:pt x="1027038" y="567226"/>
                  <a:pt x="159020" y="600150"/>
                  <a:pt x="0" y="575041"/>
                </a:cubicBezTo>
                <a:cubicBezTo>
                  <a:pt x="-13781" y="463962"/>
                  <a:pt x="25021" y="103200"/>
                  <a:pt x="0" y="0"/>
                </a:cubicBezTo>
                <a:close/>
              </a:path>
              <a:path w="1270621" h="575041" stroke="0" extrusionOk="0">
                <a:moveTo>
                  <a:pt x="0" y="0"/>
                </a:moveTo>
                <a:cubicBezTo>
                  <a:pt x="623185" y="22148"/>
                  <a:pt x="893472" y="81053"/>
                  <a:pt x="1270621" y="0"/>
                </a:cubicBezTo>
                <a:cubicBezTo>
                  <a:pt x="1248055" y="114105"/>
                  <a:pt x="1219029" y="327340"/>
                  <a:pt x="1270621" y="575041"/>
                </a:cubicBezTo>
                <a:cubicBezTo>
                  <a:pt x="1029975" y="610833"/>
                  <a:pt x="324745" y="462519"/>
                  <a:pt x="0" y="575041"/>
                </a:cubicBezTo>
                <a:cubicBezTo>
                  <a:pt x="42128" y="387820"/>
                  <a:pt x="-28171" y="204577"/>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ata Prep Operator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id="{BC9CBB0C-CDFA-4432-B24C-7FB1A5A54499}"/>
              </a:ext>
            </a:extLst>
          </p:cNvPr>
          <p:cNvSpPr/>
          <p:nvPr/>
        </p:nvSpPr>
        <p:spPr>
          <a:xfrm>
            <a:off x="3811125" y="1121105"/>
            <a:ext cx="1366252" cy="572713"/>
          </a:xfrm>
          <a:custGeom>
            <a:avLst/>
            <a:gdLst>
              <a:gd name="connsiteX0" fmla="*/ 0 w 1366252"/>
              <a:gd name="connsiteY0" fmla="*/ 0 h 572713"/>
              <a:gd name="connsiteX1" fmla="*/ 1366252 w 1366252"/>
              <a:gd name="connsiteY1" fmla="*/ 0 h 572713"/>
              <a:gd name="connsiteX2" fmla="*/ 1366252 w 1366252"/>
              <a:gd name="connsiteY2" fmla="*/ 572713 h 572713"/>
              <a:gd name="connsiteX3" fmla="*/ 0 w 1366252"/>
              <a:gd name="connsiteY3" fmla="*/ 572713 h 572713"/>
              <a:gd name="connsiteX4" fmla="*/ 0 w 1366252"/>
              <a:gd name="connsiteY4" fmla="*/ 0 h 572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252" h="572713" fill="none" extrusionOk="0">
                <a:moveTo>
                  <a:pt x="0" y="0"/>
                </a:moveTo>
                <a:cubicBezTo>
                  <a:pt x="158132" y="77832"/>
                  <a:pt x="969564" y="-17135"/>
                  <a:pt x="1366252" y="0"/>
                </a:cubicBezTo>
                <a:cubicBezTo>
                  <a:pt x="1365195" y="79431"/>
                  <a:pt x="1398199" y="490694"/>
                  <a:pt x="1366252" y="572713"/>
                </a:cubicBezTo>
                <a:cubicBezTo>
                  <a:pt x="835862" y="466057"/>
                  <a:pt x="234015" y="550229"/>
                  <a:pt x="0" y="572713"/>
                </a:cubicBezTo>
                <a:cubicBezTo>
                  <a:pt x="-21326" y="426331"/>
                  <a:pt x="19928" y="222271"/>
                  <a:pt x="0" y="0"/>
                </a:cubicBezTo>
                <a:close/>
              </a:path>
              <a:path w="1366252" h="572713" stroke="0" extrusionOk="0">
                <a:moveTo>
                  <a:pt x="0" y="0"/>
                </a:moveTo>
                <a:cubicBezTo>
                  <a:pt x="537891" y="-99048"/>
                  <a:pt x="1057407" y="-5428"/>
                  <a:pt x="1366252" y="0"/>
                </a:cubicBezTo>
                <a:cubicBezTo>
                  <a:pt x="1354466" y="244588"/>
                  <a:pt x="1352263" y="402651"/>
                  <a:pt x="1366252" y="572713"/>
                </a:cubicBezTo>
                <a:cubicBezTo>
                  <a:pt x="1190367" y="566567"/>
                  <a:pt x="273743" y="499759"/>
                  <a:pt x="0" y="572713"/>
                </a:cubicBezTo>
                <a:cubicBezTo>
                  <a:pt x="5855" y="455118"/>
                  <a:pt x="2873" y="118828"/>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ata Analysis</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56C482EC-8EB3-4A97-8922-5999E3D15F6B}"/>
              </a:ext>
            </a:extLst>
          </p:cNvPr>
          <p:cNvSpPr/>
          <p:nvPr/>
        </p:nvSpPr>
        <p:spPr>
          <a:xfrm>
            <a:off x="9687425" y="454979"/>
            <a:ext cx="1042812" cy="1195854"/>
          </a:xfrm>
          <a:custGeom>
            <a:avLst/>
            <a:gdLst>
              <a:gd name="connsiteX0" fmla="*/ 0 w 1042812"/>
              <a:gd name="connsiteY0" fmla="*/ 0 h 1195854"/>
              <a:gd name="connsiteX1" fmla="*/ 1042812 w 1042812"/>
              <a:gd name="connsiteY1" fmla="*/ 0 h 1195854"/>
              <a:gd name="connsiteX2" fmla="*/ 1042812 w 1042812"/>
              <a:gd name="connsiteY2" fmla="*/ 1195854 h 1195854"/>
              <a:gd name="connsiteX3" fmla="*/ 0 w 1042812"/>
              <a:gd name="connsiteY3" fmla="*/ 1195854 h 1195854"/>
              <a:gd name="connsiteX4" fmla="*/ 0 w 1042812"/>
              <a:gd name="connsiteY4" fmla="*/ 0 h 119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812" h="1195854" fill="none" extrusionOk="0">
                <a:moveTo>
                  <a:pt x="0" y="0"/>
                </a:moveTo>
                <a:cubicBezTo>
                  <a:pt x="213328" y="-22148"/>
                  <a:pt x="892874" y="-58233"/>
                  <a:pt x="1042812" y="0"/>
                </a:cubicBezTo>
                <a:cubicBezTo>
                  <a:pt x="1101202" y="563448"/>
                  <a:pt x="1087807" y="1026457"/>
                  <a:pt x="1042812" y="1195854"/>
                </a:cubicBezTo>
                <a:cubicBezTo>
                  <a:pt x="892162" y="1243872"/>
                  <a:pt x="219356" y="1168062"/>
                  <a:pt x="0" y="1195854"/>
                </a:cubicBezTo>
                <a:cubicBezTo>
                  <a:pt x="-53860" y="777771"/>
                  <a:pt x="-96599" y="465102"/>
                  <a:pt x="0" y="0"/>
                </a:cubicBezTo>
                <a:close/>
              </a:path>
              <a:path w="1042812" h="1195854" stroke="0" extrusionOk="0">
                <a:moveTo>
                  <a:pt x="0" y="0"/>
                </a:moveTo>
                <a:cubicBezTo>
                  <a:pt x="343278" y="49259"/>
                  <a:pt x="601284" y="-18337"/>
                  <a:pt x="1042812" y="0"/>
                </a:cubicBezTo>
                <a:cubicBezTo>
                  <a:pt x="940128" y="318444"/>
                  <a:pt x="1091167" y="899458"/>
                  <a:pt x="1042812" y="1195854"/>
                </a:cubicBezTo>
                <a:cubicBezTo>
                  <a:pt x="740834" y="1205216"/>
                  <a:pt x="281381" y="1257932"/>
                  <a:pt x="0" y="1195854"/>
                </a:cubicBezTo>
                <a:cubicBezTo>
                  <a:pt x="-31479" y="812401"/>
                  <a:pt x="49935" y="585895"/>
                  <a:pt x="0" y="0"/>
                </a:cubicBezTo>
                <a:close/>
              </a:path>
            </a:pathLst>
          </a:custGeom>
          <a:solidFill>
            <a:schemeClr val="accent4">
              <a:alpha val="50000"/>
            </a:schemeClr>
          </a:solidFill>
          <a:ln>
            <a:solidFill>
              <a:schemeClr val="tx1"/>
            </a:solidFill>
            <a:extLst>
              <a:ext uri="{C807C97D-BFC1-408E-A445-0C87EB9F89A2}">
                <ask:lineSketchStyleProps xmlns:ask="http://schemas.microsoft.com/office/drawing/2018/sketchyshapes" sd="1959150775">
                  <a:prstGeom prst="rect">
                    <a:avLst/>
                  </a:prstGeom>
                  <ask:type>
                    <ask:lineSketchCurved/>
                  </ask:type>
                </ask:lineSketchStyleProps>
              </a:ext>
            </a:extLst>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eveloper Console</a:t>
            </a:r>
            <a:endParaRPr kumimoji="0" lang="en-IN"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28" name="TextBox 127">
            <a:extLst>
              <a:ext uri="{FF2B5EF4-FFF2-40B4-BE49-F238E27FC236}">
                <a16:creationId xmlns:a16="http://schemas.microsoft.com/office/drawing/2014/main" id="{FC2F62C7-B1BE-4724-B394-A5A9E03FE82D}"/>
              </a:ext>
            </a:extLst>
          </p:cNvPr>
          <p:cNvSpPr txBox="1"/>
          <p:nvPr/>
        </p:nvSpPr>
        <p:spPr>
          <a:xfrm>
            <a:off x="9166410" y="4373247"/>
            <a:ext cx="77529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odel Output</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9" name="Straight Arrow Connector 128">
            <a:extLst>
              <a:ext uri="{FF2B5EF4-FFF2-40B4-BE49-F238E27FC236}">
                <a16:creationId xmlns:a16="http://schemas.microsoft.com/office/drawing/2014/main" id="{19EACF1F-F832-4132-82C7-B001E454A08D}"/>
              </a:ext>
            </a:extLst>
          </p:cNvPr>
          <p:cNvCxnSpPr>
            <a:cxnSpLocks/>
            <a:endCxn id="43" idx="2"/>
          </p:cNvCxnSpPr>
          <p:nvPr/>
        </p:nvCxnSpPr>
        <p:spPr>
          <a:xfrm flipV="1">
            <a:off x="9308015" y="3206068"/>
            <a:ext cx="1422222" cy="65977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F4AAD2CC-0B1B-4BA7-8484-9F4F399EA347}"/>
              </a:ext>
            </a:extLst>
          </p:cNvPr>
          <p:cNvSpPr txBox="1"/>
          <p:nvPr/>
        </p:nvSpPr>
        <p:spPr>
          <a:xfrm>
            <a:off x="9941708" y="3459627"/>
            <a:ext cx="77529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odel Output</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57DD0C-7C09-FA2E-ED2B-7FD2FEA69BEE}"/>
              </a:ext>
            </a:extLst>
          </p:cNvPr>
          <p:cNvPicPr>
            <a:picLocks noChangeAspect="1"/>
          </p:cNvPicPr>
          <p:nvPr/>
        </p:nvPicPr>
        <p:blipFill>
          <a:blip r:embed="rId7"/>
          <a:stretch>
            <a:fillRect/>
          </a:stretch>
        </p:blipFill>
        <p:spPr>
          <a:xfrm>
            <a:off x="1890553" y="5548061"/>
            <a:ext cx="1033055" cy="565846"/>
          </a:xfrm>
          <a:prstGeom prst="rect">
            <a:avLst/>
          </a:prstGeom>
        </p:spPr>
      </p:pic>
      <p:pic>
        <p:nvPicPr>
          <p:cNvPr id="21" name="Picture 20">
            <a:extLst>
              <a:ext uri="{FF2B5EF4-FFF2-40B4-BE49-F238E27FC236}">
                <a16:creationId xmlns:a16="http://schemas.microsoft.com/office/drawing/2014/main" id="{EA242A0C-00B3-CC7E-D7BE-7C8936CCC484}"/>
              </a:ext>
            </a:extLst>
          </p:cNvPr>
          <p:cNvPicPr>
            <a:picLocks noChangeAspect="1"/>
          </p:cNvPicPr>
          <p:nvPr/>
        </p:nvPicPr>
        <p:blipFill>
          <a:blip r:embed="rId8"/>
          <a:stretch>
            <a:fillRect/>
          </a:stretch>
        </p:blipFill>
        <p:spPr>
          <a:xfrm>
            <a:off x="159148" y="2437575"/>
            <a:ext cx="1508132" cy="498301"/>
          </a:xfrm>
          <a:prstGeom prst="rect">
            <a:avLst/>
          </a:prstGeom>
        </p:spPr>
      </p:pic>
      <p:pic>
        <p:nvPicPr>
          <p:cNvPr id="28" name="Picture 27">
            <a:extLst>
              <a:ext uri="{FF2B5EF4-FFF2-40B4-BE49-F238E27FC236}">
                <a16:creationId xmlns:a16="http://schemas.microsoft.com/office/drawing/2014/main" id="{BEE61893-5B99-337B-CE2B-95B3731B5F2B}"/>
              </a:ext>
            </a:extLst>
          </p:cNvPr>
          <p:cNvPicPr>
            <a:picLocks noChangeAspect="1"/>
          </p:cNvPicPr>
          <p:nvPr/>
        </p:nvPicPr>
        <p:blipFill>
          <a:blip r:embed="rId9"/>
          <a:stretch>
            <a:fillRect/>
          </a:stretch>
        </p:blipFill>
        <p:spPr>
          <a:xfrm>
            <a:off x="10145102" y="4924900"/>
            <a:ext cx="998200" cy="640355"/>
          </a:xfrm>
          <a:prstGeom prst="rect">
            <a:avLst/>
          </a:prstGeom>
        </p:spPr>
      </p:pic>
      <p:pic>
        <p:nvPicPr>
          <p:cNvPr id="30" name="Picture 29">
            <a:extLst>
              <a:ext uri="{FF2B5EF4-FFF2-40B4-BE49-F238E27FC236}">
                <a16:creationId xmlns:a16="http://schemas.microsoft.com/office/drawing/2014/main" id="{40826388-35E3-F0AF-34D6-14DA211DBEDA}"/>
              </a:ext>
            </a:extLst>
          </p:cNvPr>
          <p:cNvPicPr>
            <a:picLocks noChangeAspect="1"/>
          </p:cNvPicPr>
          <p:nvPr/>
        </p:nvPicPr>
        <p:blipFill>
          <a:blip r:embed="rId10"/>
          <a:stretch>
            <a:fillRect/>
          </a:stretch>
        </p:blipFill>
        <p:spPr>
          <a:xfrm>
            <a:off x="9792017" y="6045928"/>
            <a:ext cx="706170" cy="687547"/>
          </a:xfrm>
          <a:prstGeom prst="rect">
            <a:avLst/>
          </a:prstGeom>
        </p:spPr>
      </p:pic>
      <p:cxnSp>
        <p:nvCxnSpPr>
          <p:cNvPr id="31" name="Straight Arrow Connector 30">
            <a:extLst>
              <a:ext uri="{FF2B5EF4-FFF2-40B4-BE49-F238E27FC236}">
                <a16:creationId xmlns:a16="http://schemas.microsoft.com/office/drawing/2014/main" id="{3C9AB058-9115-9F38-1178-14D12C4CA42F}"/>
              </a:ext>
            </a:extLst>
          </p:cNvPr>
          <p:cNvCxnSpPr>
            <a:cxnSpLocks/>
            <a:stCxn id="35" idx="1"/>
            <a:endCxn id="30" idx="1"/>
          </p:cNvCxnSpPr>
          <p:nvPr/>
        </p:nvCxnSpPr>
        <p:spPr>
          <a:xfrm flipV="1">
            <a:off x="9119202" y="6389702"/>
            <a:ext cx="672815" cy="971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39372CCE-B671-1D81-42D5-802051E0ECC2}"/>
              </a:ext>
            </a:extLst>
          </p:cNvPr>
          <p:cNvPicPr>
            <a:picLocks noChangeAspect="1"/>
          </p:cNvPicPr>
          <p:nvPr/>
        </p:nvPicPr>
        <p:blipFill>
          <a:blip r:embed="rId11"/>
          <a:stretch>
            <a:fillRect/>
          </a:stretch>
        </p:blipFill>
        <p:spPr>
          <a:xfrm>
            <a:off x="1769806" y="6184538"/>
            <a:ext cx="1412549" cy="587831"/>
          </a:xfrm>
          <a:prstGeom prst="rect">
            <a:avLst/>
          </a:prstGeom>
        </p:spPr>
      </p:pic>
      <p:pic>
        <p:nvPicPr>
          <p:cNvPr id="51" name="Picture 50">
            <a:extLst>
              <a:ext uri="{FF2B5EF4-FFF2-40B4-BE49-F238E27FC236}">
                <a16:creationId xmlns:a16="http://schemas.microsoft.com/office/drawing/2014/main" id="{C1812E15-7178-9E10-D9D0-CFD9745F92D6}"/>
              </a:ext>
            </a:extLst>
          </p:cNvPr>
          <p:cNvPicPr>
            <a:picLocks noChangeAspect="1"/>
          </p:cNvPicPr>
          <p:nvPr/>
        </p:nvPicPr>
        <p:blipFill>
          <a:blip r:embed="rId12"/>
          <a:stretch>
            <a:fillRect/>
          </a:stretch>
        </p:blipFill>
        <p:spPr>
          <a:xfrm>
            <a:off x="413337" y="3809716"/>
            <a:ext cx="999753" cy="809376"/>
          </a:xfrm>
          <a:prstGeom prst="rect">
            <a:avLst/>
          </a:prstGeom>
        </p:spPr>
      </p:pic>
      <p:cxnSp>
        <p:nvCxnSpPr>
          <p:cNvPr id="56" name="Straight Arrow Connector 55">
            <a:extLst>
              <a:ext uri="{FF2B5EF4-FFF2-40B4-BE49-F238E27FC236}">
                <a16:creationId xmlns:a16="http://schemas.microsoft.com/office/drawing/2014/main" id="{7AC01202-F330-32DA-6D12-60CD49DBB37D}"/>
              </a:ext>
            </a:extLst>
          </p:cNvPr>
          <p:cNvCxnSpPr>
            <a:cxnSpLocks/>
            <a:stCxn id="21" idx="2"/>
            <a:endCxn id="51" idx="0"/>
          </p:cNvCxnSpPr>
          <p:nvPr/>
        </p:nvCxnSpPr>
        <p:spPr>
          <a:xfrm>
            <a:off x="913214" y="2935876"/>
            <a:ext cx="0" cy="87384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EE170FDE-7F6D-C15A-C0DA-2BF63A8FAFD4}"/>
              </a:ext>
            </a:extLst>
          </p:cNvPr>
          <p:cNvCxnSpPr>
            <a:stCxn id="51" idx="2"/>
            <a:endCxn id="3" idx="1"/>
          </p:cNvCxnSpPr>
          <p:nvPr/>
        </p:nvCxnSpPr>
        <p:spPr>
          <a:xfrm rot="16200000" flipH="1">
            <a:off x="795937" y="4736368"/>
            <a:ext cx="1211892" cy="977339"/>
          </a:xfrm>
          <a:prstGeom prst="bentConnector2">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E61954F3-D8D2-3A32-7300-DC74921F9F24}"/>
              </a:ext>
            </a:extLst>
          </p:cNvPr>
          <p:cNvCxnSpPr>
            <a:cxnSpLocks/>
            <a:stCxn id="21" idx="2"/>
            <a:endCxn id="16" idx="0"/>
          </p:cNvCxnSpPr>
          <p:nvPr/>
        </p:nvCxnSpPr>
        <p:spPr>
          <a:xfrm>
            <a:off x="913214" y="2935876"/>
            <a:ext cx="1625578" cy="1777332"/>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59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uMxDTBxTeOfKjEkpDXi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B0C.LgeTzyLKuwecSoyl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Deloitte Cloud Template Aug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Cloud_PresentationTemplate_16x9_20180801.potx [Read-Only]" id="{5F4BF26E-44B2-4606-87BD-599ADB82C8FB}" vid="{89D8168F-A922-4D48-A38B-889B69A7AFD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6963</TotalTime>
  <Words>1015</Words>
  <Application>Microsoft Office PowerPoint</Application>
  <PresentationFormat>Widescreen</PresentationFormat>
  <Paragraphs>309</Paragraphs>
  <Slides>8</Slides>
  <Notes>4</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9" baseType="lpstr">
      <vt:lpstr>Arial</vt:lpstr>
      <vt:lpstr>Calibri</vt:lpstr>
      <vt:lpstr>Calibri Light</vt:lpstr>
      <vt:lpstr>Open Sans</vt:lpstr>
      <vt:lpstr>Open Sans Light</vt:lpstr>
      <vt:lpstr>Verdana</vt:lpstr>
      <vt:lpstr>Wingdings 2</vt:lpstr>
      <vt:lpstr>Office Theme</vt:lpstr>
      <vt:lpstr>Deloitte Brand Theme</vt:lpstr>
      <vt:lpstr>Deloitte Cloud Template Aug 2018</vt:lpstr>
      <vt:lpstr>think-cell Slide</vt:lpstr>
      <vt:lpstr>PowerPoint Presentation</vt:lpstr>
      <vt:lpstr>PowerPoint Presentation</vt:lpstr>
      <vt:lpstr>Deloitte’s Framework to Implement AIOps </vt:lpstr>
      <vt:lpstr>Deloitte’s Framework to Implement AIOps </vt:lpstr>
      <vt:lpstr>Deloitte’s Framework to Implement AIOps </vt:lpstr>
      <vt:lpstr>Detailed Architecture to Implement Operational Framework for solutions present in Application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hesh Karigoudar</dc:creator>
  <cp:lastModifiedBy>Karigoudar, Mahesh</cp:lastModifiedBy>
  <cp:revision>1</cp:revision>
  <dcterms:created xsi:type="dcterms:W3CDTF">2024-08-01T11:37:59Z</dcterms:created>
  <dcterms:modified xsi:type="dcterms:W3CDTF">2025-06-14T05: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8-01T11:38:0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8480a01e-d8d4-4bd1-a8e1-62ff41e6c368</vt:lpwstr>
  </property>
  <property fmtid="{D5CDD505-2E9C-101B-9397-08002B2CF9AE}" pid="8" name="MSIP_Label_ea60d57e-af5b-4752-ac57-3e4f28ca11dc_ContentBits">
    <vt:lpwstr>0</vt:lpwstr>
  </property>
</Properties>
</file>